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presentationml.slideLayout+xml" PartName="/ppt/slideLayouts/slideLayout100.xml"/>
  <Override ContentType="application/vnd.openxmlformats-officedocument.presentationml.slideLayout+xml" PartName="/ppt/slideLayouts/slideLayout101.xml"/>
  <Override ContentType="application/vnd.openxmlformats-officedocument.presentationml.slideLayout+xml" PartName="/ppt/slideLayouts/slideLayout102.xml"/>
  <Override ContentType="application/vnd.openxmlformats-officedocument.presentationml.slideLayout+xml" PartName="/ppt/slideLayouts/slideLayout103.xml"/>
  <Override ContentType="application/vnd.openxmlformats-officedocument.presentationml.slideLayout+xml" PartName="/ppt/slideLayouts/slideLayout104.xml"/>
  <Override ContentType="application/vnd.openxmlformats-officedocument.presentationml.slideLayout+xml" PartName="/ppt/slideLayouts/slideLayout105.xml"/>
  <Override ContentType="application/vnd.openxmlformats-officedocument.presentationml.slideLayout+xml" PartName="/ppt/slideLayouts/slideLayout106.xml"/>
  <Override ContentType="application/vnd.openxmlformats-officedocument.presentationml.slideLayout+xml" PartName="/ppt/slideLayouts/slideLayout107.xml"/>
  <Override ContentType="application/vnd.openxmlformats-officedocument.presentationml.slideLayout+xml" PartName="/ppt/slideLayouts/slideLayout108.xml"/>
  <Override ContentType="application/vnd.openxmlformats-officedocument.presentationml.slideLayout+xml" PartName="/ppt/slideLayouts/slideLayout109.xml"/>
  <Override ContentType="application/vnd.openxmlformats-officedocument.presentationml.slideLayout+xml" PartName="/ppt/slideLayouts/slideLayout110.xml"/>
  <Override ContentType="application/vnd.openxmlformats-officedocument.presentationml.slideLayout+xml" PartName="/ppt/slideLayouts/slideLayout111.xml"/>
  <Override ContentType="application/vnd.openxmlformats-officedocument.presentationml.slideLayout+xml" PartName="/ppt/slideLayouts/slideLayout112.xml"/>
  <Override ContentType="application/vnd.openxmlformats-officedocument.presentationml.slideLayout+xml" PartName="/ppt/slideLayouts/slideLayout113.xml"/>
  <Override ContentType="application/vnd.openxmlformats-officedocument.presentationml.slideLayout+xml" PartName="/ppt/slideLayouts/slideLayout114.xml"/>
  <Override ContentType="application/vnd.openxmlformats-officedocument.presentationml.slideLayout+xml" PartName="/ppt/slideLayouts/slideLayout115.xml"/>
  <Override ContentType="application/vnd.openxmlformats-officedocument.presentationml.slideLayout+xml" PartName="/ppt/slideLayouts/slideLayout116.xml"/>
  <Override ContentType="application/vnd.openxmlformats-officedocument.presentationml.slideLayout+xml" PartName="/ppt/slideLayouts/slideLayout117.xml"/>
  <Override ContentType="application/vnd.openxmlformats-officedocument.presentationml.slideLayout+xml" PartName="/ppt/slideLayouts/slideLayout118.xml"/>
  <Override ContentType="application/vnd.openxmlformats-officedocument.presentationml.slideLayout+xml" PartName="/ppt/slideLayouts/slideLayout119.xml"/>
  <Override ContentType="application/vnd.openxmlformats-officedocument.presentationml.slideLayout+xml" PartName="/ppt/slideLayouts/slideLayout120.xml"/>
  <Override ContentType="application/vnd.openxmlformats-officedocument.presentationml.slideLayout+xml" PartName="/ppt/slideLayouts/slideLayout121.xml"/>
  <Override ContentType="application/vnd.openxmlformats-officedocument.presentationml.slideLayout+xml" PartName="/ppt/slideLayouts/slideLayout122.xml"/>
  <Override ContentType="application/vnd.openxmlformats-officedocument.presentationml.slideLayout+xml" PartName="/ppt/slideLayouts/slideLayout123.xml"/>
  <Override ContentType="application/vnd.openxmlformats-officedocument.presentationml.slideLayout+xml" PartName="/ppt/slideLayouts/slideLayout124.xml"/>
  <Override ContentType="application/vnd.openxmlformats-officedocument.presentationml.slideLayout+xml" PartName="/ppt/slideLayouts/slideLayout125.xml"/>
  <Override ContentType="application/vnd.openxmlformats-officedocument.presentationml.slideLayout+xml" PartName="/ppt/slideLayouts/slideLayout126.xml"/>
  <Override ContentType="application/vnd.openxmlformats-officedocument.presentationml.slideLayout+xml" PartName="/ppt/slideLayouts/slideLayout127.xml"/>
  <Override ContentType="application/vnd.openxmlformats-officedocument.presentationml.slideLayout+xml" PartName="/ppt/slideLayouts/slideLayout128.xml"/>
  <Override ContentType="application/vnd.openxmlformats-officedocument.presentationml.slideLayout+xml" PartName="/ppt/slideLayouts/slideLayout129.xml"/>
  <Override ContentType="application/vnd.openxmlformats-officedocument.presentationml.slideLayout+xml" PartName="/ppt/slideLayouts/slideLayout130.xml"/>
  <Override ContentType="application/vnd.openxmlformats-officedocument.presentationml.slideLayout+xml" PartName="/ppt/slideLayouts/slideLayout131.xml"/>
  <Override ContentType="application/vnd.openxmlformats-officedocument.presentationml.slideLayout+xml" PartName="/ppt/slideLayouts/slideLayout132.xml"/>
  <Override ContentType="application/vnd.openxmlformats-officedocument.presentationml.slideLayout+xml" PartName="/ppt/slideLayouts/slideLayout133.xml"/>
  <Override ContentType="application/vnd.openxmlformats-officedocument.presentationml.slideLayout+xml" PartName="/ppt/slideLayouts/slideLayout134.xml"/>
  <Override ContentType="application/vnd.openxmlformats-officedocument.presentationml.slideLayout+xml" PartName="/ppt/slideLayouts/slideLayout135.xml"/>
  <Override ContentType="application/vnd.openxmlformats-officedocument.presentationml.slideLayout+xml" PartName="/ppt/slideLayouts/slideLayout136.xml"/>
  <Override ContentType="application/vnd.openxmlformats-officedocument.presentationml.slideLayout+xml" PartName="/ppt/slideLayouts/slideLayout137.xml"/>
  <Override ContentType="application/vnd.openxmlformats-officedocument.presentationml.slideLayout+xml" PartName="/ppt/slideLayouts/slideLayout138.xml"/>
  <Override ContentType="application/vnd.openxmlformats-officedocument.presentationml.slideLayout+xml" PartName="/ppt/slideLayouts/slideLayout139.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Master+xml" PartName="/ppt/slideMasters/slideMaster12.xml"/>
  <Override ContentType="application/vnd.openxmlformats-officedocument.presentationml.slideMaster+xml" PartName="/ppt/slideMasters/slideMaster13.xml"/>
  <Override ContentType="application/vnd.openxmlformats-officedocument.presentationml.slideMaster+xml" PartName="/ppt/slideMasters/slideMaster14.xml"/>
  <Override ContentType="application/vnd.openxmlformats-officedocument.presentationml.slideMaster+xml" PartName="/ppt/slideMasters/slideMaster15.xml"/>
  <Override ContentType="application/vnd.openxmlformats-officedocument.presentationml.slideMaster+xml" PartName="/ppt/slideMasters/slideMaster16.xml"/>
  <Override ContentType="application/vnd.openxmlformats-officedocument.presentationml.slideMaster+xml" PartName="/ppt/slideMasters/slideMaster17.xml"/>
  <Override ContentType="application/vnd.openxmlformats-officedocument.presentationml.slideMaster+xml" PartName="/ppt/slideMasters/slideMaster18.xml"/>
  <Override ContentType="application/vnd.openxmlformats-officedocument.presentationml.slideMaster+xml" PartName="/ppt/slideMasters/slideMaster19.xml"/>
  <Override ContentType="application/vnd.openxmlformats-officedocument.presentationml.slideMaster+xml" PartName="/ppt/slideMasters/slideMaster20.xml"/>
  <Override ContentType="application/vnd.openxmlformats-officedocument.presentationml.slideMaster+xml" PartName="/ppt/slideMasters/slideMaster21.xml"/>
  <Override ContentType="application/vnd.openxmlformats-officedocument.presentationml.slideMaster+xml" PartName="/ppt/slideMasters/slideMaster22.xml"/>
  <Override ContentType="application/vnd.openxmlformats-officedocument.presentationml.slide+xml" PartName="/ppt/slides/slide1.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theme+xml" PartName="/ppt/theme/theme11.xml"/>
  <Override ContentType="application/vnd.openxmlformats-officedocument.theme+xml" PartName="/ppt/theme/theme12.xml"/>
  <Override ContentType="application/vnd.openxmlformats-officedocument.theme+xml" PartName="/ppt/theme/theme13.xml"/>
  <Override ContentType="application/vnd.openxmlformats-officedocument.theme+xml" PartName="/ppt/theme/theme14.xml"/>
  <Override ContentType="application/vnd.openxmlformats-officedocument.theme+xml" PartName="/ppt/theme/theme15.xml"/>
  <Override ContentType="application/vnd.openxmlformats-officedocument.theme+xml" PartName="/ppt/theme/theme16.xml"/>
  <Override ContentType="application/vnd.openxmlformats-officedocument.theme+xml" PartName="/ppt/theme/theme17.xml"/>
  <Override ContentType="application/vnd.openxmlformats-officedocument.theme+xml" PartName="/ppt/theme/theme18.xml"/>
  <Override ContentType="application/vnd.openxmlformats-officedocument.theme+xml" PartName="/ppt/theme/theme19.xml"/>
  <Override ContentType="application/vnd.openxmlformats-officedocument.theme+xml" PartName="/ppt/theme/theme20.xml"/>
  <Override ContentType="application/vnd.openxmlformats-officedocument.theme+xml" PartName="/ppt/theme/theme21.xml"/>
  <Override ContentType="application/vnd.openxmlformats-officedocument.theme+xml" PartName="/ppt/theme/theme22.xml"/>
  <Override ContentType="application/vnd.openxmlformats-officedocument.theme+xml" PartName="/ppt/theme/theme2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76" r:id="rId2"/>
    <p:sldMasterId id="2147483680" r:id="rId3"/>
    <p:sldMasterId id="2147483687" r:id="rId4"/>
    <p:sldMasterId id="2147483691" r:id="rId5"/>
    <p:sldMasterId id="2147483694" r:id="rId6"/>
    <p:sldMasterId id="2147483709" r:id="rId7"/>
    <p:sldMasterId id="2147483722" r:id="rId8"/>
    <p:sldMasterId id="2147483735" r:id="rId9"/>
    <p:sldMasterId id="2147483750" r:id="rId10"/>
    <p:sldMasterId id="2147483753" r:id="rId11"/>
    <p:sldMasterId id="2147483768" r:id="rId12"/>
    <p:sldMasterId id="2147483782" r:id="rId13"/>
    <p:sldMasterId id="2147483786" r:id="rId14"/>
    <p:sldMasterId id="2147483800" r:id="rId15"/>
    <p:sldMasterId id="2147483804" r:id="rId16"/>
    <p:sldMasterId id="2147483808" r:id="rId17"/>
    <p:sldMasterId id="2147483810" r:id="rId18"/>
    <p:sldMasterId id="2147483814" r:id="rId19"/>
    <p:sldMasterId id="2147483832" r:id="rId20"/>
    <p:sldMasterId id="2147483847" r:id="rId21"/>
    <p:sldMasterId id="2147483867" r:id="rId22"/>
  </p:sldMasterIdLst>
  <p:notesMasterIdLst>
    <p:notesMasterId r:id="rId24"/>
  </p:notesMasterIdLst>
  <p:sldIdLst>
    <p:sldId id="280" r:id="rId23"/>
  </p:sldIdLst>
  <p:sldSz cx="9906000" cy="6858000" type="A4"/>
  <p:notesSz cx="6735763" cy="98663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B5B"/>
    <a:srgbClr val="FFF1C5"/>
    <a:srgbClr val="FFFFFF"/>
    <a:srgbClr val="FF9966"/>
    <a:srgbClr val="00B050"/>
    <a:srgbClr val="777777"/>
    <a:srgbClr val="3399FF"/>
    <a:srgbClr val="FF66CC"/>
    <a:srgbClr val="FF99FF"/>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69" autoAdjust="0"/>
    <p:restoredTop sz="93681" autoAdjust="0"/>
  </p:normalViewPr>
  <p:slideViewPr>
    <p:cSldViewPr snapToGrid="0">
      <p:cViewPr>
        <p:scale>
          <a:sx n="50" d="100"/>
          <a:sy n="50" d="100"/>
        </p:scale>
        <p:origin x="1756" y="400"/>
      </p:cViewPr>
      <p:guideLst/>
    </p:cSldViewPr>
  </p:slideViewPr>
  <p:notesTextViewPr>
    <p:cViewPr>
      <p:scale>
        <a:sx n="125" d="100"/>
        <a:sy n="125" d="100"/>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Masters/slideMaster10.xml" Type="http://schemas.openxmlformats.org/officeDocument/2006/relationships/slideMaster"/><Relationship Id="rId11" Target="slideMasters/slideMaster11.xml" Type="http://schemas.openxmlformats.org/officeDocument/2006/relationships/slideMaster"/><Relationship Id="rId12" Target="slideMasters/slideMaster12.xml" Type="http://schemas.openxmlformats.org/officeDocument/2006/relationships/slideMaster"/><Relationship Id="rId13" Target="slideMasters/slideMaster13.xml" Type="http://schemas.openxmlformats.org/officeDocument/2006/relationships/slideMaster"/><Relationship Id="rId14" Target="slideMasters/slideMaster14.xml" Type="http://schemas.openxmlformats.org/officeDocument/2006/relationships/slideMaster"/><Relationship Id="rId15" Target="slideMasters/slideMaster15.xml" Type="http://schemas.openxmlformats.org/officeDocument/2006/relationships/slideMaster"/><Relationship Id="rId16" Target="slideMasters/slideMaster16.xml" Type="http://schemas.openxmlformats.org/officeDocument/2006/relationships/slideMaster"/><Relationship Id="rId17" Target="slideMasters/slideMaster17.xml" Type="http://schemas.openxmlformats.org/officeDocument/2006/relationships/slideMaster"/><Relationship Id="rId18" Target="slideMasters/slideMaster18.xml" Type="http://schemas.openxmlformats.org/officeDocument/2006/relationships/slideMaster"/><Relationship Id="rId19" Target="slideMasters/slideMaster19.xml" Type="http://schemas.openxmlformats.org/officeDocument/2006/relationships/slideMaster"/><Relationship Id="rId2" Target="slideMasters/slideMaster2.xml" Type="http://schemas.openxmlformats.org/officeDocument/2006/relationships/slideMaster"/><Relationship Id="rId20" Target="slideMasters/slideMaster20.xml" Type="http://schemas.openxmlformats.org/officeDocument/2006/relationships/slideMaster"/><Relationship Id="rId21" Target="slideMasters/slideMaster21.xml" Type="http://schemas.openxmlformats.org/officeDocument/2006/relationships/slideMaster"/><Relationship Id="rId22" Target="slideMasters/slideMaster22.xml" Type="http://schemas.openxmlformats.org/officeDocument/2006/relationships/slideMaster"/><Relationship Id="rId23" Target="slides/slide1.xml" Type="http://schemas.openxmlformats.org/officeDocument/2006/relationships/slide"/><Relationship Id="rId24" Target="notesMasters/notesMaster1.xml" Type="http://schemas.openxmlformats.org/officeDocument/2006/relationships/notesMaster"/><Relationship Id="rId25" Target="presProps.xml" Type="http://schemas.openxmlformats.org/officeDocument/2006/relationships/presProps"/><Relationship Id="rId26" Target="viewProps.xml" Type="http://schemas.openxmlformats.org/officeDocument/2006/relationships/viewProps"/><Relationship Id="rId27" Target="theme/theme1.xml" Type="http://schemas.openxmlformats.org/officeDocument/2006/relationships/theme"/><Relationship Id="rId28" Target="tableStyles.xml" Type="http://schemas.openxmlformats.org/officeDocument/2006/relationships/tableStyles"/><Relationship Id="rId3" Target="slideMasters/slideMaster3.xml" Type="http://schemas.openxmlformats.org/officeDocument/2006/relationships/slideMaster"/><Relationship Id="rId4" Target="slideMasters/slideMaster4.xml" Type="http://schemas.openxmlformats.org/officeDocument/2006/relationships/slideMaster"/><Relationship Id="rId5" Target="slideMasters/slideMaster5.xml" Type="http://schemas.openxmlformats.org/officeDocument/2006/relationships/slideMaster"/><Relationship Id="rId6" Target="slideMasters/slideMaster6.xml" Type="http://schemas.openxmlformats.org/officeDocument/2006/relationships/slideMaster"/><Relationship Id="rId7" Target="slideMasters/slideMaster7.xml" Type="http://schemas.openxmlformats.org/officeDocument/2006/relationships/slideMaster"/><Relationship Id="rId8" Target="slideMasters/slideMaster8.xml" Type="http://schemas.openxmlformats.org/officeDocument/2006/relationships/slideMaster"/><Relationship Id="rId9" Target="slideMasters/slideMaster9.xml" Type="http://schemas.openxmlformats.org/officeDocument/2006/relationships/slideMaster"/></Relationships>
</file>

<file path=ppt/notesMasters/_rels/notesMaster1.xml.rels><?xml version="1.0" encoding="UTF-8" standalone="yes"?><Relationships xmlns="http://schemas.openxmlformats.org/package/2006/relationships"><Relationship Id="rId1" Target="../theme/theme2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6229DBC9-4F74-471A-928B-55CA997F0AC1}" type="datetimeFigureOut">
              <a:rPr kumimoji="1" lang="ja-JP" altLang="en-US" smtClean="0"/>
              <a:t>2025/3/11</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8828E59C-E89B-4286-8F61-6CDC4087A70F}" type="slidenum">
              <a:rPr kumimoji="1" lang="ja-JP" altLang="en-US" smtClean="0"/>
              <a:t>‹#›</a:t>
            </a:fld>
            <a:endParaRPr kumimoji="1" lang="ja-JP" altLang="en-US"/>
          </a:p>
        </p:txBody>
      </p:sp>
    </p:spTree>
    <p:extLst>
      <p:ext uri="{BB962C8B-B14F-4D97-AF65-F5344CB8AC3E}">
        <p14:creationId xmlns:p14="http://schemas.microsoft.com/office/powerpoint/2010/main" val="390606972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0" name="スライド イメージ プレースホルダ 1"/>
          <p:cNvSpPr>
            <a:spLocks noGrp="1" noRot="1" noChangeAspect="1"/>
          </p:cNvSpPr>
          <p:nvPr>
            <p:ph type="sldImg"/>
          </p:nvPr>
        </p:nvSpPr>
        <p:spPr>
          <a:xfrm>
            <a:off x="5440363" y="360363"/>
            <a:ext cx="2587625" cy="1792287"/>
          </a:xfrm>
        </p:spPr>
      </p:sp>
      <p:sp>
        <p:nvSpPr>
          <p:cNvPr id="10351" name="ノート プレースホルダ 2"/>
          <p:cNvSpPr>
            <a:spLocks noGrp="1"/>
          </p:cNvSpPr>
          <p:nvPr>
            <p:ph type="body" idx="1"/>
          </p:nvPr>
        </p:nvSpPr>
        <p:spPr/>
        <p:txBody>
          <a:bodyPr>
            <a:normAutofit/>
          </a:bodyPr>
          <a:lstStyle/>
          <a:p>
            <a:pPr defTabSz="948570">
              <a:defRPr/>
            </a:pPr>
            <a:endParaRPr kumimoji="1" lang="ja-JP" altLang="en-US" dirty="0"/>
          </a:p>
        </p:txBody>
      </p:sp>
      <p:sp>
        <p:nvSpPr>
          <p:cNvPr id="10352" name="スライド番号プレースホル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47A257-4C07-4AB6-BC31-F377782D84F4}" type="slidenum">
              <a:rPr kumimoji="1" lang="ja-JP" altLang="en-US" sz="1200" b="0" i="0" u="none" strike="noStrike" kern="1200" cap="none" spc="0" normalizeH="0" baseline="0" noProof="0" smtClean="0">
                <a:ln>
                  <a:noFill/>
                </a:ln>
                <a:solidFill>
                  <a:prstClr val="black"/>
                </a:solidFill>
                <a:effectLst/>
                <a:uLnTx/>
                <a:uFillTx/>
                <a:latin typeface="游ゴシック"/>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a:ln>
                <a:noFill/>
              </a:ln>
              <a:solidFill>
                <a:prstClr val="black"/>
              </a:solidFill>
              <a:effectLst/>
              <a:uLnTx/>
              <a:uFillTx/>
              <a:latin typeface="游ゴシック"/>
              <a:ea typeface="游ゴシック" panose="020B0400000000000000" pitchFamily="50" charset="-128"/>
              <a:cs typeface="+mn-cs"/>
            </a:endParaRPr>
          </a:p>
        </p:txBody>
      </p:sp>
    </p:spTree>
    <p:extLst>
      <p:ext uri="{BB962C8B-B14F-4D97-AF65-F5344CB8AC3E}">
        <p14:creationId xmlns:p14="http://schemas.microsoft.com/office/powerpoint/2010/main" val="2353721245"/>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100.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01.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02.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03.xml.rels><?xml version="1.0" encoding="UTF-8" standalone="yes"?><Relationships xmlns="http://schemas.openxmlformats.org/package/2006/relationships"><Relationship Id="rId1" Target="../tags/tag5.xml" Type="http://schemas.openxmlformats.org/officeDocument/2006/relationships/tags"/><Relationship Id="rId2" Target="../slideMasters/slideMaster14.xml" Type="http://schemas.openxmlformats.org/officeDocument/2006/relationships/slideMaster"/><Relationship Id="rId3" Target="../embeddings/oleObject4.bin" Type="http://schemas.openxmlformats.org/officeDocument/2006/relationships/oleObject"/><Relationship Id="rId4" Target="../media/image24.emf" Type="http://schemas.openxmlformats.org/officeDocument/2006/relationships/image"/></Relationships>
</file>

<file path=ppt/slideLayouts/_rels/slideLayout104.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05.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06.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07.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08.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09.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jpeg" Type="http://schemas.openxmlformats.org/officeDocument/2006/relationships/image"/></Relationships>
</file>

<file path=ppt/slideLayouts/_rels/slideLayout110.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111.xml.rels><?xml version="1.0" encoding="UTF-8" standalone="yes"?><Relationships xmlns="http://schemas.openxmlformats.org/package/2006/relationships"><Relationship Id="rId1" Target="../slideMasters/slideMaster15.xml" Type="http://schemas.openxmlformats.org/officeDocument/2006/relationships/slideMaster"/></Relationships>
</file>

<file path=ppt/slideLayouts/_rels/slideLayout112.xml.rels><?xml version="1.0" encoding="UTF-8" standalone="yes"?><Relationships xmlns="http://schemas.openxmlformats.org/package/2006/relationships"><Relationship Id="rId1" Target="../slideMasters/slideMaster15.xml" Type="http://schemas.openxmlformats.org/officeDocument/2006/relationships/slideMaster"/></Relationships>
</file>

<file path=ppt/slideLayouts/_rels/slideLayout113.xml.rels><?xml version="1.0" encoding="UTF-8" standalone="yes"?><Relationships xmlns="http://schemas.openxmlformats.org/package/2006/relationships"><Relationship Id="rId1" Target="../slideMasters/slideMaster16.xml" Type="http://schemas.openxmlformats.org/officeDocument/2006/relationships/slideMaster"/></Relationships>
</file>

<file path=ppt/slideLayouts/_rels/slideLayout114.xml.rels><?xml version="1.0" encoding="UTF-8" standalone="yes"?><Relationships xmlns="http://schemas.openxmlformats.org/package/2006/relationships"><Relationship Id="rId1" Target="../slideMasters/slideMaster16.xml" Type="http://schemas.openxmlformats.org/officeDocument/2006/relationships/slideMaster"/></Relationships>
</file>

<file path=ppt/slideLayouts/_rels/slideLayout115.xml.rels><?xml version="1.0" encoding="UTF-8" standalone="yes"?><Relationships xmlns="http://schemas.openxmlformats.org/package/2006/relationships"><Relationship Id="rId1" Target="../slideMasters/slideMaster16.xml" Type="http://schemas.openxmlformats.org/officeDocument/2006/relationships/slideMaster"/></Relationships>
</file>

<file path=ppt/slideLayouts/_rels/slideLayout116.xml.rels><?xml version="1.0" encoding="UTF-8" standalone="yes"?><Relationships xmlns="http://schemas.openxmlformats.org/package/2006/relationships"><Relationship Id="rId1" Target="../slideMasters/slideMaster18.xml" Type="http://schemas.openxmlformats.org/officeDocument/2006/relationships/slideMaster"/><Relationship Id="rId2" Target="../media/image2.jpeg" Type="http://schemas.openxmlformats.org/officeDocument/2006/relationships/image"/></Relationships>
</file>

<file path=ppt/slideLayouts/_rels/slideLayout117.xml.rels><?xml version="1.0" encoding="UTF-8" standalone="yes"?><Relationships xmlns="http://schemas.openxmlformats.org/package/2006/relationships"><Relationship Id="rId1" Target="../slideMasters/slideMaster18.xml" Type="http://schemas.openxmlformats.org/officeDocument/2006/relationships/slideMaster"/></Relationships>
</file>

<file path=ppt/slideLayouts/_rels/slideLayout118.xml.rels><?xml version="1.0" encoding="UTF-8" standalone="yes"?><Relationships xmlns="http://schemas.openxmlformats.org/package/2006/relationships"><Relationship Id="rId1" Target="../slideMasters/slideMaster18.xml" Type="http://schemas.openxmlformats.org/officeDocument/2006/relationships/slideMaster"/></Relationships>
</file>

<file path=ppt/slideLayouts/_rels/slideLayout119.xml.rels><?xml version="1.0" encoding="UTF-8" standalone="yes"?><Relationships xmlns="http://schemas.openxmlformats.org/package/2006/relationships"><Relationship Id="rId1" Target="../slideMasters/slideMaster19.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120.xml.rels><?xml version="1.0" encoding="UTF-8" standalone="yes"?><Relationships xmlns="http://schemas.openxmlformats.org/package/2006/relationships"><Relationship Id="rId1" Target="../slideMasters/slideMaster19.xml" Type="http://schemas.openxmlformats.org/officeDocument/2006/relationships/slideMaster"/></Relationships>
</file>

<file path=ppt/slideLayouts/_rels/slideLayout121.xml.rels><?xml version="1.0" encoding="UTF-8" standalone="yes"?><Relationships xmlns="http://schemas.openxmlformats.org/package/2006/relationships"><Relationship Id="rId1" Target="../slideMasters/slideMaster21.xml" Type="http://schemas.openxmlformats.org/officeDocument/2006/relationships/slideMaster"/><Relationship Id="rId2" Target="../media/image2.jpeg" Type="http://schemas.openxmlformats.org/officeDocument/2006/relationships/image"/></Relationships>
</file>

<file path=ppt/slideLayouts/_rels/slideLayout122.xml.rels><?xml version="1.0" encoding="UTF-8" standalone="yes"?><Relationships xmlns="http://schemas.openxmlformats.org/package/2006/relationships"><Relationship Id="rId1" Target="../slideMasters/slideMaster21.xml" Type="http://schemas.openxmlformats.org/officeDocument/2006/relationships/slideMaster"/></Relationships>
</file>

<file path=ppt/slideLayouts/_rels/slideLayout123.xml.rels><?xml version="1.0" encoding="UTF-8" standalone="yes"?><Relationships xmlns="http://schemas.openxmlformats.org/package/2006/relationships"><Relationship Id="rId1" Target="../slideMasters/slideMaster21.xml" Type="http://schemas.openxmlformats.org/officeDocument/2006/relationships/slideMaster"/></Relationships>
</file>

<file path=ppt/slideLayouts/_rels/slideLayout124.xml.rels><?xml version="1.0" encoding="UTF-8" standalone="yes"?><Relationships xmlns="http://schemas.openxmlformats.org/package/2006/relationships"><Relationship Id="rId1" Target="../slideMasters/slideMaster21.xml" Type="http://schemas.openxmlformats.org/officeDocument/2006/relationships/slideMaster"/></Relationships>
</file>

<file path=ppt/slideLayouts/_rels/slideLayout125.xml.rels><?xml version="1.0" encoding="UTF-8" standalone="yes"?><Relationships xmlns="http://schemas.openxmlformats.org/package/2006/relationships"><Relationship Id="rId1" Target="../slideMasters/slideMaster21.xml" Type="http://schemas.openxmlformats.org/officeDocument/2006/relationships/slideMaster"/></Relationships>
</file>

<file path=ppt/slideLayouts/_rels/slideLayout126.xml.rels><?xml version="1.0" encoding="UTF-8" standalone="yes"?><Relationships xmlns="http://schemas.openxmlformats.org/package/2006/relationships"><Relationship Id="rId1" Target="../slideMasters/slideMaster22.xml" Type="http://schemas.openxmlformats.org/officeDocument/2006/relationships/slideMaster"/><Relationship Id="rId2" Target="../media/image2.jpeg" Type="http://schemas.openxmlformats.org/officeDocument/2006/relationships/image"/></Relationships>
</file>

<file path=ppt/slideLayouts/_rels/slideLayout127.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28.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29.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130.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31.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32.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33.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34.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35.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36.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37.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38.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39.xml.rels><?xml version="1.0" encoding="UTF-8" standalone="yes"?><Relationships xmlns="http://schemas.openxmlformats.org/package/2006/relationships"><Relationship Id="rId1" Target="../slideMasters/slideMaster2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6.xml" Type="http://schemas.openxmlformats.org/officeDocument/2006/relationships/slideMaster"/><Relationship Id="rId2" Target="../media/image2.jpeg" Type="http://schemas.openxmlformats.org/officeDocument/2006/relationships/image"/></Relationships>
</file>

<file path=ppt/slideLayouts/_rels/slideLayout1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3.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jpeg" Type="http://schemas.openxmlformats.org/officeDocument/2006/relationships/image"/></Relationships>
</file>

<file path=ppt/slideLayouts/_rels/slideLayout4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8.xml" Type="http://schemas.openxmlformats.org/officeDocument/2006/relationships/slideMaster"/><Relationship Id="rId2" Target="../media/image2.jpeg" Type="http://schemas.openxmlformats.org/officeDocument/2006/relationships/image"/></Relationships>
</file>

<file path=ppt/slideLayouts/_rels/slideLayout42.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43.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44.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45.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46.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47.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48.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49.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50.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5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52.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53.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3.jpeg" Type="http://schemas.openxmlformats.org/officeDocument/2006/relationships/image"/></Relationships>
</file>

<file path=ppt/slideLayouts/_rels/slideLayout5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55.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56.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6.png" Type="http://schemas.openxmlformats.org/officeDocument/2006/relationships/image"/><Relationship Id="rId3" Target="../media/image7.png" Type="http://schemas.openxmlformats.org/officeDocument/2006/relationships/image"/><Relationship Id="rId4" Target="../media/image8.png" Type="http://schemas.openxmlformats.org/officeDocument/2006/relationships/image"/></Relationships>
</file>

<file path=ppt/slideLayouts/_rels/slideLayout57.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9.png" Type="http://schemas.openxmlformats.org/officeDocument/2006/relationships/image"/><Relationship Id="rId3" Target="../media/image10.png" Type="http://schemas.openxmlformats.org/officeDocument/2006/relationships/image"/></Relationships>
</file>

<file path=ppt/slideLayouts/_rels/slideLayout58.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1.png" Type="http://schemas.openxmlformats.org/officeDocument/2006/relationships/image"/></Relationships>
</file>

<file path=ppt/slideLayouts/_rels/slideLayout59.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2.pn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60.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3.png" Type="http://schemas.openxmlformats.org/officeDocument/2006/relationships/image"/></Relationships>
</file>

<file path=ppt/slideLayouts/_rels/slideLayout61.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4.png" Type="http://schemas.openxmlformats.org/officeDocument/2006/relationships/image"/></Relationships>
</file>

<file path=ppt/slideLayouts/_rels/slideLayout62.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5.png" Type="http://schemas.openxmlformats.org/officeDocument/2006/relationships/image"/></Relationships>
</file>

<file path=ppt/slideLayouts/_rels/slideLayout63.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6.png" Type="http://schemas.openxmlformats.org/officeDocument/2006/relationships/image"/></Relationships>
</file>

<file path=ppt/slideLayouts/_rels/slideLayout64.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7.png" Type="http://schemas.openxmlformats.org/officeDocument/2006/relationships/image"/></Relationships>
</file>

<file path=ppt/slideLayouts/_rels/slideLayout65.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8.png" Type="http://schemas.openxmlformats.org/officeDocument/2006/relationships/image"/></Relationships>
</file>

<file path=ppt/slideLayouts/_rels/slideLayout66.xml.rels><?xml version="1.0" encoding="UTF-8" standalone="yes"?><Relationships xmlns="http://schemas.openxmlformats.org/package/2006/relationships"><Relationship Id="rId1" Target="../slideMasters/slideMaster9.xml" Type="http://schemas.openxmlformats.org/officeDocument/2006/relationships/slideMaster"/><Relationship Id="rId2" Target="../media/image19.png" Type="http://schemas.openxmlformats.org/officeDocument/2006/relationships/image"/><Relationship Id="rId3" Target="../media/image20.png" Type="http://schemas.openxmlformats.org/officeDocument/2006/relationships/image"/><Relationship Id="rId4" Target="../media/image21.png" Type="http://schemas.openxmlformats.org/officeDocument/2006/relationships/image"/></Relationships>
</file>

<file path=ppt/slideLayouts/_rels/slideLayout67.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68.xml.rels><?xml version="1.0" encoding="UTF-8" standalone="yes"?><Relationships xmlns="http://schemas.openxmlformats.org/package/2006/relationships"><Relationship Id="rId1" Target="../tags/tag2.xml" Type="http://schemas.openxmlformats.org/officeDocument/2006/relationships/tags"/><Relationship Id="rId2" Target="../slideMasters/slideMaster10.xml" Type="http://schemas.openxmlformats.org/officeDocument/2006/relationships/slideMaster"/><Relationship Id="rId3" Target="../embeddings/oleObject2.bin" Type="http://schemas.openxmlformats.org/officeDocument/2006/relationships/oleObject"/></Relationships>
</file>

<file path=ppt/slideLayouts/_rels/slideLayout69.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3.jpe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3.jpeg" Type="http://schemas.openxmlformats.org/officeDocument/2006/relationships/image"/></Relationships>
</file>

<file path=ppt/slideLayouts/_rels/slideLayout70.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71.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72.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6.png" Type="http://schemas.openxmlformats.org/officeDocument/2006/relationships/image"/><Relationship Id="rId3" Target="../media/image7.png" Type="http://schemas.openxmlformats.org/officeDocument/2006/relationships/image"/><Relationship Id="rId4" Target="../media/image8.png" Type="http://schemas.openxmlformats.org/officeDocument/2006/relationships/image"/></Relationships>
</file>

<file path=ppt/slideLayouts/_rels/slideLayout73.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9.png" Type="http://schemas.openxmlformats.org/officeDocument/2006/relationships/image"/><Relationship Id="rId3" Target="../media/image10.png" Type="http://schemas.openxmlformats.org/officeDocument/2006/relationships/image"/></Relationships>
</file>

<file path=ppt/slideLayouts/_rels/slideLayout74.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1.png" Type="http://schemas.openxmlformats.org/officeDocument/2006/relationships/image"/></Relationships>
</file>

<file path=ppt/slideLayouts/_rels/slideLayout75.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2.png" Type="http://schemas.openxmlformats.org/officeDocument/2006/relationships/image"/></Relationships>
</file>

<file path=ppt/slideLayouts/_rels/slideLayout76.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3.png" Type="http://schemas.openxmlformats.org/officeDocument/2006/relationships/image"/></Relationships>
</file>

<file path=ppt/slideLayouts/_rels/slideLayout77.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4.png" Type="http://schemas.openxmlformats.org/officeDocument/2006/relationships/image"/></Relationships>
</file>

<file path=ppt/slideLayouts/_rels/slideLayout78.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5.png" Type="http://schemas.openxmlformats.org/officeDocument/2006/relationships/image"/></Relationships>
</file>

<file path=ppt/slideLayouts/_rels/slideLayout79.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6.pn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80.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7.png" Type="http://schemas.openxmlformats.org/officeDocument/2006/relationships/image"/></Relationships>
</file>

<file path=ppt/slideLayouts/_rels/slideLayout81.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8.png" Type="http://schemas.openxmlformats.org/officeDocument/2006/relationships/image"/></Relationships>
</file>

<file path=ppt/slideLayouts/_rels/slideLayout82.xml.rels><?xml version="1.0" encoding="UTF-8" standalone="yes"?><Relationships xmlns="http://schemas.openxmlformats.org/package/2006/relationships"><Relationship Id="rId1" Target="../slideMasters/slideMaster11.xml" Type="http://schemas.openxmlformats.org/officeDocument/2006/relationships/slideMaster"/><Relationship Id="rId2" Target="../media/image19.png" Type="http://schemas.openxmlformats.org/officeDocument/2006/relationships/image"/><Relationship Id="rId3" Target="../media/image20.png" Type="http://schemas.openxmlformats.org/officeDocument/2006/relationships/image"/><Relationship Id="rId4" Target="../media/image21.png" Type="http://schemas.openxmlformats.org/officeDocument/2006/relationships/image"/></Relationships>
</file>

<file path=ppt/slideLayouts/_rels/slideLayout83.xml.rels><?xml version="1.0" encoding="UTF-8" standalone="yes"?><Relationships xmlns="http://schemas.openxmlformats.org/package/2006/relationships"><Relationship Id="rId1" Target="../slideMasters/slideMaster12.xml" Type="http://schemas.openxmlformats.org/officeDocument/2006/relationships/slideMaster"/><Relationship Id="rId2" Target="../media/image23.jpeg" Type="http://schemas.openxmlformats.org/officeDocument/2006/relationships/image"/></Relationships>
</file>

<file path=ppt/slideLayouts/_rels/slideLayout84.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85.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86.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8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8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89.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90.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91.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92.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93.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94.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95.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2.jpeg" Type="http://schemas.openxmlformats.org/officeDocument/2006/relationships/image"/></Relationships>
</file>

<file path=ppt/slideLayouts/_rels/slideLayout96.xml.rels><?xml version="1.0" encoding="UTF-8" standalone="yes"?><Relationships xmlns="http://schemas.openxmlformats.org/package/2006/relationships"><Relationship Id="rId1" Target="../slideMasters/slideMaster13.xml" Type="http://schemas.openxmlformats.org/officeDocument/2006/relationships/slideMaster"/><Relationship Id="rId2" Target="../media/image1.jpeg" Type="http://schemas.openxmlformats.org/officeDocument/2006/relationships/image"/></Relationships>
</file>

<file path=ppt/slideLayouts/_rels/slideLayout97.xml.rels><?xml version="1.0" encoding="UTF-8" standalone="yes"?><Relationships xmlns="http://schemas.openxmlformats.org/package/2006/relationships"><Relationship Id="rId1" Target="../slideMasters/slideMaster13.xml" Type="http://schemas.openxmlformats.org/officeDocument/2006/relationships/slideMaster"/></Relationships>
</file>

<file path=ppt/slideLayouts/_rels/slideLayout98.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_rels/slideLayout99.xml.rels><?xml version="1.0" encoding="UTF-8" standalone="yes"?><Relationships xmlns="http://schemas.openxmlformats.org/package/2006/relationships"><Relationship Id="rId1" Target="../slideMasters/slideMaster14.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4" name="Picture 20" descr="ppjtit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6076950"/>
            <a:ext cx="992187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4"/>
          <p:cNvSpPr>
            <a:spLocks noChangeArrowheads="1"/>
          </p:cNvSpPr>
          <p:nvPr userDrawn="1"/>
        </p:nvSpPr>
        <p:spPr bwMode="auto">
          <a:xfrm>
            <a:off x="1833563" y="3284544"/>
            <a:ext cx="8072437" cy="7302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31747" name="Rectangle 3"/>
          <p:cNvSpPr>
            <a:spLocks noGrp="1" noChangeArrowheads="1"/>
          </p:cNvSpPr>
          <p:nvPr>
            <p:ph type="ctrTitle"/>
          </p:nvPr>
        </p:nvSpPr>
        <p:spPr>
          <a:xfrm>
            <a:off x="1784351" y="2133608"/>
            <a:ext cx="8121650" cy="1470025"/>
          </a:xfrm>
        </p:spPr>
        <p:txBody>
          <a:bodyPr/>
          <a:lstStyle>
            <a:lvl1pPr>
              <a:defRPr sz="3408"/>
            </a:lvl1pPr>
          </a:lstStyle>
          <a:p>
            <a:r>
              <a:rPr lang="ja-JP" altLang="en-US"/>
              <a:t>マスタ タイトルの書式設定</a:t>
            </a:r>
          </a:p>
        </p:txBody>
      </p:sp>
      <p:sp>
        <p:nvSpPr>
          <p:cNvPr id="31748"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国土交通省　観光庁</a:t>
            </a:r>
          </a:p>
          <a:p>
            <a:r>
              <a:rPr lang="ja-JP" altLang="en-US"/>
              <a:t>○○課</a:t>
            </a:r>
          </a:p>
          <a:p>
            <a:r>
              <a:rPr lang="ja-JP" altLang="en-US"/>
              <a:t>平成○○年○○月</a:t>
            </a:r>
          </a:p>
        </p:txBody>
      </p:sp>
      <p:sp>
        <p:nvSpPr>
          <p:cNvPr id="6" name="Rectangle 5"/>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7" name="Rectangle 6"/>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8" name="Rectangle 7"/>
          <p:cNvSpPr>
            <a:spLocks noGrp="1" noChangeArrowheads="1"/>
          </p:cNvSpPr>
          <p:nvPr>
            <p:ph type="sldNum" sz="quarter" idx="12"/>
          </p:nvPr>
        </p:nvSpPr>
        <p:spPr>
          <a:xfrm>
            <a:off x="7099300" y="6245225"/>
            <a:ext cx="2311400" cy="476250"/>
          </a:xfrm>
        </p:spPr>
        <p:txBody>
          <a:bodyPr/>
          <a:lstStyle>
            <a:lvl1pPr fontAlgn="auto">
              <a:spcBef>
                <a:spcPts val="0"/>
              </a:spcBef>
              <a:spcAft>
                <a:spcPts val="0"/>
              </a:spcAft>
              <a:defRPr/>
            </a:lvl1pPr>
          </a:lstStyle>
          <a:p>
            <a:pPr>
              <a:defRPr/>
            </a:pPr>
            <a:fld id="{2EEA7C7B-6C38-4BDA-B6DD-FAA96FBB8521}" type="slidenum">
              <a:rPr lang="en-US" altLang="ja-JP"/>
              <a:pPr>
                <a:defRPr/>
              </a:pPr>
              <a:t>‹#›</a:t>
            </a:fld>
            <a:endParaRPr lang="en-US" altLang="ja-JP"/>
          </a:p>
        </p:txBody>
      </p:sp>
    </p:spTree>
    <p:extLst>
      <p:ext uri="{BB962C8B-B14F-4D97-AF65-F5344CB8AC3E}">
        <p14:creationId xmlns:p14="http://schemas.microsoft.com/office/powerpoint/2010/main" val="965835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
        <p:nvSpPr>
          <p:cNvPr id="4" name="フッター プレースホルダー 3"/>
          <p:cNvSpPr>
            <a:spLocks noGrp="1"/>
          </p:cNvSpPr>
          <p:nvPr>
            <p:ph type="ftr" sz="quarter" idx="11"/>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
        <p:nvSpPr>
          <p:cNvPr id="5" name="スライド番号プレースホルダー 4"/>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245FCB2-03D4-4C5B-9B1A-4180124C4B36}" type="slidenum">
              <a:rPr kumimoji="1" lang="en-US" altLang="ja-JP" sz="14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1" lang="en-US" altLang="ja-JP" sz="14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59041651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76275" y="1709738"/>
            <a:ext cx="8543925" cy="2852737"/>
          </a:xfrm>
        </p:spPr>
        <p:txBody>
          <a:bodyPr anchor="b"/>
          <a:lstStyle>
            <a:lvl1pPr>
              <a:defRPr sz="6000"/>
            </a:lvl1pPr>
          </a:lstStyle>
          <a:p>
            <a:r>
              <a:rPr lang="ja-JP" altLang="en-US"/>
              <a:t>マスター タイトルの書式設定</a:t>
            </a:r>
          </a:p>
        </p:txBody>
      </p:sp>
      <p:sp>
        <p:nvSpPr>
          <p:cNvPr id="3" name="テキスト プレースホルダー 2"/>
          <p:cNvSpPr>
            <a:spLocks noGrp="1"/>
          </p:cNvSpPr>
          <p:nvPr>
            <p:ph type="body" idx="1"/>
          </p:nvPr>
        </p:nvSpPr>
        <p:spPr>
          <a:xfrm>
            <a:off x="676275" y="4589463"/>
            <a:ext cx="8543925"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endParaRPr lang="en-US" altLang="ja-JP">
              <a:solidFill>
                <a:prstClr val="black"/>
              </a:solidFill>
            </a:endParaRPr>
          </a:p>
        </p:txBody>
      </p:sp>
      <p:sp>
        <p:nvSpPr>
          <p:cNvPr id="5" name="フッター プレースホルダー 4"/>
          <p:cNvSpPr>
            <a:spLocks noGrp="1"/>
          </p:cNvSpPr>
          <p:nvPr>
            <p:ph type="ftr" sz="quarter" idx="11"/>
          </p:nvPr>
        </p:nvSpPr>
        <p:spPr/>
        <p:txBody>
          <a:bodyPr/>
          <a:lstStyle>
            <a:lvl1pPr>
              <a:defRPr/>
            </a:lvl1pPr>
          </a:lstStyle>
          <a:p>
            <a:endParaRPr lang="en-US" altLang="ja-JP">
              <a:solidFill>
                <a:prstClr val="black"/>
              </a:solidFill>
            </a:endParaRPr>
          </a:p>
        </p:txBody>
      </p:sp>
      <p:sp>
        <p:nvSpPr>
          <p:cNvPr id="6" name="スライド番号プレースホルダー 5"/>
          <p:cNvSpPr>
            <a:spLocks noGrp="1"/>
          </p:cNvSpPr>
          <p:nvPr>
            <p:ph type="sldNum" sz="quarter" idx="12"/>
          </p:nvPr>
        </p:nvSpPr>
        <p:spPr/>
        <p:txBody>
          <a:bodyPr/>
          <a:lstStyle>
            <a:lvl1pPr>
              <a:defRPr/>
            </a:lvl1pPr>
          </a:lstStyle>
          <a:p>
            <a:fld id="{FFF761A7-9AC0-4DA9-9778-D6AA65CDE3C9}" type="slidenum">
              <a:rPr lang="en-US" altLang="ja-JP">
                <a:solidFill>
                  <a:prstClr val="black"/>
                </a:solidFill>
              </a:rPr>
              <a:pPr/>
              <a:t>‹#›</a:t>
            </a:fld>
            <a:endParaRPr lang="en-US" altLang="ja-JP">
              <a:solidFill>
                <a:prstClr val="black"/>
              </a:solidFill>
            </a:endParaRPr>
          </a:p>
        </p:txBody>
      </p:sp>
    </p:spTree>
    <p:extLst>
      <p:ext uri="{BB962C8B-B14F-4D97-AF65-F5344CB8AC3E}">
        <p14:creationId xmlns:p14="http://schemas.microsoft.com/office/powerpoint/2010/main" val="315638205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495300" y="1600200"/>
            <a:ext cx="4381500" cy="452596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9200" y="1600200"/>
            <a:ext cx="4381500" cy="452596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4"/>
          <p:cNvSpPr>
            <a:spLocks noGrp="1"/>
          </p:cNvSpPr>
          <p:nvPr>
            <p:ph type="dt" sz="half" idx="10"/>
          </p:nvPr>
        </p:nvSpPr>
        <p:spPr/>
        <p:txBody>
          <a:bodyPr/>
          <a:lstStyle>
            <a:lvl1pPr>
              <a:defRPr/>
            </a:lvl1pPr>
          </a:lstStyle>
          <a:p>
            <a:endParaRPr lang="en-US" altLang="ja-JP">
              <a:solidFill>
                <a:prstClr val="black"/>
              </a:solidFill>
            </a:endParaRPr>
          </a:p>
        </p:txBody>
      </p:sp>
      <p:sp>
        <p:nvSpPr>
          <p:cNvPr id="6" name="フッター プレースホルダー 5"/>
          <p:cNvSpPr>
            <a:spLocks noGrp="1"/>
          </p:cNvSpPr>
          <p:nvPr>
            <p:ph type="ftr" sz="quarter" idx="11"/>
          </p:nvPr>
        </p:nvSpPr>
        <p:spPr/>
        <p:txBody>
          <a:bodyPr/>
          <a:lstStyle>
            <a:lvl1pPr>
              <a:defRPr/>
            </a:lvl1pPr>
          </a:lstStyle>
          <a:p>
            <a:endParaRPr lang="en-US" altLang="ja-JP">
              <a:solidFill>
                <a:prstClr val="black"/>
              </a:solidFill>
            </a:endParaRPr>
          </a:p>
        </p:txBody>
      </p:sp>
      <p:sp>
        <p:nvSpPr>
          <p:cNvPr id="7" name="スライド番号プレースホルダー 6"/>
          <p:cNvSpPr>
            <a:spLocks noGrp="1"/>
          </p:cNvSpPr>
          <p:nvPr>
            <p:ph type="sldNum" sz="quarter" idx="12"/>
          </p:nvPr>
        </p:nvSpPr>
        <p:spPr/>
        <p:txBody>
          <a:bodyPr/>
          <a:lstStyle>
            <a:lvl1pPr>
              <a:defRPr/>
            </a:lvl1pPr>
          </a:lstStyle>
          <a:p>
            <a:fld id="{D0801A07-CD31-4FEF-8900-533695573324}" type="slidenum">
              <a:rPr lang="en-US" altLang="ja-JP">
                <a:solidFill>
                  <a:prstClr val="black"/>
                </a:solidFill>
              </a:rPr>
              <a:pPr/>
              <a:t>‹#›</a:t>
            </a:fld>
            <a:endParaRPr lang="en-US" altLang="ja-JP">
              <a:solidFill>
                <a:prstClr val="black"/>
              </a:solidFill>
            </a:endParaRPr>
          </a:p>
        </p:txBody>
      </p:sp>
    </p:spTree>
    <p:extLst>
      <p:ext uri="{BB962C8B-B14F-4D97-AF65-F5344CB8AC3E}">
        <p14:creationId xmlns:p14="http://schemas.microsoft.com/office/powerpoint/2010/main" val="218224096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365125"/>
            <a:ext cx="8543925" cy="1325563"/>
          </a:xfr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682625" y="2505075"/>
            <a:ext cx="419100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014913" y="2505075"/>
            <a:ext cx="4211637"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6"/>
          <p:cNvSpPr>
            <a:spLocks noGrp="1"/>
          </p:cNvSpPr>
          <p:nvPr>
            <p:ph type="dt" sz="half" idx="10"/>
          </p:nvPr>
        </p:nvSpPr>
        <p:spPr/>
        <p:txBody>
          <a:bodyPr/>
          <a:lstStyle>
            <a:lvl1pPr>
              <a:defRPr/>
            </a:lvl1pPr>
          </a:lstStyle>
          <a:p>
            <a:endParaRPr lang="en-US" altLang="ja-JP">
              <a:solidFill>
                <a:prstClr val="black"/>
              </a:solidFill>
            </a:endParaRPr>
          </a:p>
        </p:txBody>
      </p:sp>
      <p:sp>
        <p:nvSpPr>
          <p:cNvPr id="8" name="フッター プレースホルダー 7"/>
          <p:cNvSpPr>
            <a:spLocks noGrp="1"/>
          </p:cNvSpPr>
          <p:nvPr>
            <p:ph type="ftr" sz="quarter" idx="11"/>
          </p:nvPr>
        </p:nvSpPr>
        <p:spPr/>
        <p:txBody>
          <a:bodyPr/>
          <a:lstStyle>
            <a:lvl1pPr>
              <a:defRPr/>
            </a:lvl1pPr>
          </a:lstStyle>
          <a:p>
            <a:endParaRPr lang="en-US" altLang="ja-JP">
              <a:solidFill>
                <a:prstClr val="black"/>
              </a:solidFill>
            </a:endParaRPr>
          </a:p>
        </p:txBody>
      </p:sp>
      <p:sp>
        <p:nvSpPr>
          <p:cNvPr id="9" name="スライド番号プレースホルダー 8"/>
          <p:cNvSpPr>
            <a:spLocks noGrp="1"/>
          </p:cNvSpPr>
          <p:nvPr>
            <p:ph type="sldNum" sz="quarter" idx="12"/>
          </p:nvPr>
        </p:nvSpPr>
        <p:spPr/>
        <p:txBody>
          <a:bodyPr/>
          <a:lstStyle>
            <a:lvl1pPr>
              <a:defRPr/>
            </a:lvl1pPr>
          </a:lstStyle>
          <a:p>
            <a:fld id="{5938B397-36C6-4B86-9548-459423A15DB1}" type="slidenum">
              <a:rPr lang="en-US" altLang="ja-JP">
                <a:solidFill>
                  <a:prstClr val="black"/>
                </a:solidFill>
              </a:rPr>
              <a:pPr/>
              <a:t>‹#›</a:t>
            </a:fld>
            <a:endParaRPr lang="en-US" altLang="ja-JP">
              <a:solidFill>
                <a:prstClr val="black"/>
              </a:solidFill>
            </a:endParaRPr>
          </a:p>
        </p:txBody>
      </p:sp>
    </p:spTree>
    <p:extLst>
      <p:ext uri="{BB962C8B-B14F-4D97-AF65-F5344CB8AC3E}">
        <p14:creationId xmlns:p14="http://schemas.microsoft.com/office/powerpoint/2010/main" val="39921231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92" imgH="591" progId="TCLayout.ActiveDocument.1">
                  <p:embed/>
                </p:oleObj>
              </mc:Choice>
              <mc:Fallback>
                <p:oleObj name="think-cell スライド" r:id="rId3" imgW="592" imgH="591" progId="TCLayout.ActiveDocument.1">
                  <p:embed/>
                  <p:pic>
                    <p:nvPicPr>
                      <p:cNvPr id="6" name="オブジェクト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タイトル 1"/>
          <p:cNvSpPr>
            <a:spLocks noGrp="1"/>
          </p:cNvSpPr>
          <p:nvPr>
            <p:ph type="title"/>
          </p:nvPr>
        </p:nvSpPr>
        <p:spPr/>
        <p:txBody>
          <a:bodyPr wrap="none"/>
          <a:lstStyle/>
          <a:p>
            <a:r>
              <a:rPr lang="ja-JP" altLang="en-US"/>
              <a:t>マスター タイトルの書式設定</a:t>
            </a:r>
          </a:p>
        </p:txBody>
      </p:sp>
      <p:sp>
        <p:nvSpPr>
          <p:cNvPr id="3" name="日付プレースホルダー 2"/>
          <p:cNvSpPr>
            <a:spLocks noGrp="1"/>
          </p:cNvSpPr>
          <p:nvPr>
            <p:ph type="dt" sz="half" idx="10"/>
          </p:nvPr>
        </p:nvSpPr>
        <p:spPr/>
        <p:txBody>
          <a:bodyPr/>
          <a:lstStyle>
            <a:lvl1pPr>
              <a:defRPr/>
            </a:lvl1pPr>
          </a:lstStyle>
          <a:p>
            <a:endParaRPr lang="en-US" altLang="ja-JP">
              <a:solidFill>
                <a:prstClr val="black"/>
              </a:solidFill>
            </a:endParaRPr>
          </a:p>
        </p:txBody>
      </p:sp>
      <p:sp>
        <p:nvSpPr>
          <p:cNvPr id="4" name="フッター プレースホルダー 3"/>
          <p:cNvSpPr>
            <a:spLocks noGrp="1"/>
          </p:cNvSpPr>
          <p:nvPr>
            <p:ph type="ftr" sz="quarter" idx="11"/>
          </p:nvPr>
        </p:nvSpPr>
        <p:spPr/>
        <p:txBody>
          <a:bodyPr/>
          <a:lstStyle>
            <a:lvl1pPr>
              <a:defRPr/>
            </a:lvl1pPr>
          </a:lstStyle>
          <a:p>
            <a:endParaRPr lang="en-US" altLang="ja-JP">
              <a:solidFill>
                <a:prstClr val="black"/>
              </a:solidFill>
            </a:endParaRPr>
          </a:p>
        </p:txBody>
      </p:sp>
      <p:sp>
        <p:nvSpPr>
          <p:cNvPr id="5" name="スライド番号プレースホルダー 4"/>
          <p:cNvSpPr>
            <a:spLocks noGrp="1"/>
          </p:cNvSpPr>
          <p:nvPr>
            <p:ph type="sldNum" sz="quarter" idx="12"/>
          </p:nvPr>
        </p:nvSpPr>
        <p:spPr/>
        <p:txBody>
          <a:bodyPr/>
          <a:lstStyle>
            <a:lvl1pPr>
              <a:defRPr/>
            </a:lvl1pPr>
          </a:lstStyle>
          <a:p>
            <a:fld id="{86E54926-F95B-47EB-BEEE-7BAEDA94D764}" type="slidenum">
              <a:rPr lang="en-US" altLang="ja-JP">
                <a:solidFill>
                  <a:prstClr val="black"/>
                </a:solidFill>
              </a:rPr>
              <a:pPr/>
              <a:t>‹#›</a:t>
            </a:fld>
            <a:endParaRPr lang="en-US" altLang="ja-JP">
              <a:solidFill>
                <a:prstClr val="black"/>
              </a:solidFill>
            </a:endParaRPr>
          </a:p>
        </p:txBody>
      </p:sp>
    </p:spTree>
    <p:extLst>
      <p:ext uri="{BB962C8B-B14F-4D97-AF65-F5344CB8AC3E}">
        <p14:creationId xmlns:p14="http://schemas.microsoft.com/office/powerpoint/2010/main" val="32962359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lvl1pPr>
              <a:defRPr/>
            </a:lvl1pPr>
          </a:lstStyle>
          <a:p>
            <a:endParaRPr lang="en-US" altLang="ja-JP">
              <a:solidFill>
                <a:prstClr val="black"/>
              </a:solidFill>
            </a:endParaRPr>
          </a:p>
        </p:txBody>
      </p:sp>
      <p:sp>
        <p:nvSpPr>
          <p:cNvPr id="3" name="フッター プレースホルダー 2"/>
          <p:cNvSpPr>
            <a:spLocks noGrp="1"/>
          </p:cNvSpPr>
          <p:nvPr>
            <p:ph type="ftr" sz="quarter" idx="11"/>
          </p:nvPr>
        </p:nvSpPr>
        <p:spPr/>
        <p:txBody>
          <a:bodyPr/>
          <a:lstStyle>
            <a:lvl1pPr>
              <a:defRPr/>
            </a:lvl1pPr>
          </a:lstStyle>
          <a:p>
            <a:endParaRPr lang="en-US" altLang="ja-JP">
              <a:solidFill>
                <a:prstClr val="black"/>
              </a:solidFill>
            </a:endParaRPr>
          </a:p>
        </p:txBody>
      </p:sp>
      <p:sp>
        <p:nvSpPr>
          <p:cNvPr id="4" name="スライド番号プレースホルダー 3"/>
          <p:cNvSpPr>
            <a:spLocks noGrp="1"/>
          </p:cNvSpPr>
          <p:nvPr>
            <p:ph type="sldNum" sz="quarter" idx="12"/>
          </p:nvPr>
        </p:nvSpPr>
        <p:spPr/>
        <p:txBody>
          <a:bodyPr/>
          <a:lstStyle>
            <a:lvl1pPr>
              <a:defRPr/>
            </a:lvl1pPr>
          </a:lstStyle>
          <a:p>
            <a:fld id="{7EA49D63-1611-4FC0-9D23-B5849B292101}" type="slidenum">
              <a:rPr lang="en-US" altLang="ja-JP">
                <a:solidFill>
                  <a:prstClr val="black"/>
                </a:solidFill>
              </a:rPr>
              <a:pPr/>
              <a:t>‹#›</a:t>
            </a:fld>
            <a:endParaRPr lang="en-US" altLang="ja-JP">
              <a:solidFill>
                <a:prstClr val="black"/>
              </a:solidFill>
            </a:endParaRPr>
          </a:p>
        </p:txBody>
      </p:sp>
    </p:spTree>
    <p:extLst>
      <p:ext uri="{BB962C8B-B14F-4D97-AF65-F5344CB8AC3E}">
        <p14:creationId xmlns:p14="http://schemas.microsoft.com/office/powerpoint/2010/main" val="25516674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457200"/>
            <a:ext cx="3194050" cy="1600200"/>
          </a:xfrm>
        </p:spPr>
        <p:txBody>
          <a:bodyPr anchor="b"/>
          <a:lstStyle>
            <a:lvl1pPr>
              <a:defRPr sz="3200"/>
            </a:lvl1pPr>
          </a:lstStyle>
          <a:p>
            <a:r>
              <a:rPr lang="ja-JP" altLang="en-US"/>
              <a:t>マスター タイトルの書式設定</a:t>
            </a:r>
          </a:p>
        </p:txBody>
      </p:sp>
      <p:sp>
        <p:nvSpPr>
          <p:cNvPr id="3" name="コンテンツ プレースホルダー 2"/>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日付プレースホルダー 4"/>
          <p:cNvSpPr>
            <a:spLocks noGrp="1"/>
          </p:cNvSpPr>
          <p:nvPr>
            <p:ph type="dt" sz="half" idx="10"/>
          </p:nvPr>
        </p:nvSpPr>
        <p:spPr/>
        <p:txBody>
          <a:bodyPr/>
          <a:lstStyle>
            <a:lvl1pPr>
              <a:defRPr/>
            </a:lvl1pPr>
          </a:lstStyle>
          <a:p>
            <a:endParaRPr lang="en-US" altLang="ja-JP">
              <a:solidFill>
                <a:prstClr val="black"/>
              </a:solidFill>
            </a:endParaRPr>
          </a:p>
        </p:txBody>
      </p:sp>
      <p:sp>
        <p:nvSpPr>
          <p:cNvPr id="6" name="フッター プレースホルダー 5"/>
          <p:cNvSpPr>
            <a:spLocks noGrp="1"/>
          </p:cNvSpPr>
          <p:nvPr>
            <p:ph type="ftr" sz="quarter" idx="11"/>
          </p:nvPr>
        </p:nvSpPr>
        <p:spPr/>
        <p:txBody>
          <a:bodyPr/>
          <a:lstStyle>
            <a:lvl1pPr>
              <a:defRPr/>
            </a:lvl1pPr>
          </a:lstStyle>
          <a:p>
            <a:endParaRPr lang="en-US" altLang="ja-JP">
              <a:solidFill>
                <a:prstClr val="black"/>
              </a:solidFill>
            </a:endParaRPr>
          </a:p>
        </p:txBody>
      </p:sp>
      <p:sp>
        <p:nvSpPr>
          <p:cNvPr id="7" name="スライド番号プレースホルダー 6"/>
          <p:cNvSpPr>
            <a:spLocks noGrp="1"/>
          </p:cNvSpPr>
          <p:nvPr>
            <p:ph type="sldNum" sz="quarter" idx="12"/>
          </p:nvPr>
        </p:nvSpPr>
        <p:spPr/>
        <p:txBody>
          <a:bodyPr/>
          <a:lstStyle>
            <a:lvl1pPr>
              <a:defRPr/>
            </a:lvl1pPr>
          </a:lstStyle>
          <a:p>
            <a:fld id="{82EF2690-3EB0-4114-8594-B553770FA5D4}" type="slidenum">
              <a:rPr lang="en-US" altLang="ja-JP">
                <a:solidFill>
                  <a:prstClr val="black"/>
                </a:solidFill>
              </a:rPr>
              <a:pPr/>
              <a:t>‹#›</a:t>
            </a:fld>
            <a:endParaRPr lang="en-US" altLang="ja-JP">
              <a:solidFill>
                <a:prstClr val="black"/>
              </a:solidFill>
            </a:endParaRPr>
          </a:p>
        </p:txBody>
      </p:sp>
    </p:spTree>
    <p:extLst>
      <p:ext uri="{BB962C8B-B14F-4D97-AF65-F5344CB8AC3E}">
        <p14:creationId xmlns:p14="http://schemas.microsoft.com/office/powerpoint/2010/main" val="291348238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82625" y="457200"/>
            <a:ext cx="3194050" cy="1600200"/>
          </a:xfrm>
        </p:spPr>
        <p:txBody>
          <a:bodyPr anchor="b"/>
          <a:lstStyle>
            <a:lvl1pPr>
              <a:defRPr sz="3200"/>
            </a:lvl1pPr>
          </a:lstStyle>
          <a:p>
            <a:r>
              <a:rPr lang="ja-JP" altLang="en-US"/>
              <a:t>マスター タイトルの書式設定</a:t>
            </a:r>
          </a:p>
        </p:txBody>
      </p:sp>
      <p:sp>
        <p:nvSpPr>
          <p:cNvPr id="3" name="図プレースホルダー 2"/>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ja-JP" altLang="en-US"/>
          </a:p>
        </p:txBody>
      </p:sp>
      <p:sp>
        <p:nvSpPr>
          <p:cNvPr id="4" name="テキスト プレースホルダー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日付プレースホルダー 4"/>
          <p:cNvSpPr>
            <a:spLocks noGrp="1"/>
          </p:cNvSpPr>
          <p:nvPr>
            <p:ph type="dt" sz="half" idx="10"/>
          </p:nvPr>
        </p:nvSpPr>
        <p:spPr/>
        <p:txBody>
          <a:bodyPr/>
          <a:lstStyle>
            <a:lvl1pPr>
              <a:defRPr/>
            </a:lvl1pPr>
          </a:lstStyle>
          <a:p>
            <a:endParaRPr lang="en-US" altLang="ja-JP">
              <a:solidFill>
                <a:prstClr val="black"/>
              </a:solidFill>
            </a:endParaRPr>
          </a:p>
        </p:txBody>
      </p:sp>
      <p:sp>
        <p:nvSpPr>
          <p:cNvPr id="6" name="フッター プレースホルダー 5"/>
          <p:cNvSpPr>
            <a:spLocks noGrp="1"/>
          </p:cNvSpPr>
          <p:nvPr>
            <p:ph type="ftr" sz="quarter" idx="11"/>
          </p:nvPr>
        </p:nvSpPr>
        <p:spPr/>
        <p:txBody>
          <a:bodyPr/>
          <a:lstStyle>
            <a:lvl1pPr>
              <a:defRPr/>
            </a:lvl1pPr>
          </a:lstStyle>
          <a:p>
            <a:endParaRPr lang="en-US" altLang="ja-JP">
              <a:solidFill>
                <a:prstClr val="black"/>
              </a:solidFill>
            </a:endParaRPr>
          </a:p>
        </p:txBody>
      </p:sp>
      <p:sp>
        <p:nvSpPr>
          <p:cNvPr id="7" name="スライド番号プレースホルダー 6"/>
          <p:cNvSpPr>
            <a:spLocks noGrp="1"/>
          </p:cNvSpPr>
          <p:nvPr>
            <p:ph type="sldNum" sz="quarter" idx="12"/>
          </p:nvPr>
        </p:nvSpPr>
        <p:spPr/>
        <p:txBody>
          <a:bodyPr/>
          <a:lstStyle>
            <a:lvl1pPr>
              <a:defRPr/>
            </a:lvl1pPr>
          </a:lstStyle>
          <a:p>
            <a:fld id="{B5EC636B-60FC-4835-9147-3BEE549E2529}" type="slidenum">
              <a:rPr lang="en-US" altLang="ja-JP">
                <a:solidFill>
                  <a:prstClr val="black"/>
                </a:solidFill>
              </a:rPr>
              <a:pPr/>
              <a:t>‹#›</a:t>
            </a:fld>
            <a:endParaRPr lang="en-US" altLang="ja-JP">
              <a:solidFill>
                <a:prstClr val="black"/>
              </a:solidFill>
            </a:endParaRPr>
          </a:p>
        </p:txBody>
      </p:sp>
    </p:spTree>
    <p:extLst>
      <p:ext uri="{BB962C8B-B14F-4D97-AF65-F5344CB8AC3E}">
        <p14:creationId xmlns:p14="http://schemas.microsoft.com/office/powerpoint/2010/main" val="197188224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endParaRPr lang="en-US" altLang="ja-JP">
              <a:solidFill>
                <a:prstClr val="black"/>
              </a:solidFill>
            </a:endParaRPr>
          </a:p>
        </p:txBody>
      </p:sp>
      <p:sp>
        <p:nvSpPr>
          <p:cNvPr id="5" name="フッター プレースホルダー 4"/>
          <p:cNvSpPr>
            <a:spLocks noGrp="1"/>
          </p:cNvSpPr>
          <p:nvPr>
            <p:ph type="ftr" sz="quarter" idx="11"/>
          </p:nvPr>
        </p:nvSpPr>
        <p:spPr/>
        <p:txBody>
          <a:bodyPr/>
          <a:lstStyle>
            <a:lvl1pPr>
              <a:defRPr/>
            </a:lvl1pPr>
          </a:lstStyle>
          <a:p>
            <a:endParaRPr lang="en-US" altLang="ja-JP">
              <a:solidFill>
                <a:prstClr val="black"/>
              </a:solidFill>
            </a:endParaRPr>
          </a:p>
        </p:txBody>
      </p:sp>
      <p:sp>
        <p:nvSpPr>
          <p:cNvPr id="6" name="スライド番号プレースホルダー 5"/>
          <p:cNvSpPr>
            <a:spLocks noGrp="1"/>
          </p:cNvSpPr>
          <p:nvPr>
            <p:ph type="sldNum" sz="quarter" idx="12"/>
          </p:nvPr>
        </p:nvSpPr>
        <p:spPr/>
        <p:txBody>
          <a:bodyPr/>
          <a:lstStyle>
            <a:lvl1pPr>
              <a:defRPr/>
            </a:lvl1pPr>
          </a:lstStyle>
          <a:p>
            <a:fld id="{61729875-5DC0-4650-A67E-3F78B67FCDB9}" type="slidenum">
              <a:rPr lang="en-US" altLang="ja-JP">
                <a:solidFill>
                  <a:prstClr val="black"/>
                </a:solidFill>
              </a:rPr>
              <a:pPr/>
              <a:t>‹#›</a:t>
            </a:fld>
            <a:endParaRPr lang="en-US" altLang="ja-JP">
              <a:solidFill>
                <a:prstClr val="black"/>
              </a:solidFill>
            </a:endParaRPr>
          </a:p>
        </p:txBody>
      </p:sp>
    </p:spTree>
    <p:extLst>
      <p:ext uri="{BB962C8B-B14F-4D97-AF65-F5344CB8AC3E}">
        <p14:creationId xmlns:p14="http://schemas.microsoft.com/office/powerpoint/2010/main" val="17019781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58025" y="0"/>
            <a:ext cx="2352675" cy="612616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0" y="0"/>
            <a:ext cx="6905625" cy="612616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endParaRPr lang="en-US" altLang="ja-JP">
              <a:solidFill>
                <a:prstClr val="black"/>
              </a:solidFill>
            </a:endParaRPr>
          </a:p>
        </p:txBody>
      </p:sp>
      <p:sp>
        <p:nvSpPr>
          <p:cNvPr id="5" name="フッター プレースホルダー 4"/>
          <p:cNvSpPr>
            <a:spLocks noGrp="1"/>
          </p:cNvSpPr>
          <p:nvPr>
            <p:ph type="ftr" sz="quarter" idx="11"/>
          </p:nvPr>
        </p:nvSpPr>
        <p:spPr/>
        <p:txBody>
          <a:bodyPr/>
          <a:lstStyle>
            <a:lvl1pPr>
              <a:defRPr/>
            </a:lvl1pPr>
          </a:lstStyle>
          <a:p>
            <a:endParaRPr lang="en-US" altLang="ja-JP">
              <a:solidFill>
                <a:prstClr val="black"/>
              </a:solidFill>
            </a:endParaRPr>
          </a:p>
        </p:txBody>
      </p:sp>
      <p:sp>
        <p:nvSpPr>
          <p:cNvPr id="6" name="スライド番号プレースホルダー 5"/>
          <p:cNvSpPr>
            <a:spLocks noGrp="1"/>
          </p:cNvSpPr>
          <p:nvPr>
            <p:ph type="sldNum" sz="quarter" idx="12"/>
          </p:nvPr>
        </p:nvSpPr>
        <p:spPr/>
        <p:txBody>
          <a:bodyPr/>
          <a:lstStyle>
            <a:lvl1pPr>
              <a:defRPr/>
            </a:lvl1pPr>
          </a:lstStyle>
          <a:p>
            <a:fld id="{C5748466-B60D-4191-9E1A-AE2C1280F7E1}" type="slidenum">
              <a:rPr lang="en-US" altLang="ja-JP">
                <a:solidFill>
                  <a:prstClr val="black"/>
                </a:solidFill>
              </a:rPr>
              <a:pPr/>
              <a:t>‹#›</a:t>
            </a:fld>
            <a:endParaRPr lang="en-US" altLang="ja-JP">
              <a:solidFill>
                <a:prstClr val="black"/>
              </a:solidFill>
            </a:endParaRPr>
          </a:p>
        </p:txBody>
      </p:sp>
    </p:spTree>
    <p:extLst>
      <p:ext uri="{BB962C8B-B14F-4D97-AF65-F5344CB8AC3E}">
        <p14:creationId xmlns:p14="http://schemas.microsoft.com/office/powerpoint/2010/main" val="35916385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wo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p:txBody>
          <a:bodyPr/>
          <a:lstStyle>
            <a:lvl1pPr>
              <a:defRPr/>
            </a:lvl1pPr>
          </a:lstStyle>
          <a:p>
            <a:r>
              <a:rPr lang="en-US" dirty="0"/>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95300" y="1325881"/>
            <a:ext cx="8915400"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dirty="0"/>
              <a:t>[Optional slide subtitle]</a:t>
            </a:r>
          </a:p>
        </p:txBody>
      </p:sp>
      <p:sp>
        <p:nvSpPr>
          <p:cNvPr id="3" name="Content Placeholder 1"/>
          <p:cNvSpPr>
            <a:spLocks noGrp="1"/>
          </p:cNvSpPr>
          <p:nvPr>
            <p:ph sz="half" idx="1"/>
          </p:nvPr>
        </p:nvSpPr>
        <p:spPr>
          <a:xfrm>
            <a:off x="495301" y="1733550"/>
            <a:ext cx="4309798"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Content Placeholder 2"/>
          <p:cNvSpPr>
            <a:spLocks noGrp="1"/>
          </p:cNvSpPr>
          <p:nvPr>
            <p:ph sz="half" idx="2"/>
          </p:nvPr>
        </p:nvSpPr>
        <p:spPr>
          <a:xfrm>
            <a:off x="5100905" y="1733550"/>
            <a:ext cx="4309796"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dirty="0">
              <a:ln>
                <a:noFill/>
              </a:ln>
              <a:solidFill>
                <a:prstClr val="black"/>
              </a:solidFill>
              <a:effectLst/>
              <a:uLnTx/>
              <a:uFillTx/>
              <a:latin typeface="+mn-lt"/>
              <a:ea typeface="+mn-ea"/>
              <a:cs typeface="+mn-cs"/>
            </a:endParaRPr>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dirty="0"/>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476500" y="6439216"/>
            <a:ext cx="4953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dirty="0"/>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dirty="0"/>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3283039487"/>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4" name="Picture 20" descr="ppjtit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6076950"/>
            <a:ext cx="992187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4"/>
          <p:cNvSpPr>
            <a:spLocks noChangeArrowheads="1"/>
          </p:cNvSpPr>
          <p:nvPr userDrawn="1"/>
        </p:nvSpPr>
        <p:spPr bwMode="auto">
          <a:xfrm>
            <a:off x="1833563" y="3284544"/>
            <a:ext cx="8072437" cy="7302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31747" name="Rectangle 3"/>
          <p:cNvSpPr>
            <a:spLocks noGrp="1" noChangeArrowheads="1"/>
          </p:cNvSpPr>
          <p:nvPr>
            <p:ph type="ctrTitle"/>
          </p:nvPr>
        </p:nvSpPr>
        <p:spPr>
          <a:xfrm>
            <a:off x="1784351" y="2133608"/>
            <a:ext cx="8121650" cy="1470025"/>
          </a:xfrm>
        </p:spPr>
        <p:txBody>
          <a:bodyPr/>
          <a:lstStyle>
            <a:lvl1pPr>
              <a:defRPr sz="3408"/>
            </a:lvl1pPr>
          </a:lstStyle>
          <a:p>
            <a:r>
              <a:rPr lang="ja-JP" altLang="en-US"/>
              <a:t>マスタ タイトルの書式設定</a:t>
            </a:r>
          </a:p>
        </p:txBody>
      </p:sp>
      <p:sp>
        <p:nvSpPr>
          <p:cNvPr id="31748"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国土交通省　観光庁</a:t>
            </a:r>
          </a:p>
          <a:p>
            <a:r>
              <a:rPr lang="ja-JP" altLang="en-US"/>
              <a:t>○○課</a:t>
            </a:r>
          </a:p>
          <a:p>
            <a:r>
              <a:rPr lang="ja-JP" altLang="en-US"/>
              <a:t>平成○○年○○月</a:t>
            </a:r>
          </a:p>
        </p:txBody>
      </p:sp>
      <p:sp>
        <p:nvSpPr>
          <p:cNvPr id="6" name="Rectangle 5"/>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7" name="Rectangle 6"/>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8" name="Rectangle 7"/>
          <p:cNvSpPr>
            <a:spLocks noGrp="1" noChangeArrowheads="1"/>
          </p:cNvSpPr>
          <p:nvPr>
            <p:ph type="sldNum" sz="quarter" idx="12"/>
          </p:nvPr>
        </p:nvSpPr>
        <p:spPr>
          <a:xfrm>
            <a:off x="7099300" y="6245225"/>
            <a:ext cx="2311400" cy="476250"/>
          </a:xfrm>
        </p:spPr>
        <p:txBody>
          <a:bodyPr/>
          <a:lstStyle>
            <a:lvl1pPr fontAlgn="auto">
              <a:spcBef>
                <a:spcPts val="0"/>
              </a:spcBef>
              <a:spcAft>
                <a:spcPts val="0"/>
              </a:spcAft>
              <a:defRPr/>
            </a:lvl1pPr>
          </a:lstStyle>
          <a:p>
            <a:pPr>
              <a:defRPr/>
            </a:pPr>
            <a:fld id="{2EEA7C7B-6C38-4BDA-B6DD-FAA96FBB8521}" type="slidenum">
              <a:rPr lang="en-US" altLang="ja-JP"/>
              <a:pPr>
                <a:defRPr/>
              </a:pPr>
              <a:t>‹#›</a:t>
            </a:fld>
            <a:endParaRPr lang="en-US" altLang="ja-JP"/>
          </a:p>
        </p:txBody>
      </p:sp>
    </p:spTree>
    <p:extLst>
      <p:ext uri="{BB962C8B-B14F-4D97-AF65-F5344CB8AC3E}">
        <p14:creationId xmlns:p14="http://schemas.microsoft.com/office/powerpoint/2010/main" val="11201265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5127389A-C3DF-3347-BE4D-69D534F0B90C}"/>
              </a:ext>
            </a:extLst>
          </p:cNvPr>
          <p:cNvSpPr>
            <a:spLocks noGrp="1"/>
          </p:cNvSpPr>
          <p:nvPr>
            <p:ph type="title" hasCustomPrompt="1"/>
          </p:nvPr>
        </p:nvSpPr>
        <p:spPr/>
        <p:txBody>
          <a:bodyPr/>
          <a:lstStyle>
            <a:lvl1pPr>
              <a:defRPr/>
            </a:lvl1pPr>
          </a:lstStyle>
          <a:p>
            <a:r>
              <a:rPr lang="en-US" dirty="0"/>
              <a:t>[Slide title]</a:t>
            </a:r>
          </a:p>
        </p:txBody>
      </p:sp>
      <p:sp>
        <p:nvSpPr>
          <p:cNvPr id="10" name="Subtitle">
            <a:extLst>
              <a:ext uri="{FF2B5EF4-FFF2-40B4-BE49-F238E27FC236}">
                <a16:creationId xmlns:a16="http://schemas.microsoft.com/office/drawing/2014/main" id="{D99FC200-8318-B648-A0D5-0D72DB4D6533}"/>
              </a:ext>
            </a:extLst>
          </p:cNvPr>
          <p:cNvSpPr>
            <a:spLocks noGrp="1"/>
          </p:cNvSpPr>
          <p:nvPr>
            <p:ph type="subTitle" idx="13" hasCustomPrompt="1"/>
          </p:nvPr>
        </p:nvSpPr>
        <p:spPr>
          <a:xfrm>
            <a:off x="495300" y="1325881"/>
            <a:ext cx="8915401"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dirty="0"/>
              <a:t>[Optional slide subtitle]</a:t>
            </a:r>
          </a:p>
        </p:txBody>
      </p:sp>
      <p:sp>
        <p:nvSpPr>
          <p:cNvPr id="3" name="Content Placeholder 1"/>
          <p:cNvSpPr>
            <a:spLocks noGrp="1"/>
          </p:cNvSpPr>
          <p:nvPr>
            <p:ph idx="1"/>
          </p:nvPr>
        </p:nvSpPr>
        <p:spPr>
          <a:xfrm>
            <a:off x="495298" y="1733550"/>
            <a:ext cx="8915402" cy="4484370"/>
          </a:xfrm>
        </p:spPr>
        <p:txBody>
          <a:bodyPr/>
          <a:lstStyle>
            <a:lvl1pPr marL="179388" marR="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lvl1pPr>
            <a:lvl2pPr marL="378000" marR="0" indent="-1800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lvl2pPr>
            <a:lvl3pPr marL="55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3pPr>
            <a:lvl4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4pPr>
            <a:lvl5pPr marL="738000" marR="0" indent="-1793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lvl5pPr>
          </a:lstStyle>
          <a:p>
            <a:pPr marL="179388" marR="0" lvl="0"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マスター テキストの書式設定</a:t>
            </a:r>
          </a:p>
          <a:p>
            <a:pPr marL="179388" marR="0" lvl="1"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2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2"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3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3"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4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p>
          <a:p>
            <a:pPr marL="179388" marR="0" lvl="4" indent="-179388" algn="l" defTabSz="914400" rtl="0" eaLnBrk="1" fontAlgn="auto" latinLnBrk="0" hangingPunct="1">
              <a:lnSpc>
                <a:spcPct val="90000"/>
              </a:lnSpc>
              <a:spcBef>
                <a:spcPts val="12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prstClr val="black"/>
                </a:solidFill>
                <a:effectLst/>
                <a:uLnTx/>
                <a:uFillTx/>
                <a:latin typeface="+mn-lt"/>
                <a:ea typeface="+mn-ea"/>
                <a:cs typeface="+mn-cs"/>
              </a:rPr>
              <a:t>第 </a:t>
            </a:r>
            <a:r>
              <a:rPr kumimoji="1" lang="en-US" altLang="ja-JP" sz="1600" b="0" i="0" u="none" strike="noStrike" kern="1200" cap="none" spc="0" normalizeH="0" baseline="0" noProof="0">
                <a:ln>
                  <a:noFill/>
                </a:ln>
                <a:solidFill>
                  <a:prstClr val="black"/>
                </a:solidFill>
                <a:effectLst/>
                <a:uLnTx/>
                <a:uFillTx/>
                <a:latin typeface="+mn-lt"/>
                <a:ea typeface="+mn-ea"/>
                <a:cs typeface="+mn-cs"/>
              </a:rPr>
              <a:t>5 </a:t>
            </a:r>
            <a:r>
              <a:rPr kumimoji="1" lang="ja-JP" altLang="en-US" sz="1600" b="0" i="0" u="none" strike="noStrike" kern="1200" cap="none" spc="0" normalizeH="0" baseline="0" noProof="0">
                <a:ln>
                  <a:noFill/>
                </a:ln>
                <a:solidFill>
                  <a:prstClr val="black"/>
                </a:solidFill>
                <a:effectLst/>
                <a:uLnTx/>
                <a:uFillTx/>
                <a:latin typeface="+mn-lt"/>
                <a:ea typeface="+mn-ea"/>
                <a:cs typeface="+mn-cs"/>
              </a:rPr>
              <a:t>レベル</a:t>
            </a:r>
            <a:endParaRPr kumimoji="1" lang="en-US" altLang="ja-JP" sz="16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Footer Placeholder">
            <a:extLst>
              <a:ext uri="{FF2B5EF4-FFF2-40B4-BE49-F238E27FC236}">
                <a16:creationId xmlns:a16="http://schemas.microsoft.com/office/drawing/2014/main" id="{9CBF34F6-C56F-A645-B612-033F76243BD3}"/>
              </a:ext>
            </a:extLst>
          </p:cNvPr>
          <p:cNvSpPr>
            <a:spLocks noGrp="1"/>
          </p:cNvSpPr>
          <p:nvPr>
            <p:ph type="ftr" sz="quarter" idx="15"/>
          </p:nvPr>
        </p:nvSpPr>
        <p:spPr/>
        <p:txBody>
          <a:bodyPr/>
          <a:lstStyle/>
          <a:p>
            <a:endParaRPr lang="en-US" dirty="0"/>
          </a:p>
        </p:txBody>
      </p:sp>
      <p:sp>
        <p:nvSpPr>
          <p:cNvPr id="9" name="Footnotes">
            <a:extLst>
              <a:ext uri="{FF2B5EF4-FFF2-40B4-BE49-F238E27FC236}">
                <a16:creationId xmlns:a16="http://schemas.microsoft.com/office/drawing/2014/main" id="{FEB2C45C-E16E-4E28-BA4C-90354A51C219}"/>
              </a:ext>
            </a:extLst>
          </p:cNvPr>
          <p:cNvSpPr>
            <a:spLocks noGrp="1"/>
          </p:cNvSpPr>
          <p:nvPr>
            <p:ph type="body" sz="quarter" idx="17" hasCustomPrompt="1"/>
          </p:nvPr>
        </p:nvSpPr>
        <p:spPr>
          <a:xfrm>
            <a:off x="2476500" y="6355077"/>
            <a:ext cx="4953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ltLang="ja-JP" dirty="0"/>
              <a:t>[Optional footnotes/references]</a:t>
            </a:r>
          </a:p>
        </p:txBody>
      </p:sp>
      <p:sp>
        <p:nvSpPr>
          <p:cNvPr id="4" name="Date Placeholder">
            <a:extLst>
              <a:ext uri="{FF2B5EF4-FFF2-40B4-BE49-F238E27FC236}">
                <a16:creationId xmlns:a16="http://schemas.microsoft.com/office/drawing/2014/main" id="{124EBE94-9222-404D-8CB9-BB29235737BE}"/>
              </a:ext>
            </a:extLst>
          </p:cNvPr>
          <p:cNvSpPr>
            <a:spLocks noGrp="1"/>
          </p:cNvSpPr>
          <p:nvPr>
            <p:ph type="dt" sz="half" idx="14"/>
          </p:nvPr>
        </p:nvSpPr>
        <p:spPr/>
        <p:txBody>
          <a:bodyPr/>
          <a:lstStyle/>
          <a:p>
            <a:endParaRPr lang="en-US" dirty="0"/>
          </a:p>
        </p:txBody>
      </p:sp>
      <p:sp>
        <p:nvSpPr>
          <p:cNvPr id="6" name="Slide Number Placeholder">
            <a:extLst>
              <a:ext uri="{FF2B5EF4-FFF2-40B4-BE49-F238E27FC236}">
                <a16:creationId xmlns:a16="http://schemas.microsoft.com/office/drawing/2014/main" id="{46487925-D163-ED40-A98A-BC1B011B4BBD}"/>
              </a:ext>
            </a:extLst>
          </p:cNvPr>
          <p:cNvSpPr>
            <a:spLocks noGrp="1"/>
          </p:cNvSpPr>
          <p:nvPr>
            <p:ph type="sldNum" sz="quarter" idx="16"/>
          </p:nvPr>
        </p:nvSpPr>
        <p:spPr/>
        <p:txBody>
          <a:bodyPr/>
          <a:lstStyle/>
          <a:p>
            <a:fld id="{7870704B-CE94-48CC-AF30-84932A1262A7}" type="slidenum">
              <a:rPr lang="en-GB" smtClean="0"/>
              <a:pPr/>
              <a:t>‹#›</a:t>
            </a:fld>
            <a:endParaRPr lang="en-GB" dirty="0"/>
          </a:p>
        </p:txBody>
      </p:sp>
    </p:spTree>
    <p:extLst>
      <p:ext uri="{BB962C8B-B14F-4D97-AF65-F5344CB8AC3E}">
        <p14:creationId xmlns:p14="http://schemas.microsoft.com/office/powerpoint/2010/main" val="1441660760"/>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pSp>
        <p:nvGrpSpPr>
          <p:cNvPr id="94" name="グループ化 93">
            <a:extLst>
              <a:ext uri="{FF2B5EF4-FFF2-40B4-BE49-F238E27FC236}">
                <a16:creationId xmlns:a16="http://schemas.microsoft.com/office/drawing/2014/main" id="{0280A5C7-FE2E-4B04-A017-C4BB0C1B19C1}"/>
              </a:ext>
            </a:extLst>
          </p:cNvPr>
          <p:cNvGrpSpPr>
            <a:grpSpLocks noChangeAspect="1"/>
          </p:cNvGrpSpPr>
          <p:nvPr userDrawn="1"/>
        </p:nvGrpSpPr>
        <p:grpSpPr>
          <a:xfrm>
            <a:off x="251520" y="6076961"/>
            <a:ext cx="1395847" cy="418881"/>
            <a:chOff x="4624168" y="4098236"/>
            <a:chExt cx="2957141" cy="819150"/>
          </a:xfrm>
        </p:grpSpPr>
        <p:sp>
          <p:nvSpPr>
            <p:cNvPr id="95" name="フリーフォーム: 図形 8">
              <a:extLst>
                <a:ext uri="{FF2B5EF4-FFF2-40B4-BE49-F238E27FC236}">
                  <a16:creationId xmlns:a16="http://schemas.microsoft.com/office/drawing/2014/main" id="{1F6321C8-C2FC-4820-9A28-48176C15E2E5}"/>
                </a:ext>
              </a:extLst>
            </p:cNvPr>
            <p:cNvSpPr/>
            <p:nvPr/>
          </p:nvSpPr>
          <p:spPr>
            <a:xfrm>
              <a:off x="4624168" y="4098236"/>
              <a:ext cx="971550"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a:p>
          </p:txBody>
        </p:sp>
        <p:sp>
          <p:nvSpPr>
            <p:cNvPr id="96" name="フリーフォーム: 図形 9">
              <a:extLst>
                <a:ext uri="{FF2B5EF4-FFF2-40B4-BE49-F238E27FC236}">
                  <a16:creationId xmlns:a16="http://schemas.microsoft.com/office/drawing/2014/main" id="{81028ECA-7401-42FF-B799-D9BD87FF458D}"/>
                </a:ext>
              </a:extLst>
            </p:cNvPr>
            <p:cNvSpPr/>
            <p:nvPr/>
          </p:nvSpPr>
          <p:spPr>
            <a:xfrm>
              <a:off x="7190784" y="4524946"/>
              <a:ext cx="390525" cy="352425"/>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a:p>
          </p:txBody>
        </p:sp>
        <p:sp>
          <p:nvSpPr>
            <p:cNvPr id="97" name="フリーフォーム: 図形 10">
              <a:extLst>
                <a:ext uri="{FF2B5EF4-FFF2-40B4-BE49-F238E27FC236}">
                  <a16:creationId xmlns:a16="http://schemas.microsoft.com/office/drawing/2014/main" id="{030837EC-B751-46EF-B705-459CE2D2F44E}"/>
                </a:ext>
              </a:extLst>
            </p:cNvPr>
            <p:cNvSpPr/>
            <p:nvPr/>
          </p:nvSpPr>
          <p:spPr>
            <a:xfrm>
              <a:off x="7103392" y="4363774"/>
              <a:ext cx="476250" cy="514350"/>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a:p>
          </p:txBody>
        </p:sp>
        <p:sp>
          <p:nvSpPr>
            <p:cNvPr id="98" name="フリーフォーム: 図形 11">
              <a:extLst>
                <a:ext uri="{FF2B5EF4-FFF2-40B4-BE49-F238E27FC236}">
                  <a16:creationId xmlns:a16="http://schemas.microsoft.com/office/drawing/2014/main" id="{910A8F01-833E-4649-A3AD-F2A5CA1B7357}"/>
                </a:ext>
              </a:extLst>
            </p:cNvPr>
            <p:cNvSpPr/>
            <p:nvPr/>
          </p:nvSpPr>
          <p:spPr>
            <a:xfrm>
              <a:off x="6484267" y="4397940"/>
              <a:ext cx="476250" cy="476250"/>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a:p>
          </p:txBody>
        </p:sp>
        <p:sp>
          <p:nvSpPr>
            <p:cNvPr id="99" name="フリーフォーム: 図形 12">
              <a:extLst>
                <a:ext uri="{FF2B5EF4-FFF2-40B4-BE49-F238E27FC236}">
                  <a16:creationId xmlns:a16="http://schemas.microsoft.com/office/drawing/2014/main" id="{D82D9FCF-1CB5-45F2-9B69-F995CF72F425}"/>
                </a:ext>
              </a:extLst>
            </p:cNvPr>
            <p:cNvSpPr/>
            <p:nvPr/>
          </p:nvSpPr>
          <p:spPr>
            <a:xfrm>
              <a:off x="6793496" y="4397940"/>
              <a:ext cx="142875"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a:p>
          </p:txBody>
        </p:sp>
        <p:sp>
          <p:nvSpPr>
            <p:cNvPr id="100" name="フリーフォーム: 図形 13">
              <a:extLst>
                <a:ext uri="{FF2B5EF4-FFF2-40B4-BE49-F238E27FC236}">
                  <a16:creationId xmlns:a16="http://schemas.microsoft.com/office/drawing/2014/main" id="{BA7F4ADC-2F43-4472-9DB8-F9789A28A9B0}"/>
                </a:ext>
              </a:extLst>
            </p:cNvPr>
            <p:cNvSpPr/>
            <p:nvPr/>
          </p:nvSpPr>
          <p:spPr>
            <a:xfrm>
              <a:off x="6513375" y="4397940"/>
              <a:ext cx="142875"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a:p>
          </p:txBody>
        </p:sp>
        <p:sp>
          <p:nvSpPr>
            <p:cNvPr id="101" name="フリーフォーム: 図形 14">
              <a:extLst>
                <a:ext uri="{FF2B5EF4-FFF2-40B4-BE49-F238E27FC236}">
                  <a16:creationId xmlns:a16="http://schemas.microsoft.com/office/drawing/2014/main" id="{5040B39F-D152-4517-B17D-5AAACA5F6436}"/>
                </a:ext>
              </a:extLst>
            </p:cNvPr>
            <p:cNvSpPr/>
            <p:nvPr/>
          </p:nvSpPr>
          <p:spPr>
            <a:xfrm>
              <a:off x="6150387" y="4397940"/>
              <a:ext cx="219075" cy="476250"/>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a:p>
          </p:txBody>
        </p:sp>
        <p:sp>
          <p:nvSpPr>
            <p:cNvPr id="102" name="フリーフォーム: 図形 15">
              <a:extLst>
                <a:ext uri="{FF2B5EF4-FFF2-40B4-BE49-F238E27FC236}">
                  <a16:creationId xmlns:a16="http://schemas.microsoft.com/office/drawing/2014/main" id="{B3F451FB-EA75-4241-BD27-E1820141DC9A}"/>
                </a:ext>
              </a:extLst>
            </p:cNvPr>
            <p:cNvSpPr/>
            <p:nvPr/>
          </p:nvSpPr>
          <p:spPr>
            <a:xfrm>
              <a:off x="5863313" y="4363783"/>
              <a:ext cx="285750" cy="514350"/>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a:p>
          </p:txBody>
        </p:sp>
        <p:sp>
          <p:nvSpPr>
            <p:cNvPr id="103" name="フリーフォーム: 図形 16">
              <a:extLst>
                <a:ext uri="{FF2B5EF4-FFF2-40B4-BE49-F238E27FC236}">
                  <a16:creationId xmlns:a16="http://schemas.microsoft.com/office/drawing/2014/main" id="{5392972C-FC9F-478F-8F94-E0EA4FE864ED}"/>
                </a:ext>
              </a:extLst>
            </p:cNvPr>
            <p:cNvSpPr/>
            <p:nvPr/>
          </p:nvSpPr>
          <p:spPr>
            <a:xfrm>
              <a:off x="5899880" y="4139269"/>
              <a:ext cx="190500" cy="200025"/>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a:p>
          </p:txBody>
        </p:sp>
        <p:sp>
          <p:nvSpPr>
            <p:cNvPr id="104" name="フリーフォーム: 図形 17">
              <a:extLst>
                <a:ext uri="{FF2B5EF4-FFF2-40B4-BE49-F238E27FC236}">
                  <a16:creationId xmlns:a16="http://schemas.microsoft.com/office/drawing/2014/main" id="{8DE71E10-5F0B-4738-90B9-3ACACE1D5E96}"/>
                </a:ext>
              </a:extLst>
            </p:cNvPr>
            <p:cNvSpPr/>
            <p:nvPr/>
          </p:nvSpPr>
          <p:spPr>
            <a:xfrm>
              <a:off x="6114792" y="4129592"/>
              <a:ext cx="200025" cy="200025"/>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a:p>
          </p:txBody>
        </p:sp>
        <p:sp>
          <p:nvSpPr>
            <p:cNvPr id="105" name="フリーフォーム: 図形 18">
              <a:extLst>
                <a:ext uri="{FF2B5EF4-FFF2-40B4-BE49-F238E27FC236}">
                  <a16:creationId xmlns:a16="http://schemas.microsoft.com/office/drawing/2014/main" id="{8C337C08-F0D1-498F-A0D4-88A96212E89D}"/>
                </a:ext>
              </a:extLst>
            </p:cNvPr>
            <p:cNvSpPr/>
            <p:nvPr/>
          </p:nvSpPr>
          <p:spPr>
            <a:xfrm>
              <a:off x="6335839" y="4129592"/>
              <a:ext cx="209550" cy="200025"/>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a:p>
          </p:txBody>
        </p:sp>
        <p:sp>
          <p:nvSpPr>
            <p:cNvPr id="106" name="フリーフォーム: 図形 19">
              <a:extLst>
                <a:ext uri="{FF2B5EF4-FFF2-40B4-BE49-F238E27FC236}">
                  <a16:creationId xmlns:a16="http://schemas.microsoft.com/office/drawing/2014/main" id="{EC29DAE7-3511-4594-BD83-8519AF4740D8}"/>
                </a:ext>
              </a:extLst>
            </p:cNvPr>
            <p:cNvSpPr/>
            <p:nvPr/>
          </p:nvSpPr>
          <p:spPr>
            <a:xfrm>
              <a:off x="6554514" y="4131697"/>
              <a:ext cx="209550" cy="200025"/>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a:p>
          </p:txBody>
        </p:sp>
        <p:sp>
          <p:nvSpPr>
            <p:cNvPr id="107" name="フリーフォーム: 図形 20">
              <a:extLst>
                <a:ext uri="{FF2B5EF4-FFF2-40B4-BE49-F238E27FC236}">
                  <a16:creationId xmlns:a16="http://schemas.microsoft.com/office/drawing/2014/main" id="{49B7022A-381B-4E9F-88E8-A8AAEB9E567E}"/>
                </a:ext>
              </a:extLst>
            </p:cNvPr>
            <p:cNvSpPr/>
            <p:nvPr/>
          </p:nvSpPr>
          <p:spPr>
            <a:xfrm>
              <a:off x="6776113" y="4130182"/>
              <a:ext cx="209550" cy="200025"/>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a:p>
          </p:txBody>
        </p:sp>
      </p:grpSp>
      <p:grpSp>
        <p:nvGrpSpPr>
          <p:cNvPr id="108" name="グループ化 107"/>
          <p:cNvGrpSpPr/>
          <p:nvPr userDrawn="1"/>
        </p:nvGrpSpPr>
        <p:grpSpPr>
          <a:xfrm>
            <a:off x="0" y="6589649"/>
            <a:ext cx="9906000" cy="270000"/>
            <a:chOff x="0" y="6589649"/>
            <a:chExt cx="10731500" cy="270000"/>
          </a:xfrm>
        </p:grpSpPr>
        <p:sp>
          <p:nvSpPr>
            <p:cNvPr id="109" name="正方形/長方形 108"/>
            <p:cNvSpPr/>
            <p:nvPr userDrawn="1"/>
          </p:nvSpPr>
          <p:spPr bwMode="auto">
            <a:xfrm>
              <a:off x="0" y="6589649"/>
              <a:ext cx="10731500" cy="270000"/>
            </a:xfrm>
            <a:prstGeom prst="rect">
              <a:avLst/>
            </a:prstGeom>
            <a:solidFill>
              <a:srgbClr val="FF0000"/>
            </a:solidFill>
            <a:ln>
              <a:noFill/>
            </a:ln>
            <a:effectLst/>
          </p:spPr>
          <p:txBody>
            <a:bodyPr vert="horz" wrap="none" lIns="91440" tIns="45720" rIns="91440" bIns="45720" numCol="1" rtlCol="0" anchor="ctr" anchorCtr="0" compatLnSpc="1">
              <a:prstTxWarp prst="textNoShape">
                <a:avLst/>
              </a:prstTxWarp>
            </a:bodyPr>
            <a:lstStyle/>
            <a:p>
              <a:pPr marL="0" marR="0" indent="0" algn="ctr" defTabSz="914418" rtl="0" eaLnBrk="1" fontAlgn="base" latinLnBrk="0" hangingPunct="1">
                <a:lnSpc>
                  <a:spcPct val="100000"/>
                </a:lnSpc>
                <a:spcBef>
                  <a:spcPct val="0"/>
                </a:spcBef>
                <a:spcAft>
                  <a:spcPct val="0"/>
                </a:spcAft>
                <a:buClrTx/>
                <a:buSzTx/>
                <a:buFontTx/>
                <a:buNone/>
                <a:tabLst/>
              </a:pPr>
              <a:endParaRPr kumimoji="1" lang="ja-JP" altLang="en-US" sz="1800" b="0" i="0" u="none" strike="noStrike" cap="none" normalizeH="0" baseline="0">
                <a:ln>
                  <a:noFill/>
                </a:ln>
                <a:solidFill>
                  <a:schemeClr val="tx1"/>
                </a:solidFill>
                <a:effectLst/>
                <a:latin typeface="Arial" panose="020B0604020202020204" pitchFamily="34" charset="0"/>
                <a:ea typeface="ＭＳ Ｐゴシック" panose="020B0600070205080204" pitchFamily="50" charset="-128"/>
              </a:endParaRPr>
            </a:p>
          </p:txBody>
        </p:sp>
        <p:grpSp>
          <p:nvGrpSpPr>
            <p:cNvPr id="110" name="グループ化 109"/>
            <p:cNvGrpSpPr/>
            <p:nvPr userDrawn="1"/>
          </p:nvGrpSpPr>
          <p:grpSpPr>
            <a:xfrm>
              <a:off x="918000" y="6624000"/>
              <a:ext cx="5180400" cy="150760"/>
              <a:chOff x="918000" y="6660000"/>
              <a:chExt cx="5180400" cy="150760"/>
            </a:xfrm>
          </p:grpSpPr>
          <p:grpSp>
            <p:nvGrpSpPr>
              <p:cNvPr id="111" name="グループ化 110"/>
              <p:cNvGrpSpPr>
                <a:grpSpLocks noChangeAspect="1"/>
              </p:cNvGrpSpPr>
              <p:nvPr userDrawn="1"/>
            </p:nvGrpSpPr>
            <p:grpSpPr>
              <a:xfrm>
                <a:off x="918000" y="6668107"/>
                <a:ext cx="1368000" cy="142653"/>
                <a:chOff x="416496" y="5492911"/>
                <a:chExt cx="3254892" cy="339414"/>
              </a:xfrm>
              <a:solidFill>
                <a:schemeClr val="bg1"/>
              </a:solidFill>
            </p:grpSpPr>
            <p:sp>
              <p:nvSpPr>
                <p:cNvPr id="162" name="フリーフォーム: 図形 6">
                  <a:extLst>
                    <a:ext uri="{FF2B5EF4-FFF2-40B4-BE49-F238E27FC236}">
                      <a16:creationId xmlns:a16="http://schemas.microsoft.com/office/drawing/2014/main" id="{BC8171A7-0408-4E26-B938-9C358473A14C}"/>
                    </a:ext>
                  </a:extLst>
                </p:cNvPr>
                <p:cNvSpPr/>
                <p:nvPr/>
              </p:nvSpPr>
              <p:spPr>
                <a:xfrm>
                  <a:off x="416496" y="5492921"/>
                  <a:ext cx="123825" cy="257175"/>
                </a:xfrm>
                <a:custGeom>
                  <a:avLst/>
                  <a:gdLst>
                    <a:gd name="connsiteX0" fmla="*/ 123939 w 123825"/>
                    <a:gd name="connsiteY0" fmla="*/ 178146 h 257175"/>
                    <a:gd name="connsiteX1" fmla="*/ 42120 w 123825"/>
                    <a:gd name="connsiteY1" fmla="*/ 257813 h 257175"/>
                    <a:gd name="connsiteX2" fmla="*/ 7144 w 123825"/>
                    <a:gd name="connsiteY2" fmla="*/ 253565 h 257175"/>
                    <a:gd name="connsiteX3" fmla="*/ 7144 w 123825"/>
                    <a:gd name="connsiteY3" fmla="*/ 219961 h 257175"/>
                    <a:gd name="connsiteX4" fmla="*/ 44253 w 123825"/>
                    <a:gd name="connsiteY4" fmla="*/ 228200 h 257175"/>
                    <a:gd name="connsiteX5" fmla="*/ 77133 w 123825"/>
                    <a:gd name="connsiteY5" fmla="*/ 182442 h 257175"/>
                    <a:gd name="connsiteX6" fmla="*/ 77133 w 123825"/>
                    <a:gd name="connsiteY6" fmla="*/ 7144 h 257175"/>
                    <a:gd name="connsiteX7" fmla="*/ 123930 w 123825"/>
                    <a:gd name="connsiteY7" fmla="*/ 7144 h 257175"/>
                    <a:gd name="connsiteX8" fmla="*/ 123930 w 123825"/>
                    <a:gd name="connsiteY8" fmla="*/ 17814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257175">
                      <a:moveTo>
                        <a:pt x="123939" y="178146"/>
                      </a:moveTo>
                      <a:cubicBezTo>
                        <a:pt x="123939" y="225295"/>
                        <a:pt x="113224" y="257813"/>
                        <a:pt x="42120" y="257813"/>
                      </a:cubicBezTo>
                      <a:cubicBezTo>
                        <a:pt x="26756" y="257813"/>
                        <a:pt x="15326" y="255299"/>
                        <a:pt x="7144" y="253565"/>
                      </a:cubicBezTo>
                      <a:lnTo>
                        <a:pt x="7144" y="219961"/>
                      </a:lnTo>
                      <a:cubicBezTo>
                        <a:pt x="11373" y="222104"/>
                        <a:pt x="26022" y="228200"/>
                        <a:pt x="44253" y="228200"/>
                      </a:cubicBezTo>
                      <a:cubicBezTo>
                        <a:pt x="72828" y="228200"/>
                        <a:pt x="77133" y="209255"/>
                        <a:pt x="77133" y="182442"/>
                      </a:cubicBezTo>
                      <a:lnTo>
                        <a:pt x="77133" y="7144"/>
                      </a:lnTo>
                      <a:lnTo>
                        <a:pt x="123930" y="7144"/>
                      </a:lnTo>
                      <a:lnTo>
                        <a:pt x="123930" y="178146"/>
                      </a:lnTo>
                      <a:close/>
                    </a:path>
                  </a:pathLst>
                </a:custGeom>
                <a:grpFill/>
                <a:ln w="9525" cap="flat">
                  <a:noFill/>
                  <a:prstDash val="solid"/>
                  <a:miter/>
                </a:ln>
              </p:spPr>
              <p:txBody>
                <a:bodyPr rtlCol="0" anchor="ctr"/>
                <a:lstStyle/>
                <a:p>
                  <a:endParaRPr lang="ja-JP" altLang="en-US"/>
                </a:p>
              </p:txBody>
            </p:sp>
            <p:sp>
              <p:nvSpPr>
                <p:cNvPr id="163" name="フリーフォーム: 図形 7">
                  <a:extLst>
                    <a:ext uri="{FF2B5EF4-FFF2-40B4-BE49-F238E27FC236}">
                      <a16:creationId xmlns:a16="http://schemas.microsoft.com/office/drawing/2014/main" id="{892EA301-045A-4D61-9543-193B5E030494}"/>
                    </a:ext>
                  </a:extLst>
                </p:cNvPr>
                <p:cNvSpPr/>
                <p:nvPr/>
              </p:nvSpPr>
              <p:spPr>
                <a:xfrm>
                  <a:off x="567591" y="5565644"/>
                  <a:ext cx="152400" cy="190500"/>
                </a:xfrm>
                <a:custGeom>
                  <a:avLst/>
                  <a:gdLst>
                    <a:gd name="connsiteX0" fmla="*/ 103641 w 152400"/>
                    <a:gd name="connsiteY0" fmla="*/ 158667 h 190500"/>
                    <a:gd name="connsiteX1" fmla="*/ 102918 w 152400"/>
                    <a:gd name="connsiteY1" fmla="*/ 158667 h 190500"/>
                    <a:gd name="connsiteX2" fmla="*/ 54693 w 152400"/>
                    <a:gd name="connsiteY2" fmla="*/ 185080 h 190500"/>
                    <a:gd name="connsiteX3" fmla="*/ 7144 w 152400"/>
                    <a:gd name="connsiteY3" fmla="*/ 142608 h 190500"/>
                    <a:gd name="connsiteX4" fmla="*/ 103641 w 152400"/>
                    <a:gd name="connsiteY4" fmla="*/ 85735 h 190500"/>
                    <a:gd name="connsiteX5" fmla="*/ 103641 w 152400"/>
                    <a:gd name="connsiteY5" fmla="*/ 57188 h 190500"/>
                    <a:gd name="connsiteX6" fmla="*/ 82210 w 152400"/>
                    <a:gd name="connsiteY6" fmla="*/ 23946 h 190500"/>
                    <a:gd name="connsiteX7" fmla="*/ 59331 w 152400"/>
                    <a:gd name="connsiteY7" fmla="*/ 61817 h 190500"/>
                    <a:gd name="connsiteX8" fmla="*/ 13211 w 152400"/>
                    <a:gd name="connsiteY8" fmla="*/ 61817 h 190500"/>
                    <a:gd name="connsiteX9" fmla="*/ 82544 w 152400"/>
                    <a:gd name="connsiteY9" fmla="*/ 7144 h 190500"/>
                    <a:gd name="connsiteX10" fmla="*/ 146856 w 152400"/>
                    <a:gd name="connsiteY10" fmla="*/ 66104 h 190500"/>
                    <a:gd name="connsiteX11" fmla="*/ 146856 w 152400"/>
                    <a:gd name="connsiteY11" fmla="*/ 181165 h 190500"/>
                    <a:gd name="connsiteX12" fmla="*/ 103641 w 152400"/>
                    <a:gd name="connsiteY12" fmla="*/ 181165 h 190500"/>
                    <a:gd name="connsiteX13" fmla="*/ 103641 w 152400"/>
                    <a:gd name="connsiteY13" fmla="*/ 158667 h 190500"/>
                    <a:gd name="connsiteX14" fmla="*/ 103641 w 152400"/>
                    <a:gd name="connsiteY14" fmla="*/ 102565 h 190500"/>
                    <a:gd name="connsiteX15" fmla="*/ 51825 w 152400"/>
                    <a:gd name="connsiteY15" fmla="*/ 136522 h 190500"/>
                    <a:gd name="connsiteX16" fmla="*/ 71485 w 152400"/>
                    <a:gd name="connsiteY16" fmla="*/ 160458 h 190500"/>
                    <a:gd name="connsiteX17" fmla="*/ 103641 w 152400"/>
                    <a:gd name="connsiteY17" fmla="*/ 115053 h 190500"/>
                    <a:gd name="connsiteX18" fmla="*/ 103641 w 152400"/>
                    <a:gd name="connsiteY18" fmla="*/ 1025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90500">
                      <a:moveTo>
                        <a:pt x="103641" y="158667"/>
                      </a:moveTo>
                      <a:lnTo>
                        <a:pt x="102918" y="158667"/>
                      </a:lnTo>
                      <a:cubicBezTo>
                        <a:pt x="98308" y="166878"/>
                        <a:pt x="81505" y="185080"/>
                        <a:pt x="54693" y="185080"/>
                      </a:cubicBezTo>
                      <a:cubicBezTo>
                        <a:pt x="27861" y="185080"/>
                        <a:pt x="7144" y="167230"/>
                        <a:pt x="7144" y="142608"/>
                      </a:cubicBezTo>
                      <a:cubicBezTo>
                        <a:pt x="7144" y="90049"/>
                        <a:pt x="79324" y="86878"/>
                        <a:pt x="103641" y="85735"/>
                      </a:cubicBezTo>
                      <a:lnTo>
                        <a:pt x="103641" y="57188"/>
                      </a:lnTo>
                      <a:cubicBezTo>
                        <a:pt x="103641" y="32166"/>
                        <a:pt x="96155" y="23946"/>
                        <a:pt x="82210" y="23946"/>
                      </a:cubicBezTo>
                      <a:cubicBezTo>
                        <a:pt x="59684" y="23946"/>
                        <a:pt x="60046" y="50740"/>
                        <a:pt x="59331" y="61817"/>
                      </a:cubicBezTo>
                      <a:lnTo>
                        <a:pt x="13211" y="61817"/>
                      </a:lnTo>
                      <a:cubicBezTo>
                        <a:pt x="13211" y="26118"/>
                        <a:pt x="37167" y="7144"/>
                        <a:pt x="82544" y="7144"/>
                      </a:cubicBezTo>
                      <a:cubicBezTo>
                        <a:pt x="136141" y="7144"/>
                        <a:pt x="146856" y="32176"/>
                        <a:pt x="146856" y="66104"/>
                      </a:cubicBezTo>
                      <a:lnTo>
                        <a:pt x="146856" y="181165"/>
                      </a:lnTo>
                      <a:lnTo>
                        <a:pt x="103641" y="181165"/>
                      </a:lnTo>
                      <a:lnTo>
                        <a:pt x="103641" y="158667"/>
                      </a:lnTo>
                      <a:close/>
                      <a:moveTo>
                        <a:pt x="103641" y="102565"/>
                      </a:moveTo>
                      <a:cubicBezTo>
                        <a:pt x="88963" y="103984"/>
                        <a:pt x="51825" y="108652"/>
                        <a:pt x="51825" y="136522"/>
                      </a:cubicBezTo>
                      <a:cubicBezTo>
                        <a:pt x="51825" y="150819"/>
                        <a:pt x="58988" y="160458"/>
                        <a:pt x="71485" y="160458"/>
                      </a:cubicBezTo>
                      <a:cubicBezTo>
                        <a:pt x="91840" y="160458"/>
                        <a:pt x="103641" y="138989"/>
                        <a:pt x="103641" y="115053"/>
                      </a:cubicBezTo>
                      <a:lnTo>
                        <a:pt x="103641" y="102565"/>
                      </a:lnTo>
                      <a:close/>
                    </a:path>
                  </a:pathLst>
                </a:custGeom>
                <a:grpFill/>
                <a:ln w="9525" cap="flat">
                  <a:noFill/>
                  <a:prstDash val="solid"/>
                  <a:miter/>
                </a:ln>
              </p:spPr>
              <p:txBody>
                <a:bodyPr rtlCol="0" anchor="ctr"/>
                <a:lstStyle/>
                <a:p>
                  <a:endParaRPr lang="ja-JP" altLang="en-US"/>
                </a:p>
              </p:txBody>
            </p:sp>
            <p:sp>
              <p:nvSpPr>
                <p:cNvPr id="164" name="フリーフォーム: 図形 22">
                  <a:extLst>
                    <a:ext uri="{FF2B5EF4-FFF2-40B4-BE49-F238E27FC236}">
                      <a16:creationId xmlns:a16="http://schemas.microsoft.com/office/drawing/2014/main" id="{3885D103-51D1-4292-A5FC-FFC51EA0D5F2}"/>
                    </a:ext>
                  </a:extLst>
                </p:cNvPr>
                <p:cNvSpPr/>
                <p:nvPr/>
              </p:nvSpPr>
              <p:spPr>
                <a:xfrm>
                  <a:off x="751271" y="5565635"/>
                  <a:ext cx="152400" cy="257175"/>
                </a:xfrm>
                <a:custGeom>
                  <a:avLst/>
                  <a:gdLst>
                    <a:gd name="connsiteX0" fmla="*/ 7144 w 152400"/>
                    <a:gd name="connsiteY0" fmla="*/ 11116 h 257175"/>
                    <a:gd name="connsiteX1" fmla="*/ 50387 w 152400"/>
                    <a:gd name="connsiteY1" fmla="*/ 11116 h 257175"/>
                    <a:gd name="connsiteX2" fmla="*/ 50387 w 152400"/>
                    <a:gd name="connsiteY2" fmla="*/ 39719 h 257175"/>
                    <a:gd name="connsiteX3" fmla="*/ 51102 w 152400"/>
                    <a:gd name="connsiteY3" fmla="*/ 39719 h 257175"/>
                    <a:gd name="connsiteX4" fmla="*/ 97203 w 152400"/>
                    <a:gd name="connsiteY4" fmla="*/ 7144 h 257175"/>
                    <a:gd name="connsiteX5" fmla="*/ 154010 w 152400"/>
                    <a:gd name="connsiteY5" fmla="*/ 95040 h 257175"/>
                    <a:gd name="connsiteX6" fmla="*/ 91840 w 152400"/>
                    <a:gd name="connsiteY6" fmla="*/ 185099 h 257175"/>
                    <a:gd name="connsiteX7" fmla="*/ 51111 w 152400"/>
                    <a:gd name="connsiteY7" fmla="*/ 158286 h 257175"/>
                    <a:gd name="connsiteX8" fmla="*/ 50397 w 152400"/>
                    <a:gd name="connsiteY8" fmla="*/ 158286 h 257175"/>
                    <a:gd name="connsiteX9" fmla="*/ 50397 w 152400"/>
                    <a:gd name="connsiteY9" fmla="*/ 257670 h 257175"/>
                    <a:gd name="connsiteX10" fmla="*/ 7153 w 152400"/>
                    <a:gd name="connsiteY10" fmla="*/ 257670 h 257175"/>
                    <a:gd name="connsiteX11" fmla="*/ 7153 w 152400"/>
                    <a:gd name="connsiteY11" fmla="*/ 11116 h 257175"/>
                    <a:gd name="connsiteX12" fmla="*/ 78972 w 152400"/>
                    <a:gd name="connsiteY12" fmla="*/ 160468 h 257175"/>
                    <a:gd name="connsiteX13" fmla="*/ 107213 w 152400"/>
                    <a:gd name="connsiteY13" fmla="*/ 95040 h 257175"/>
                    <a:gd name="connsiteX14" fmla="*/ 77895 w 152400"/>
                    <a:gd name="connsiteY14" fmla="*/ 33957 h 257175"/>
                    <a:gd name="connsiteX15" fmla="*/ 52502 w 152400"/>
                    <a:gd name="connsiteY15" fmla="*/ 95040 h 257175"/>
                    <a:gd name="connsiteX16" fmla="*/ 78972 w 152400"/>
                    <a:gd name="connsiteY16" fmla="*/ 16046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00" h="257175">
                      <a:moveTo>
                        <a:pt x="7144" y="11116"/>
                      </a:moveTo>
                      <a:lnTo>
                        <a:pt x="50387" y="11116"/>
                      </a:lnTo>
                      <a:lnTo>
                        <a:pt x="50387" y="39719"/>
                      </a:lnTo>
                      <a:lnTo>
                        <a:pt x="51102" y="39719"/>
                      </a:lnTo>
                      <a:cubicBezTo>
                        <a:pt x="56464" y="28918"/>
                        <a:pt x="69647" y="7144"/>
                        <a:pt x="97203" y="7144"/>
                      </a:cubicBezTo>
                      <a:cubicBezTo>
                        <a:pt x="139713" y="7144"/>
                        <a:pt x="154010" y="47187"/>
                        <a:pt x="154010" y="95040"/>
                      </a:cubicBezTo>
                      <a:cubicBezTo>
                        <a:pt x="154010" y="152267"/>
                        <a:pt x="135807" y="185099"/>
                        <a:pt x="91840" y="185099"/>
                      </a:cubicBezTo>
                      <a:cubicBezTo>
                        <a:pt x="65046" y="185099"/>
                        <a:pt x="56093" y="168335"/>
                        <a:pt x="51111" y="158286"/>
                      </a:cubicBezTo>
                      <a:lnTo>
                        <a:pt x="50397" y="158286"/>
                      </a:lnTo>
                      <a:lnTo>
                        <a:pt x="50397" y="257670"/>
                      </a:lnTo>
                      <a:lnTo>
                        <a:pt x="7153" y="257670"/>
                      </a:lnTo>
                      <a:lnTo>
                        <a:pt x="7153" y="11116"/>
                      </a:lnTo>
                      <a:close/>
                      <a:moveTo>
                        <a:pt x="78972" y="160468"/>
                      </a:moveTo>
                      <a:cubicBezTo>
                        <a:pt x="103956" y="160468"/>
                        <a:pt x="107213" y="121510"/>
                        <a:pt x="107213" y="95040"/>
                      </a:cubicBezTo>
                      <a:cubicBezTo>
                        <a:pt x="107213" y="72190"/>
                        <a:pt x="103956" y="33957"/>
                        <a:pt x="77895" y="33957"/>
                      </a:cubicBezTo>
                      <a:cubicBezTo>
                        <a:pt x="53607" y="33957"/>
                        <a:pt x="52502" y="72190"/>
                        <a:pt x="52502" y="95040"/>
                      </a:cubicBezTo>
                      <a:cubicBezTo>
                        <a:pt x="52502" y="121510"/>
                        <a:pt x="53607" y="160468"/>
                        <a:pt x="78972" y="160468"/>
                      </a:cubicBezTo>
                      <a:close/>
                    </a:path>
                  </a:pathLst>
                </a:custGeom>
                <a:grpFill/>
                <a:ln w="9525" cap="flat">
                  <a:noFill/>
                  <a:prstDash val="solid"/>
                  <a:miter/>
                </a:ln>
              </p:spPr>
              <p:txBody>
                <a:bodyPr rtlCol="0" anchor="ctr"/>
                <a:lstStyle/>
                <a:p>
                  <a:endParaRPr lang="ja-JP" altLang="en-US"/>
                </a:p>
              </p:txBody>
            </p:sp>
            <p:sp>
              <p:nvSpPr>
                <p:cNvPr id="165" name="フリーフォーム: 図形 23">
                  <a:extLst>
                    <a:ext uri="{FF2B5EF4-FFF2-40B4-BE49-F238E27FC236}">
                      <a16:creationId xmlns:a16="http://schemas.microsoft.com/office/drawing/2014/main" id="{2C5277BE-AB9F-4171-9E2A-F60D96A3DBCC}"/>
                    </a:ext>
                  </a:extLst>
                </p:cNvPr>
                <p:cNvSpPr/>
                <p:nvPr/>
              </p:nvSpPr>
              <p:spPr>
                <a:xfrm>
                  <a:off x="924597" y="5565644"/>
                  <a:ext cx="152400" cy="190500"/>
                </a:xfrm>
                <a:custGeom>
                  <a:avLst/>
                  <a:gdLst>
                    <a:gd name="connsiteX0" fmla="*/ 103603 w 152400"/>
                    <a:gd name="connsiteY0" fmla="*/ 158667 h 190500"/>
                    <a:gd name="connsiteX1" fmla="*/ 102889 w 152400"/>
                    <a:gd name="connsiteY1" fmla="*/ 158667 h 190500"/>
                    <a:gd name="connsiteX2" fmla="*/ 54655 w 152400"/>
                    <a:gd name="connsiteY2" fmla="*/ 185080 h 190500"/>
                    <a:gd name="connsiteX3" fmla="*/ 7144 w 152400"/>
                    <a:gd name="connsiteY3" fmla="*/ 142608 h 190500"/>
                    <a:gd name="connsiteX4" fmla="*/ 103613 w 152400"/>
                    <a:gd name="connsiteY4" fmla="*/ 85735 h 190500"/>
                    <a:gd name="connsiteX5" fmla="*/ 103613 w 152400"/>
                    <a:gd name="connsiteY5" fmla="*/ 57188 h 190500"/>
                    <a:gd name="connsiteX6" fmla="*/ 82182 w 152400"/>
                    <a:gd name="connsiteY6" fmla="*/ 23946 h 190500"/>
                    <a:gd name="connsiteX7" fmla="*/ 59303 w 152400"/>
                    <a:gd name="connsiteY7" fmla="*/ 61817 h 190500"/>
                    <a:gd name="connsiteX8" fmla="*/ 13221 w 152400"/>
                    <a:gd name="connsiteY8" fmla="*/ 61817 h 190500"/>
                    <a:gd name="connsiteX9" fmla="*/ 82505 w 152400"/>
                    <a:gd name="connsiteY9" fmla="*/ 7144 h 190500"/>
                    <a:gd name="connsiteX10" fmla="*/ 146856 w 152400"/>
                    <a:gd name="connsiteY10" fmla="*/ 66104 h 190500"/>
                    <a:gd name="connsiteX11" fmla="*/ 146856 w 152400"/>
                    <a:gd name="connsiteY11" fmla="*/ 181165 h 190500"/>
                    <a:gd name="connsiteX12" fmla="*/ 103613 w 152400"/>
                    <a:gd name="connsiteY12" fmla="*/ 181165 h 190500"/>
                    <a:gd name="connsiteX13" fmla="*/ 103613 w 152400"/>
                    <a:gd name="connsiteY13" fmla="*/ 158667 h 190500"/>
                    <a:gd name="connsiteX14" fmla="*/ 103603 w 152400"/>
                    <a:gd name="connsiteY14" fmla="*/ 102565 h 190500"/>
                    <a:gd name="connsiteX15" fmla="*/ 51788 w 152400"/>
                    <a:gd name="connsiteY15" fmla="*/ 136522 h 190500"/>
                    <a:gd name="connsiteX16" fmla="*/ 71466 w 152400"/>
                    <a:gd name="connsiteY16" fmla="*/ 160458 h 190500"/>
                    <a:gd name="connsiteX17" fmla="*/ 103603 w 152400"/>
                    <a:gd name="connsiteY17" fmla="*/ 115053 h 190500"/>
                    <a:gd name="connsiteX18" fmla="*/ 103603 w 152400"/>
                    <a:gd name="connsiteY18" fmla="*/ 1025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90500">
                      <a:moveTo>
                        <a:pt x="103603" y="158667"/>
                      </a:moveTo>
                      <a:lnTo>
                        <a:pt x="102889" y="158667"/>
                      </a:lnTo>
                      <a:cubicBezTo>
                        <a:pt x="98222" y="166878"/>
                        <a:pt x="81458" y="185080"/>
                        <a:pt x="54655" y="185080"/>
                      </a:cubicBezTo>
                      <a:cubicBezTo>
                        <a:pt x="27851" y="185080"/>
                        <a:pt x="7144" y="167230"/>
                        <a:pt x="7144" y="142608"/>
                      </a:cubicBezTo>
                      <a:cubicBezTo>
                        <a:pt x="7144" y="90049"/>
                        <a:pt x="79305" y="86878"/>
                        <a:pt x="103613" y="85735"/>
                      </a:cubicBezTo>
                      <a:lnTo>
                        <a:pt x="103613" y="57188"/>
                      </a:lnTo>
                      <a:cubicBezTo>
                        <a:pt x="103613" y="32166"/>
                        <a:pt x="96126" y="23946"/>
                        <a:pt x="82182" y="23946"/>
                      </a:cubicBezTo>
                      <a:cubicBezTo>
                        <a:pt x="59665" y="23946"/>
                        <a:pt x="60017" y="50740"/>
                        <a:pt x="59303" y="61817"/>
                      </a:cubicBezTo>
                      <a:lnTo>
                        <a:pt x="13221" y="61817"/>
                      </a:lnTo>
                      <a:cubicBezTo>
                        <a:pt x="13221" y="26118"/>
                        <a:pt x="37147" y="7144"/>
                        <a:pt x="82505" y="7144"/>
                      </a:cubicBezTo>
                      <a:cubicBezTo>
                        <a:pt x="136150" y="7144"/>
                        <a:pt x="146856" y="32176"/>
                        <a:pt x="146856" y="66104"/>
                      </a:cubicBezTo>
                      <a:lnTo>
                        <a:pt x="146856" y="181165"/>
                      </a:lnTo>
                      <a:lnTo>
                        <a:pt x="103613" y="181165"/>
                      </a:lnTo>
                      <a:lnTo>
                        <a:pt x="103613" y="158667"/>
                      </a:lnTo>
                      <a:close/>
                      <a:moveTo>
                        <a:pt x="103603" y="102565"/>
                      </a:moveTo>
                      <a:cubicBezTo>
                        <a:pt x="88963" y="103984"/>
                        <a:pt x="51788" y="108652"/>
                        <a:pt x="51788" y="136522"/>
                      </a:cubicBezTo>
                      <a:cubicBezTo>
                        <a:pt x="51788" y="150819"/>
                        <a:pt x="58941" y="160458"/>
                        <a:pt x="71466" y="160458"/>
                      </a:cubicBezTo>
                      <a:cubicBezTo>
                        <a:pt x="91821" y="160458"/>
                        <a:pt x="103603" y="138989"/>
                        <a:pt x="103603" y="115053"/>
                      </a:cubicBezTo>
                      <a:lnTo>
                        <a:pt x="103603" y="102565"/>
                      </a:lnTo>
                      <a:close/>
                    </a:path>
                  </a:pathLst>
                </a:custGeom>
                <a:grpFill/>
                <a:ln w="9525" cap="flat">
                  <a:noFill/>
                  <a:prstDash val="solid"/>
                  <a:miter/>
                </a:ln>
              </p:spPr>
              <p:txBody>
                <a:bodyPr rtlCol="0" anchor="ctr"/>
                <a:lstStyle/>
                <a:p>
                  <a:endParaRPr lang="ja-JP" altLang="en-US"/>
                </a:p>
              </p:txBody>
            </p:sp>
            <p:sp>
              <p:nvSpPr>
                <p:cNvPr id="166" name="フリーフォーム: 図形 24">
                  <a:extLst>
                    <a:ext uri="{FF2B5EF4-FFF2-40B4-BE49-F238E27FC236}">
                      <a16:creationId xmlns:a16="http://schemas.microsoft.com/office/drawing/2014/main" id="{4CADC03F-C048-4ECC-A24F-8EEEAB23A3AC}"/>
                    </a:ext>
                  </a:extLst>
                </p:cNvPr>
                <p:cNvSpPr/>
                <p:nvPr/>
              </p:nvSpPr>
              <p:spPr>
                <a:xfrm>
                  <a:off x="1108249" y="5565635"/>
                  <a:ext cx="152400" cy="180975"/>
                </a:xfrm>
                <a:custGeom>
                  <a:avLst/>
                  <a:gdLst>
                    <a:gd name="connsiteX0" fmla="*/ 7144 w 152400"/>
                    <a:gd name="connsiteY0" fmla="*/ 11116 h 180975"/>
                    <a:gd name="connsiteX1" fmla="*/ 50387 w 152400"/>
                    <a:gd name="connsiteY1" fmla="*/ 11116 h 180975"/>
                    <a:gd name="connsiteX2" fmla="*/ 50387 w 152400"/>
                    <a:gd name="connsiteY2" fmla="*/ 49330 h 180975"/>
                    <a:gd name="connsiteX3" fmla="*/ 51092 w 152400"/>
                    <a:gd name="connsiteY3" fmla="*/ 49330 h 180975"/>
                    <a:gd name="connsiteX4" fmla="*/ 106842 w 152400"/>
                    <a:gd name="connsiteY4" fmla="*/ 7144 h 180975"/>
                    <a:gd name="connsiteX5" fmla="*/ 149742 w 152400"/>
                    <a:gd name="connsiteY5" fmla="*/ 63951 h 180975"/>
                    <a:gd name="connsiteX6" fmla="*/ 149742 w 152400"/>
                    <a:gd name="connsiteY6" fmla="*/ 181175 h 180975"/>
                    <a:gd name="connsiteX7" fmla="*/ 106470 w 152400"/>
                    <a:gd name="connsiteY7" fmla="*/ 181175 h 180975"/>
                    <a:gd name="connsiteX8" fmla="*/ 106470 w 152400"/>
                    <a:gd name="connsiteY8" fmla="*/ 75047 h 180975"/>
                    <a:gd name="connsiteX9" fmla="*/ 87925 w 152400"/>
                    <a:gd name="connsiteY9" fmla="*/ 38214 h 180975"/>
                    <a:gd name="connsiteX10" fmla="*/ 50397 w 152400"/>
                    <a:gd name="connsiteY10" fmla="*/ 114376 h 180975"/>
                    <a:gd name="connsiteX11" fmla="*/ 50397 w 152400"/>
                    <a:gd name="connsiteY11" fmla="*/ 181175 h 180975"/>
                    <a:gd name="connsiteX12" fmla="*/ 7153 w 152400"/>
                    <a:gd name="connsiteY12" fmla="*/ 181175 h 180975"/>
                    <a:gd name="connsiteX13" fmla="*/ 7153 w 152400"/>
                    <a:gd name="connsiteY13"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7144" y="11116"/>
                      </a:moveTo>
                      <a:lnTo>
                        <a:pt x="50387" y="11116"/>
                      </a:lnTo>
                      <a:lnTo>
                        <a:pt x="50387" y="49330"/>
                      </a:lnTo>
                      <a:lnTo>
                        <a:pt x="51092" y="49330"/>
                      </a:lnTo>
                      <a:cubicBezTo>
                        <a:pt x="57893" y="35433"/>
                        <a:pt x="71847" y="7144"/>
                        <a:pt x="106842" y="7144"/>
                      </a:cubicBezTo>
                      <a:cubicBezTo>
                        <a:pt x="138655" y="7144"/>
                        <a:pt x="149742" y="27889"/>
                        <a:pt x="149742" y="63951"/>
                      </a:cubicBezTo>
                      <a:lnTo>
                        <a:pt x="149742" y="181175"/>
                      </a:lnTo>
                      <a:lnTo>
                        <a:pt x="106470" y="181175"/>
                      </a:lnTo>
                      <a:lnTo>
                        <a:pt x="106470" y="75047"/>
                      </a:lnTo>
                      <a:cubicBezTo>
                        <a:pt x="106470" y="53940"/>
                        <a:pt x="104708" y="38214"/>
                        <a:pt x="87925" y="38214"/>
                      </a:cubicBezTo>
                      <a:cubicBezTo>
                        <a:pt x="57560" y="38214"/>
                        <a:pt x="50397" y="87182"/>
                        <a:pt x="50397" y="114376"/>
                      </a:cubicBezTo>
                      <a:lnTo>
                        <a:pt x="50397" y="181175"/>
                      </a:lnTo>
                      <a:lnTo>
                        <a:pt x="7153" y="181175"/>
                      </a:lnTo>
                      <a:lnTo>
                        <a:pt x="7153" y="11116"/>
                      </a:lnTo>
                      <a:close/>
                    </a:path>
                  </a:pathLst>
                </a:custGeom>
                <a:grpFill/>
                <a:ln w="9525" cap="flat">
                  <a:noFill/>
                  <a:prstDash val="solid"/>
                  <a:miter/>
                </a:ln>
              </p:spPr>
              <p:txBody>
                <a:bodyPr rtlCol="0" anchor="ctr"/>
                <a:lstStyle/>
                <a:p>
                  <a:endParaRPr lang="ja-JP" altLang="en-US"/>
                </a:p>
              </p:txBody>
            </p:sp>
            <p:sp>
              <p:nvSpPr>
                <p:cNvPr id="167" name="フリーフォーム: 図形 25">
                  <a:extLst>
                    <a:ext uri="{FF2B5EF4-FFF2-40B4-BE49-F238E27FC236}">
                      <a16:creationId xmlns:a16="http://schemas.microsoft.com/office/drawing/2014/main" id="{093CCA68-5167-41C4-8124-E850F65046E3}"/>
                    </a:ext>
                  </a:extLst>
                </p:cNvPr>
                <p:cNvSpPr/>
                <p:nvPr/>
              </p:nvSpPr>
              <p:spPr>
                <a:xfrm>
                  <a:off x="1348364" y="5492921"/>
                  <a:ext cx="171450" cy="257175"/>
                </a:xfrm>
                <a:custGeom>
                  <a:avLst/>
                  <a:gdLst>
                    <a:gd name="connsiteX0" fmla="*/ 66475 w 171450"/>
                    <a:gd name="connsiteY0" fmla="*/ 35585 h 257175"/>
                    <a:gd name="connsiteX1" fmla="*/ 7144 w 171450"/>
                    <a:gd name="connsiteY1" fmla="*/ 35585 h 257175"/>
                    <a:gd name="connsiteX2" fmla="*/ 7144 w 171450"/>
                    <a:gd name="connsiteY2" fmla="*/ 7144 h 257175"/>
                    <a:gd name="connsiteX3" fmla="*/ 172603 w 171450"/>
                    <a:gd name="connsiteY3" fmla="*/ 7144 h 257175"/>
                    <a:gd name="connsiteX4" fmla="*/ 172603 w 171450"/>
                    <a:gd name="connsiteY4" fmla="*/ 35585 h 257175"/>
                    <a:gd name="connsiteX5" fmla="*/ 113271 w 171450"/>
                    <a:gd name="connsiteY5" fmla="*/ 35585 h 257175"/>
                    <a:gd name="connsiteX6" fmla="*/ 113271 w 171450"/>
                    <a:gd name="connsiteY6" fmla="*/ 253889 h 257175"/>
                    <a:gd name="connsiteX7" fmla="*/ 66465 w 171450"/>
                    <a:gd name="connsiteY7" fmla="*/ 253889 h 257175"/>
                    <a:gd name="connsiteX8" fmla="*/ 66465 w 171450"/>
                    <a:gd name="connsiteY8" fmla="*/ 3558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57175">
                      <a:moveTo>
                        <a:pt x="66475" y="35585"/>
                      </a:moveTo>
                      <a:lnTo>
                        <a:pt x="7144" y="35585"/>
                      </a:lnTo>
                      <a:lnTo>
                        <a:pt x="7144" y="7144"/>
                      </a:lnTo>
                      <a:lnTo>
                        <a:pt x="172603" y="7144"/>
                      </a:lnTo>
                      <a:lnTo>
                        <a:pt x="172603" y="35585"/>
                      </a:lnTo>
                      <a:lnTo>
                        <a:pt x="113271" y="35585"/>
                      </a:lnTo>
                      <a:lnTo>
                        <a:pt x="113271" y="253889"/>
                      </a:lnTo>
                      <a:lnTo>
                        <a:pt x="66465" y="253889"/>
                      </a:lnTo>
                      <a:lnTo>
                        <a:pt x="66465" y="35585"/>
                      </a:lnTo>
                      <a:close/>
                    </a:path>
                  </a:pathLst>
                </a:custGeom>
                <a:grpFill/>
                <a:ln w="9525" cap="flat">
                  <a:noFill/>
                  <a:prstDash val="solid"/>
                  <a:miter/>
                </a:ln>
              </p:spPr>
              <p:txBody>
                <a:bodyPr rtlCol="0" anchor="ctr"/>
                <a:lstStyle/>
                <a:p>
                  <a:endParaRPr lang="ja-JP" altLang="en-US"/>
                </a:p>
              </p:txBody>
            </p:sp>
            <p:sp>
              <p:nvSpPr>
                <p:cNvPr id="168" name="フリーフォーム: 図形 26">
                  <a:extLst>
                    <a:ext uri="{FF2B5EF4-FFF2-40B4-BE49-F238E27FC236}">
                      <a16:creationId xmlns:a16="http://schemas.microsoft.com/office/drawing/2014/main" id="{A4199214-E4AC-479E-A0EE-3CE638C84E84}"/>
                    </a:ext>
                  </a:extLst>
                </p:cNvPr>
                <p:cNvSpPr/>
                <p:nvPr/>
              </p:nvSpPr>
              <p:spPr>
                <a:xfrm>
                  <a:off x="1517833" y="5565635"/>
                  <a:ext cx="161925" cy="190500"/>
                </a:xfrm>
                <a:custGeom>
                  <a:avLst/>
                  <a:gdLst>
                    <a:gd name="connsiteX0" fmla="*/ 7144 w 161925"/>
                    <a:gd name="connsiteY0" fmla="*/ 96155 h 190500"/>
                    <a:gd name="connsiteX1" fmla="*/ 85753 w 161925"/>
                    <a:gd name="connsiteY1" fmla="*/ 7144 h 190500"/>
                    <a:gd name="connsiteX2" fmla="*/ 164020 w 161925"/>
                    <a:gd name="connsiteY2" fmla="*/ 96155 h 190500"/>
                    <a:gd name="connsiteX3" fmla="*/ 85753 w 161925"/>
                    <a:gd name="connsiteY3" fmla="*/ 185090 h 190500"/>
                    <a:gd name="connsiteX4" fmla="*/ 7144 w 161925"/>
                    <a:gd name="connsiteY4" fmla="*/ 96155 h 190500"/>
                    <a:gd name="connsiteX5" fmla="*/ 85753 w 161925"/>
                    <a:gd name="connsiteY5" fmla="*/ 168326 h 190500"/>
                    <a:gd name="connsiteX6" fmla="*/ 117205 w 161925"/>
                    <a:gd name="connsiteY6" fmla="*/ 96155 h 190500"/>
                    <a:gd name="connsiteX7" fmla="*/ 85753 w 161925"/>
                    <a:gd name="connsiteY7" fmla="*/ 23955 h 190500"/>
                    <a:gd name="connsiteX8" fmla="*/ 53940 w 161925"/>
                    <a:gd name="connsiteY8" fmla="*/ 96155 h 190500"/>
                    <a:gd name="connsiteX9" fmla="*/ 85753 w 161925"/>
                    <a:gd name="connsiteY9" fmla="*/ 16832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90500">
                      <a:moveTo>
                        <a:pt x="7144" y="96155"/>
                      </a:moveTo>
                      <a:cubicBezTo>
                        <a:pt x="7144" y="31451"/>
                        <a:pt x="37547" y="7144"/>
                        <a:pt x="85753" y="7144"/>
                      </a:cubicBezTo>
                      <a:cubicBezTo>
                        <a:pt x="133988" y="7144"/>
                        <a:pt x="164020" y="31451"/>
                        <a:pt x="164020" y="96155"/>
                      </a:cubicBezTo>
                      <a:cubicBezTo>
                        <a:pt x="164020" y="160810"/>
                        <a:pt x="133998" y="185090"/>
                        <a:pt x="85753" y="185090"/>
                      </a:cubicBezTo>
                      <a:cubicBezTo>
                        <a:pt x="37547" y="185090"/>
                        <a:pt x="7144" y="160810"/>
                        <a:pt x="7144" y="96155"/>
                      </a:cubicBezTo>
                      <a:close/>
                      <a:moveTo>
                        <a:pt x="85753" y="168326"/>
                      </a:moveTo>
                      <a:cubicBezTo>
                        <a:pt x="115424" y="168326"/>
                        <a:pt x="117205" y="133674"/>
                        <a:pt x="117205" y="96155"/>
                      </a:cubicBezTo>
                      <a:cubicBezTo>
                        <a:pt x="117205" y="58598"/>
                        <a:pt x="115424" y="23955"/>
                        <a:pt x="85753" y="23955"/>
                      </a:cubicBezTo>
                      <a:cubicBezTo>
                        <a:pt x="56454" y="23955"/>
                        <a:pt x="53940" y="58598"/>
                        <a:pt x="53940" y="96155"/>
                      </a:cubicBezTo>
                      <a:cubicBezTo>
                        <a:pt x="53940" y="133674"/>
                        <a:pt x="56445" y="168326"/>
                        <a:pt x="85753" y="168326"/>
                      </a:cubicBezTo>
                      <a:close/>
                    </a:path>
                  </a:pathLst>
                </a:custGeom>
                <a:grpFill/>
                <a:ln w="9525" cap="flat">
                  <a:noFill/>
                  <a:prstDash val="solid"/>
                  <a:miter/>
                </a:ln>
              </p:spPr>
              <p:txBody>
                <a:bodyPr rtlCol="0" anchor="ctr"/>
                <a:lstStyle/>
                <a:p>
                  <a:endParaRPr lang="ja-JP" altLang="en-US"/>
                </a:p>
              </p:txBody>
            </p:sp>
            <p:sp>
              <p:nvSpPr>
                <p:cNvPr id="169" name="フリーフォーム: 図形 27">
                  <a:extLst>
                    <a:ext uri="{FF2B5EF4-FFF2-40B4-BE49-F238E27FC236}">
                      <a16:creationId xmlns:a16="http://schemas.microsoft.com/office/drawing/2014/main" id="{DE82D2A3-1DB6-4A03-98A7-9E61852AF8A4}"/>
                    </a:ext>
                  </a:extLst>
                </p:cNvPr>
                <p:cNvSpPr/>
                <p:nvPr/>
              </p:nvSpPr>
              <p:spPr>
                <a:xfrm>
                  <a:off x="1708276" y="5569606"/>
                  <a:ext cx="152400" cy="180975"/>
                </a:xfrm>
                <a:custGeom>
                  <a:avLst/>
                  <a:gdLst>
                    <a:gd name="connsiteX0" fmla="*/ 106509 w 152400"/>
                    <a:gd name="connsiteY0" fmla="*/ 138989 h 180975"/>
                    <a:gd name="connsiteX1" fmla="*/ 105775 w 152400"/>
                    <a:gd name="connsiteY1" fmla="*/ 138989 h 180975"/>
                    <a:gd name="connsiteX2" fmla="*/ 53607 w 152400"/>
                    <a:gd name="connsiteY2" fmla="*/ 181118 h 180975"/>
                    <a:gd name="connsiteX3" fmla="*/ 7144 w 152400"/>
                    <a:gd name="connsiteY3" fmla="*/ 124301 h 180975"/>
                    <a:gd name="connsiteX4" fmla="*/ 7144 w 152400"/>
                    <a:gd name="connsiteY4" fmla="*/ 7144 h 180975"/>
                    <a:gd name="connsiteX5" fmla="*/ 50406 w 152400"/>
                    <a:gd name="connsiteY5" fmla="*/ 7144 h 180975"/>
                    <a:gd name="connsiteX6" fmla="*/ 50406 w 152400"/>
                    <a:gd name="connsiteY6" fmla="*/ 113252 h 180975"/>
                    <a:gd name="connsiteX7" fmla="*/ 72180 w 152400"/>
                    <a:gd name="connsiteY7" fmla="*/ 150038 h 180975"/>
                    <a:gd name="connsiteX8" fmla="*/ 106509 w 152400"/>
                    <a:gd name="connsiteY8" fmla="*/ 73933 h 180975"/>
                    <a:gd name="connsiteX9" fmla="*/ 106509 w 152400"/>
                    <a:gd name="connsiteY9" fmla="*/ 7144 h 180975"/>
                    <a:gd name="connsiteX10" fmla="*/ 149733 w 152400"/>
                    <a:gd name="connsiteY10" fmla="*/ 7144 h 180975"/>
                    <a:gd name="connsiteX11" fmla="*/ 149733 w 152400"/>
                    <a:gd name="connsiteY11" fmla="*/ 177203 h 180975"/>
                    <a:gd name="connsiteX12" fmla="*/ 106509 w 152400"/>
                    <a:gd name="connsiteY12" fmla="*/ 177203 h 180975"/>
                    <a:gd name="connsiteX13" fmla="*/ 106509 w 152400"/>
                    <a:gd name="connsiteY13" fmla="*/ 13898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106509" y="138989"/>
                      </a:moveTo>
                      <a:lnTo>
                        <a:pt x="105775" y="138989"/>
                      </a:lnTo>
                      <a:cubicBezTo>
                        <a:pt x="99336" y="152876"/>
                        <a:pt x="86125" y="181118"/>
                        <a:pt x="53607" y="181118"/>
                      </a:cubicBezTo>
                      <a:cubicBezTo>
                        <a:pt x="20746" y="181118"/>
                        <a:pt x="7144" y="160420"/>
                        <a:pt x="7144" y="124301"/>
                      </a:cubicBezTo>
                      <a:lnTo>
                        <a:pt x="7144" y="7144"/>
                      </a:lnTo>
                      <a:lnTo>
                        <a:pt x="50406" y="7144"/>
                      </a:lnTo>
                      <a:lnTo>
                        <a:pt x="50406" y="113252"/>
                      </a:lnTo>
                      <a:cubicBezTo>
                        <a:pt x="50406" y="134340"/>
                        <a:pt x="56102" y="150038"/>
                        <a:pt x="72180" y="150038"/>
                      </a:cubicBezTo>
                      <a:cubicBezTo>
                        <a:pt x="100070" y="150038"/>
                        <a:pt x="106509" y="101060"/>
                        <a:pt x="106509" y="73933"/>
                      </a:cubicBezTo>
                      <a:lnTo>
                        <a:pt x="106509" y="7144"/>
                      </a:lnTo>
                      <a:lnTo>
                        <a:pt x="149733" y="7144"/>
                      </a:lnTo>
                      <a:lnTo>
                        <a:pt x="149733" y="177203"/>
                      </a:lnTo>
                      <a:lnTo>
                        <a:pt x="106509" y="177203"/>
                      </a:lnTo>
                      <a:lnTo>
                        <a:pt x="106509" y="138989"/>
                      </a:lnTo>
                      <a:close/>
                    </a:path>
                  </a:pathLst>
                </a:custGeom>
                <a:grpFill/>
                <a:ln w="9525" cap="flat">
                  <a:noFill/>
                  <a:prstDash val="solid"/>
                  <a:miter/>
                </a:ln>
              </p:spPr>
              <p:txBody>
                <a:bodyPr rtlCol="0" anchor="ctr"/>
                <a:lstStyle/>
                <a:p>
                  <a:endParaRPr lang="ja-JP" altLang="en-US"/>
                </a:p>
              </p:txBody>
            </p:sp>
            <p:sp>
              <p:nvSpPr>
                <p:cNvPr id="170" name="フリーフォーム: 図形 28">
                  <a:extLst>
                    <a:ext uri="{FF2B5EF4-FFF2-40B4-BE49-F238E27FC236}">
                      <a16:creationId xmlns:a16="http://schemas.microsoft.com/office/drawing/2014/main" id="{B9D2F927-E5FD-4CD5-B3D4-BCAFB7B21BC9}"/>
                    </a:ext>
                  </a:extLst>
                </p:cNvPr>
                <p:cNvSpPr/>
                <p:nvPr/>
              </p:nvSpPr>
              <p:spPr>
                <a:xfrm>
                  <a:off x="1898376" y="5565635"/>
                  <a:ext cx="114300" cy="180975"/>
                </a:xfrm>
                <a:custGeom>
                  <a:avLst/>
                  <a:gdLst>
                    <a:gd name="connsiteX0" fmla="*/ 7144 w 114300"/>
                    <a:gd name="connsiteY0" fmla="*/ 11116 h 180975"/>
                    <a:gd name="connsiteX1" fmla="*/ 50378 w 114300"/>
                    <a:gd name="connsiteY1" fmla="*/ 11116 h 180975"/>
                    <a:gd name="connsiteX2" fmla="*/ 50378 w 114300"/>
                    <a:gd name="connsiteY2" fmla="*/ 53654 h 180975"/>
                    <a:gd name="connsiteX3" fmla="*/ 51121 w 114300"/>
                    <a:gd name="connsiteY3" fmla="*/ 53654 h 180975"/>
                    <a:gd name="connsiteX4" fmla="*/ 108623 w 114300"/>
                    <a:gd name="connsiteY4" fmla="*/ 7144 h 180975"/>
                    <a:gd name="connsiteX5" fmla="*/ 108623 w 114300"/>
                    <a:gd name="connsiteY5" fmla="*/ 51854 h 180975"/>
                    <a:gd name="connsiteX6" fmla="*/ 50378 w 114300"/>
                    <a:gd name="connsiteY6" fmla="*/ 105032 h 180975"/>
                    <a:gd name="connsiteX7" fmla="*/ 50378 w 114300"/>
                    <a:gd name="connsiteY7" fmla="*/ 181166 h 180975"/>
                    <a:gd name="connsiteX8" fmla="*/ 7144 w 114300"/>
                    <a:gd name="connsiteY8" fmla="*/ 181166 h 180975"/>
                    <a:gd name="connsiteX9" fmla="*/ 7144 w 114300"/>
                    <a:gd name="connsiteY9"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80975">
                      <a:moveTo>
                        <a:pt x="7144" y="11116"/>
                      </a:moveTo>
                      <a:lnTo>
                        <a:pt x="50378" y="11116"/>
                      </a:lnTo>
                      <a:lnTo>
                        <a:pt x="50378" y="53654"/>
                      </a:lnTo>
                      <a:lnTo>
                        <a:pt x="51121" y="53654"/>
                      </a:lnTo>
                      <a:cubicBezTo>
                        <a:pt x="62912" y="31451"/>
                        <a:pt x="76457" y="9306"/>
                        <a:pt x="108623" y="7144"/>
                      </a:cubicBezTo>
                      <a:lnTo>
                        <a:pt x="108623" y="51854"/>
                      </a:lnTo>
                      <a:cubicBezTo>
                        <a:pt x="65427" y="51854"/>
                        <a:pt x="50378" y="67170"/>
                        <a:pt x="50378" y="105032"/>
                      </a:cubicBezTo>
                      <a:lnTo>
                        <a:pt x="50378" y="181166"/>
                      </a:lnTo>
                      <a:lnTo>
                        <a:pt x="7144" y="181166"/>
                      </a:lnTo>
                      <a:lnTo>
                        <a:pt x="7144" y="11116"/>
                      </a:lnTo>
                      <a:close/>
                    </a:path>
                  </a:pathLst>
                </a:custGeom>
                <a:grpFill/>
                <a:ln w="9525" cap="flat">
                  <a:noFill/>
                  <a:prstDash val="solid"/>
                  <a:miter/>
                </a:ln>
              </p:spPr>
              <p:txBody>
                <a:bodyPr rtlCol="0" anchor="ctr"/>
                <a:lstStyle/>
                <a:p>
                  <a:endParaRPr lang="ja-JP" altLang="en-US"/>
                </a:p>
              </p:txBody>
            </p:sp>
            <p:sp>
              <p:nvSpPr>
                <p:cNvPr id="171" name="フリーフォーム: 図形 29">
                  <a:extLst>
                    <a:ext uri="{FF2B5EF4-FFF2-40B4-BE49-F238E27FC236}">
                      <a16:creationId xmlns:a16="http://schemas.microsoft.com/office/drawing/2014/main" id="{0EFAB5FD-45E6-422E-9DD8-8D55623026FF}"/>
                    </a:ext>
                  </a:extLst>
                </p:cNvPr>
                <p:cNvSpPr/>
                <p:nvPr/>
              </p:nvSpPr>
              <p:spPr>
                <a:xfrm>
                  <a:off x="2027763" y="5492911"/>
                  <a:ext cx="57150" cy="257175"/>
                </a:xfrm>
                <a:custGeom>
                  <a:avLst/>
                  <a:gdLst>
                    <a:gd name="connsiteX0" fmla="*/ 7144 w 57150"/>
                    <a:gd name="connsiteY0" fmla="*/ 7144 h 257175"/>
                    <a:gd name="connsiteX1" fmla="*/ 50378 w 57150"/>
                    <a:gd name="connsiteY1" fmla="*/ 7144 h 257175"/>
                    <a:gd name="connsiteX2" fmla="*/ 50378 w 57150"/>
                    <a:gd name="connsiteY2" fmla="*/ 46653 h 257175"/>
                    <a:gd name="connsiteX3" fmla="*/ 7144 w 57150"/>
                    <a:gd name="connsiteY3" fmla="*/ 46653 h 257175"/>
                    <a:gd name="connsiteX4" fmla="*/ 7144 w 57150"/>
                    <a:gd name="connsiteY4" fmla="*/ 7144 h 257175"/>
                    <a:gd name="connsiteX5" fmla="*/ 7144 w 57150"/>
                    <a:gd name="connsiteY5" fmla="*/ 83839 h 257175"/>
                    <a:gd name="connsiteX6" fmla="*/ 50378 w 57150"/>
                    <a:gd name="connsiteY6" fmla="*/ 83839 h 257175"/>
                    <a:gd name="connsiteX7" fmla="*/ 50378 w 57150"/>
                    <a:gd name="connsiteY7" fmla="*/ 253898 h 257175"/>
                    <a:gd name="connsiteX8" fmla="*/ 7144 w 57150"/>
                    <a:gd name="connsiteY8" fmla="*/ 253898 h 257175"/>
                    <a:gd name="connsiteX9" fmla="*/ 7144 w 57150"/>
                    <a:gd name="connsiteY9" fmla="*/ 83839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257175">
                      <a:moveTo>
                        <a:pt x="7144" y="7144"/>
                      </a:moveTo>
                      <a:lnTo>
                        <a:pt x="50378" y="7144"/>
                      </a:lnTo>
                      <a:lnTo>
                        <a:pt x="50378" y="46653"/>
                      </a:lnTo>
                      <a:lnTo>
                        <a:pt x="7144" y="46653"/>
                      </a:lnTo>
                      <a:lnTo>
                        <a:pt x="7144" y="7144"/>
                      </a:lnTo>
                      <a:close/>
                      <a:moveTo>
                        <a:pt x="7144" y="83839"/>
                      </a:moveTo>
                      <a:lnTo>
                        <a:pt x="50378" y="83839"/>
                      </a:lnTo>
                      <a:lnTo>
                        <a:pt x="50378" y="253898"/>
                      </a:lnTo>
                      <a:lnTo>
                        <a:pt x="7144" y="253898"/>
                      </a:lnTo>
                      <a:lnTo>
                        <a:pt x="7144" y="83839"/>
                      </a:lnTo>
                      <a:close/>
                    </a:path>
                  </a:pathLst>
                </a:custGeom>
                <a:grpFill/>
                <a:ln w="9525" cap="flat">
                  <a:noFill/>
                  <a:prstDash val="solid"/>
                  <a:miter/>
                </a:ln>
              </p:spPr>
              <p:txBody>
                <a:bodyPr rtlCol="0" anchor="ctr"/>
                <a:lstStyle/>
                <a:p>
                  <a:endParaRPr lang="ja-JP" altLang="en-US"/>
                </a:p>
              </p:txBody>
            </p:sp>
            <p:sp>
              <p:nvSpPr>
                <p:cNvPr id="172" name="フリーフォーム: 図形 30">
                  <a:extLst>
                    <a:ext uri="{FF2B5EF4-FFF2-40B4-BE49-F238E27FC236}">
                      <a16:creationId xmlns:a16="http://schemas.microsoft.com/office/drawing/2014/main" id="{33D63B9A-9C3E-438E-A226-85B62E9DB3F9}"/>
                    </a:ext>
                  </a:extLst>
                </p:cNvPr>
                <p:cNvSpPr/>
                <p:nvPr/>
              </p:nvSpPr>
              <p:spPr>
                <a:xfrm>
                  <a:off x="2104583" y="5565654"/>
                  <a:ext cx="123825" cy="190500"/>
                </a:xfrm>
                <a:custGeom>
                  <a:avLst/>
                  <a:gdLst>
                    <a:gd name="connsiteX0" fmla="*/ 107556 w 123825"/>
                    <a:gd name="connsiteY0" fmla="*/ 48968 h 190500"/>
                    <a:gd name="connsiteX1" fmla="*/ 66084 w 123825"/>
                    <a:gd name="connsiteY1" fmla="*/ 29299 h 190500"/>
                    <a:gd name="connsiteX2" fmla="*/ 45053 w 123825"/>
                    <a:gd name="connsiteY2" fmla="*/ 45348 h 190500"/>
                    <a:gd name="connsiteX3" fmla="*/ 93240 w 123825"/>
                    <a:gd name="connsiteY3" fmla="*/ 88249 h 190500"/>
                    <a:gd name="connsiteX4" fmla="*/ 118634 w 123825"/>
                    <a:gd name="connsiteY4" fmla="*/ 134026 h 190500"/>
                    <a:gd name="connsiteX5" fmla="*/ 53254 w 123825"/>
                    <a:gd name="connsiteY5" fmla="*/ 185090 h 190500"/>
                    <a:gd name="connsiteX6" fmla="*/ 8572 w 123825"/>
                    <a:gd name="connsiteY6" fmla="*/ 178298 h 190500"/>
                    <a:gd name="connsiteX7" fmla="*/ 8572 w 123825"/>
                    <a:gd name="connsiteY7" fmla="*/ 139694 h 190500"/>
                    <a:gd name="connsiteX8" fmla="*/ 53978 w 123825"/>
                    <a:gd name="connsiteY8" fmla="*/ 160468 h 190500"/>
                    <a:gd name="connsiteX9" fmla="*/ 79324 w 123825"/>
                    <a:gd name="connsiteY9" fmla="*/ 143313 h 190500"/>
                    <a:gd name="connsiteX10" fmla="*/ 30356 w 123825"/>
                    <a:gd name="connsiteY10" fmla="*/ 99346 h 190500"/>
                    <a:gd name="connsiteX11" fmla="*/ 7144 w 123825"/>
                    <a:gd name="connsiteY11" fmla="*/ 57531 h 190500"/>
                    <a:gd name="connsiteX12" fmla="*/ 67847 w 123825"/>
                    <a:gd name="connsiteY12" fmla="*/ 7144 h 190500"/>
                    <a:gd name="connsiteX13" fmla="*/ 107556 w 123825"/>
                    <a:gd name="connsiteY13" fmla="*/ 13611 h 190500"/>
                    <a:gd name="connsiteX14" fmla="*/ 107556 w 123825"/>
                    <a:gd name="connsiteY14" fmla="*/ 4896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825" h="190500">
                      <a:moveTo>
                        <a:pt x="107556" y="48968"/>
                      </a:moveTo>
                      <a:cubicBezTo>
                        <a:pt x="97546" y="40396"/>
                        <a:pt x="83248" y="29299"/>
                        <a:pt x="66084" y="29299"/>
                      </a:cubicBezTo>
                      <a:cubicBezTo>
                        <a:pt x="57131" y="29299"/>
                        <a:pt x="45053" y="33547"/>
                        <a:pt x="45053" y="45348"/>
                      </a:cubicBezTo>
                      <a:cubicBezTo>
                        <a:pt x="45053" y="61817"/>
                        <a:pt x="76438" y="73981"/>
                        <a:pt x="93240" y="88249"/>
                      </a:cubicBezTo>
                      <a:cubicBezTo>
                        <a:pt x="111833" y="103679"/>
                        <a:pt x="118634" y="114367"/>
                        <a:pt x="118634" y="134026"/>
                      </a:cubicBezTo>
                      <a:cubicBezTo>
                        <a:pt x="118634" y="171174"/>
                        <a:pt x="88297" y="185090"/>
                        <a:pt x="53254" y="185090"/>
                      </a:cubicBezTo>
                      <a:cubicBezTo>
                        <a:pt x="32499" y="185090"/>
                        <a:pt x="16069" y="180451"/>
                        <a:pt x="8572" y="178298"/>
                      </a:cubicBezTo>
                      <a:lnTo>
                        <a:pt x="8572" y="139694"/>
                      </a:lnTo>
                      <a:cubicBezTo>
                        <a:pt x="16459" y="146504"/>
                        <a:pt x="33642" y="160468"/>
                        <a:pt x="53978" y="160468"/>
                      </a:cubicBezTo>
                      <a:cubicBezTo>
                        <a:pt x="69647" y="160468"/>
                        <a:pt x="79324" y="153686"/>
                        <a:pt x="79324" y="143313"/>
                      </a:cubicBezTo>
                      <a:cubicBezTo>
                        <a:pt x="79324" y="126168"/>
                        <a:pt x="47501" y="113614"/>
                        <a:pt x="30356" y="99346"/>
                      </a:cubicBezTo>
                      <a:cubicBezTo>
                        <a:pt x="11725" y="83591"/>
                        <a:pt x="7144" y="73990"/>
                        <a:pt x="7144" y="57531"/>
                      </a:cubicBezTo>
                      <a:cubicBezTo>
                        <a:pt x="7144" y="31804"/>
                        <a:pt x="24632" y="7144"/>
                        <a:pt x="67847" y="7144"/>
                      </a:cubicBezTo>
                      <a:cubicBezTo>
                        <a:pt x="86449" y="7144"/>
                        <a:pt x="101479" y="12173"/>
                        <a:pt x="107556" y="13611"/>
                      </a:cubicBezTo>
                      <a:lnTo>
                        <a:pt x="107556" y="48968"/>
                      </a:lnTo>
                      <a:close/>
                    </a:path>
                  </a:pathLst>
                </a:custGeom>
                <a:grpFill/>
                <a:ln w="9525" cap="flat">
                  <a:noFill/>
                  <a:prstDash val="solid"/>
                  <a:miter/>
                </a:ln>
              </p:spPr>
              <p:txBody>
                <a:bodyPr rtlCol="0" anchor="ctr"/>
                <a:lstStyle/>
                <a:p>
                  <a:endParaRPr lang="ja-JP" altLang="en-US"/>
                </a:p>
              </p:txBody>
            </p:sp>
            <p:sp>
              <p:nvSpPr>
                <p:cNvPr id="173" name="フリーフォーム: 図形 31">
                  <a:extLst>
                    <a:ext uri="{FF2B5EF4-FFF2-40B4-BE49-F238E27FC236}">
                      <a16:creationId xmlns:a16="http://schemas.microsoft.com/office/drawing/2014/main" id="{096AF09C-D07D-4655-95D3-4D2367F49D4E}"/>
                    </a:ext>
                  </a:extLst>
                </p:cNvPr>
                <p:cNvSpPr/>
                <p:nvPr/>
              </p:nvSpPr>
              <p:spPr>
                <a:xfrm>
                  <a:off x="2245724" y="5565635"/>
                  <a:ext cx="238125" cy="180975"/>
                </a:xfrm>
                <a:custGeom>
                  <a:avLst/>
                  <a:gdLst>
                    <a:gd name="connsiteX0" fmla="*/ 7144 w 238125"/>
                    <a:gd name="connsiteY0" fmla="*/ 11116 h 180975"/>
                    <a:gd name="connsiteX1" fmla="*/ 50387 w 238125"/>
                    <a:gd name="connsiteY1" fmla="*/ 11116 h 180975"/>
                    <a:gd name="connsiteX2" fmla="*/ 50387 w 238125"/>
                    <a:gd name="connsiteY2" fmla="*/ 49330 h 180975"/>
                    <a:gd name="connsiteX3" fmla="*/ 51111 w 238125"/>
                    <a:gd name="connsiteY3" fmla="*/ 49330 h 180975"/>
                    <a:gd name="connsiteX4" fmla="*/ 99956 w 238125"/>
                    <a:gd name="connsiteY4" fmla="*/ 7144 h 180975"/>
                    <a:gd name="connsiteX5" fmla="*/ 142894 w 238125"/>
                    <a:gd name="connsiteY5" fmla="*/ 47501 h 180975"/>
                    <a:gd name="connsiteX6" fmla="*/ 143637 w 238125"/>
                    <a:gd name="connsiteY6" fmla="*/ 47501 h 180975"/>
                    <a:gd name="connsiteX7" fmla="*/ 192881 w 238125"/>
                    <a:gd name="connsiteY7" fmla="*/ 7144 h 180975"/>
                    <a:gd name="connsiteX8" fmla="*/ 236153 w 238125"/>
                    <a:gd name="connsiteY8" fmla="*/ 67523 h 180975"/>
                    <a:gd name="connsiteX9" fmla="*/ 236153 w 238125"/>
                    <a:gd name="connsiteY9" fmla="*/ 181175 h 180975"/>
                    <a:gd name="connsiteX10" fmla="*/ 192881 w 238125"/>
                    <a:gd name="connsiteY10" fmla="*/ 181175 h 180975"/>
                    <a:gd name="connsiteX11" fmla="*/ 192881 w 238125"/>
                    <a:gd name="connsiteY11" fmla="*/ 70771 h 180975"/>
                    <a:gd name="connsiteX12" fmla="*/ 174688 w 238125"/>
                    <a:gd name="connsiteY12" fmla="*/ 38214 h 180975"/>
                    <a:gd name="connsiteX13" fmla="*/ 143285 w 238125"/>
                    <a:gd name="connsiteY13" fmla="*/ 104699 h 180975"/>
                    <a:gd name="connsiteX14" fmla="*/ 143285 w 238125"/>
                    <a:gd name="connsiteY14" fmla="*/ 181166 h 180975"/>
                    <a:gd name="connsiteX15" fmla="*/ 99956 w 238125"/>
                    <a:gd name="connsiteY15" fmla="*/ 181166 h 180975"/>
                    <a:gd name="connsiteX16" fmla="*/ 99956 w 238125"/>
                    <a:gd name="connsiteY16" fmla="*/ 75038 h 180975"/>
                    <a:gd name="connsiteX17" fmla="*/ 81467 w 238125"/>
                    <a:gd name="connsiteY17" fmla="*/ 38205 h 180975"/>
                    <a:gd name="connsiteX18" fmla="*/ 50387 w 238125"/>
                    <a:gd name="connsiteY18" fmla="*/ 114367 h 180975"/>
                    <a:gd name="connsiteX19" fmla="*/ 50387 w 238125"/>
                    <a:gd name="connsiteY19" fmla="*/ 181166 h 180975"/>
                    <a:gd name="connsiteX20" fmla="*/ 7144 w 238125"/>
                    <a:gd name="connsiteY20" fmla="*/ 181166 h 180975"/>
                    <a:gd name="connsiteX21" fmla="*/ 7144 w 238125"/>
                    <a:gd name="connsiteY21"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180975">
                      <a:moveTo>
                        <a:pt x="7144" y="11116"/>
                      </a:moveTo>
                      <a:lnTo>
                        <a:pt x="50387" y="11116"/>
                      </a:lnTo>
                      <a:lnTo>
                        <a:pt x="50387" y="49330"/>
                      </a:lnTo>
                      <a:lnTo>
                        <a:pt x="51111" y="49330"/>
                      </a:lnTo>
                      <a:cubicBezTo>
                        <a:pt x="55683" y="34300"/>
                        <a:pt x="69713" y="7144"/>
                        <a:pt x="99956" y="7144"/>
                      </a:cubicBezTo>
                      <a:cubicBezTo>
                        <a:pt x="131845" y="7144"/>
                        <a:pt x="140846" y="32518"/>
                        <a:pt x="142894" y="47501"/>
                      </a:cubicBezTo>
                      <a:lnTo>
                        <a:pt x="143637" y="47501"/>
                      </a:lnTo>
                      <a:cubicBezTo>
                        <a:pt x="150076" y="34290"/>
                        <a:pt x="160754" y="7144"/>
                        <a:pt x="192881" y="7144"/>
                      </a:cubicBezTo>
                      <a:cubicBezTo>
                        <a:pt x="229324" y="7144"/>
                        <a:pt x="236153" y="38576"/>
                        <a:pt x="236153" y="67523"/>
                      </a:cubicBezTo>
                      <a:lnTo>
                        <a:pt x="236153" y="181175"/>
                      </a:lnTo>
                      <a:lnTo>
                        <a:pt x="192881" y="181175"/>
                      </a:lnTo>
                      <a:lnTo>
                        <a:pt x="192881" y="70771"/>
                      </a:lnTo>
                      <a:cubicBezTo>
                        <a:pt x="192881" y="57921"/>
                        <a:pt x="190795" y="38214"/>
                        <a:pt x="174688" y="38214"/>
                      </a:cubicBezTo>
                      <a:cubicBezTo>
                        <a:pt x="145390" y="38214"/>
                        <a:pt x="143285" y="89354"/>
                        <a:pt x="143285" y="104699"/>
                      </a:cubicBezTo>
                      <a:lnTo>
                        <a:pt x="143285" y="181166"/>
                      </a:lnTo>
                      <a:lnTo>
                        <a:pt x="99956" y="181166"/>
                      </a:lnTo>
                      <a:lnTo>
                        <a:pt x="99956" y="75038"/>
                      </a:lnTo>
                      <a:cubicBezTo>
                        <a:pt x="99956" y="53931"/>
                        <a:pt x="98279" y="38205"/>
                        <a:pt x="81467" y="38205"/>
                      </a:cubicBezTo>
                      <a:cubicBezTo>
                        <a:pt x="50730" y="38205"/>
                        <a:pt x="50387" y="96812"/>
                        <a:pt x="50387" y="114367"/>
                      </a:cubicBezTo>
                      <a:lnTo>
                        <a:pt x="50387" y="181166"/>
                      </a:lnTo>
                      <a:lnTo>
                        <a:pt x="7144" y="181166"/>
                      </a:lnTo>
                      <a:lnTo>
                        <a:pt x="7144" y="11116"/>
                      </a:lnTo>
                      <a:close/>
                    </a:path>
                  </a:pathLst>
                </a:custGeom>
                <a:grpFill/>
                <a:ln w="9525" cap="flat">
                  <a:noFill/>
                  <a:prstDash val="solid"/>
                  <a:miter/>
                </a:ln>
              </p:spPr>
              <p:txBody>
                <a:bodyPr rtlCol="0" anchor="ctr"/>
                <a:lstStyle/>
                <a:p>
                  <a:endParaRPr lang="ja-JP" altLang="en-US"/>
                </a:p>
              </p:txBody>
            </p:sp>
            <p:sp>
              <p:nvSpPr>
                <p:cNvPr id="174" name="フリーフォーム: 図形 32">
                  <a:extLst>
                    <a:ext uri="{FF2B5EF4-FFF2-40B4-BE49-F238E27FC236}">
                      <a16:creationId xmlns:a16="http://schemas.microsoft.com/office/drawing/2014/main" id="{59EFE376-62AE-4634-A247-A6D254798C16}"/>
                    </a:ext>
                  </a:extLst>
                </p:cNvPr>
                <p:cNvSpPr/>
                <p:nvPr/>
              </p:nvSpPr>
              <p:spPr>
                <a:xfrm>
                  <a:off x="2571898" y="5492911"/>
                  <a:ext cx="228600" cy="257175"/>
                </a:xfrm>
                <a:custGeom>
                  <a:avLst/>
                  <a:gdLst>
                    <a:gd name="connsiteX0" fmla="*/ 92212 w 228600"/>
                    <a:gd name="connsiteY0" fmla="*/ 7144 h 257175"/>
                    <a:gd name="connsiteX1" fmla="*/ 140113 w 228600"/>
                    <a:gd name="connsiteY1" fmla="*/ 7144 h 257175"/>
                    <a:gd name="connsiteX2" fmla="*/ 225857 w 228600"/>
                    <a:gd name="connsiteY2" fmla="*/ 253889 h 257175"/>
                    <a:gd name="connsiteX3" fmla="*/ 176203 w 228600"/>
                    <a:gd name="connsiteY3" fmla="*/ 253889 h 257175"/>
                    <a:gd name="connsiteX4" fmla="*/ 154752 w 228600"/>
                    <a:gd name="connsiteY4" fmla="*/ 183842 h 257175"/>
                    <a:gd name="connsiteX5" fmla="*/ 70809 w 228600"/>
                    <a:gd name="connsiteY5" fmla="*/ 183842 h 257175"/>
                    <a:gd name="connsiteX6" fmla="*/ 48616 w 228600"/>
                    <a:gd name="connsiteY6" fmla="*/ 253889 h 257175"/>
                    <a:gd name="connsiteX7" fmla="*/ 7144 w 228600"/>
                    <a:gd name="connsiteY7" fmla="*/ 253889 h 257175"/>
                    <a:gd name="connsiteX8" fmla="*/ 92212 w 228600"/>
                    <a:gd name="connsiteY8" fmla="*/ 7144 h 257175"/>
                    <a:gd name="connsiteX9" fmla="*/ 79010 w 228600"/>
                    <a:gd name="connsiteY9" fmla="*/ 157734 h 257175"/>
                    <a:gd name="connsiteX10" fmla="*/ 146952 w 228600"/>
                    <a:gd name="connsiteY10" fmla="*/ 157734 h 257175"/>
                    <a:gd name="connsiteX11" fmla="*/ 113690 w 228600"/>
                    <a:gd name="connsiteY11" fmla="*/ 48816 h 257175"/>
                    <a:gd name="connsiteX12" fmla="*/ 112966 w 228600"/>
                    <a:gd name="connsiteY12" fmla="*/ 48816 h 257175"/>
                    <a:gd name="connsiteX13" fmla="*/ 79010 w 228600"/>
                    <a:gd name="connsiteY13" fmla="*/ 157734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257175">
                      <a:moveTo>
                        <a:pt x="92212" y="7144"/>
                      </a:moveTo>
                      <a:lnTo>
                        <a:pt x="140113" y="7144"/>
                      </a:lnTo>
                      <a:lnTo>
                        <a:pt x="225857" y="253889"/>
                      </a:lnTo>
                      <a:lnTo>
                        <a:pt x="176203" y="253889"/>
                      </a:lnTo>
                      <a:lnTo>
                        <a:pt x="154752" y="183842"/>
                      </a:lnTo>
                      <a:lnTo>
                        <a:pt x="70809" y="183842"/>
                      </a:lnTo>
                      <a:lnTo>
                        <a:pt x="48616" y="253889"/>
                      </a:lnTo>
                      <a:lnTo>
                        <a:pt x="7144" y="253889"/>
                      </a:lnTo>
                      <a:lnTo>
                        <a:pt x="92212" y="7144"/>
                      </a:lnTo>
                      <a:close/>
                      <a:moveTo>
                        <a:pt x="79010" y="157734"/>
                      </a:moveTo>
                      <a:lnTo>
                        <a:pt x="146952" y="157734"/>
                      </a:lnTo>
                      <a:lnTo>
                        <a:pt x="113690" y="48816"/>
                      </a:lnTo>
                      <a:lnTo>
                        <a:pt x="112966" y="48816"/>
                      </a:lnTo>
                      <a:lnTo>
                        <a:pt x="79010" y="157734"/>
                      </a:lnTo>
                      <a:close/>
                    </a:path>
                  </a:pathLst>
                </a:custGeom>
                <a:grpFill/>
                <a:ln w="9525" cap="flat">
                  <a:noFill/>
                  <a:prstDash val="solid"/>
                  <a:miter/>
                </a:ln>
              </p:spPr>
              <p:txBody>
                <a:bodyPr rtlCol="0" anchor="ctr"/>
                <a:lstStyle/>
                <a:p>
                  <a:endParaRPr lang="ja-JP" altLang="en-US"/>
                </a:p>
              </p:txBody>
            </p:sp>
            <p:sp>
              <p:nvSpPr>
                <p:cNvPr id="175" name="フリーフォーム: 図形 33">
                  <a:extLst>
                    <a:ext uri="{FF2B5EF4-FFF2-40B4-BE49-F238E27FC236}">
                      <a16:creationId xmlns:a16="http://schemas.microsoft.com/office/drawing/2014/main" id="{C3C61736-C33E-41E7-927C-225205AC16A2}"/>
                    </a:ext>
                  </a:extLst>
                </p:cNvPr>
                <p:cNvSpPr/>
                <p:nvPr/>
              </p:nvSpPr>
              <p:spPr>
                <a:xfrm>
                  <a:off x="2801365" y="5565625"/>
                  <a:ext cx="152400" cy="266700"/>
                </a:xfrm>
                <a:custGeom>
                  <a:avLst/>
                  <a:gdLst>
                    <a:gd name="connsiteX0" fmla="*/ 154381 w 152400"/>
                    <a:gd name="connsiteY0" fmla="*/ 186852 h 266700"/>
                    <a:gd name="connsiteX1" fmla="*/ 70409 w 152400"/>
                    <a:gd name="connsiteY1" fmla="*/ 261642 h 266700"/>
                    <a:gd name="connsiteX2" fmla="*/ 19698 w 152400"/>
                    <a:gd name="connsiteY2" fmla="*/ 254441 h 266700"/>
                    <a:gd name="connsiteX3" fmla="*/ 19698 w 152400"/>
                    <a:gd name="connsiteY3" fmla="*/ 214036 h 266700"/>
                    <a:gd name="connsiteX4" fmla="*/ 74314 w 152400"/>
                    <a:gd name="connsiteY4" fmla="*/ 237268 h 266700"/>
                    <a:gd name="connsiteX5" fmla="*/ 111109 w 152400"/>
                    <a:gd name="connsiteY5" fmla="*/ 181899 h 266700"/>
                    <a:gd name="connsiteX6" fmla="*/ 111109 w 152400"/>
                    <a:gd name="connsiteY6" fmla="*/ 156496 h 266700"/>
                    <a:gd name="connsiteX7" fmla="*/ 110442 w 152400"/>
                    <a:gd name="connsiteY7" fmla="*/ 156496 h 266700"/>
                    <a:gd name="connsiteX8" fmla="*/ 69723 w 152400"/>
                    <a:gd name="connsiteY8" fmla="*/ 181175 h 266700"/>
                    <a:gd name="connsiteX9" fmla="*/ 7144 w 152400"/>
                    <a:gd name="connsiteY9" fmla="*/ 92945 h 266700"/>
                    <a:gd name="connsiteX10" fmla="*/ 65408 w 152400"/>
                    <a:gd name="connsiteY10" fmla="*/ 7144 h 266700"/>
                    <a:gd name="connsiteX11" fmla="*/ 110452 w 152400"/>
                    <a:gd name="connsiteY11" fmla="*/ 38576 h 266700"/>
                    <a:gd name="connsiteX12" fmla="*/ 111119 w 152400"/>
                    <a:gd name="connsiteY12" fmla="*/ 38576 h 266700"/>
                    <a:gd name="connsiteX13" fmla="*/ 111119 w 152400"/>
                    <a:gd name="connsiteY13" fmla="*/ 11116 h 266700"/>
                    <a:gd name="connsiteX14" fmla="*/ 154391 w 152400"/>
                    <a:gd name="connsiteY14" fmla="*/ 11116 h 266700"/>
                    <a:gd name="connsiteX15" fmla="*/ 154391 w 152400"/>
                    <a:gd name="connsiteY15" fmla="*/ 186852 h 266700"/>
                    <a:gd name="connsiteX16" fmla="*/ 82905 w 152400"/>
                    <a:gd name="connsiteY16" fmla="*/ 156505 h 266700"/>
                    <a:gd name="connsiteX17" fmla="*/ 109004 w 152400"/>
                    <a:gd name="connsiteY17" fmla="*/ 96831 h 266700"/>
                    <a:gd name="connsiteX18" fmla="*/ 82572 w 152400"/>
                    <a:gd name="connsiteY18" fmla="*/ 33957 h 266700"/>
                    <a:gd name="connsiteX19" fmla="*/ 53940 w 152400"/>
                    <a:gd name="connsiteY19" fmla="*/ 95764 h 266700"/>
                    <a:gd name="connsiteX20" fmla="*/ 82905 w 152400"/>
                    <a:gd name="connsiteY20" fmla="*/ 15650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400" h="266700">
                      <a:moveTo>
                        <a:pt x="154381" y="186852"/>
                      </a:moveTo>
                      <a:cubicBezTo>
                        <a:pt x="154381" y="229134"/>
                        <a:pt x="137246" y="261642"/>
                        <a:pt x="70409" y="261642"/>
                      </a:cubicBezTo>
                      <a:cubicBezTo>
                        <a:pt x="45739" y="261642"/>
                        <a:pt x="30413" y="257289"/>
                        <a:pt x="19698" y="254441"/>
                      </a:cubicBezTo>
                      <a:lnTo>
                        <a:pt x="19698" y="214036"/>
                      </a:lnTo>
                      <a:cubicBezTo>
                        <a:pt x="28632" y="220828"/>
                        <a:pt x="51120" y="237268"/>
                        <a:pt x="74314" y="237268"/>
                      </a:cubicBezTo>
                      <a:cubicBezTo>
                        <a:pt x="107575" y="237268"/>
                        <a:pt x="111109" y="213360"/>
                        <a:pt x="111109" y="181899"/>
                      </a:cubicBezTo>
                      <a:lnTo>
                        <a:pt x="111109" y="156496"/>
                      </a:lnTo>
                      <a:lnTo>
                        <a:pt x="110442" y="156496"/>
                      </a:lnTo>
                      <a:cubicBezTo>
                        <a:pt x="104299" y="167631"/>
                        <a:pt x="96469" y="181175"/>
                        <a:pt x="69723" y="181175"/>
                      </a:cubicBezTo>
                      <a:cubicBezTo>
                        <a:pt x="23565" y="181175"/>
                        <a:pt x="7144" y="145094"/>
                        <a:pt x="7144" y="92945"/>
                      </a:cubicBezTo>
                      <a:cubicBezTo>
                        <a:pt x="7144" y="49663"/>
                        <a:pt x="21822" y="7144"/>
                        <a:pt x="65408" y="7144"/>
                      </a:cubicBezTo>
                      <a:cubicBezTo>
                        <a:pt x="92183" y="7144"/>
                        <a:pt x="103679" y="26460"/>
                        <a:pt x="110452" y="38576"/>
                      </a:cubicBezTo>
                      <a:lnTo>
                        <a:pt x="111119" y="38576"/>
                      </a:lnTo>
                      <a:lnTo>
                        <a:pt x="111119" y="11116"/>
                      </a:lnTo>
                      <a:lnTo>
                        <a:pt x="154391" y="11116"/>
                      </a:lnTo>
                      <a:lnTo>
                        <a:pt x="154391" y="186852"/>
                      </a:lnTo>
                      <a:close/>
                      <a:moveTo>
                        <a:pt x="82905" y="156505"/>
                      </a:moveTo>
                      <a:cubicBezTo>
                        <a:pt x="109004" y="156505"/>
                        <a:pt x="109004" y="119015"/>
                        <a:pt x="109004" y="96831"/>
                      </a:cubicBezTo>
                      <a:cubicBezTo>
                        <a:pt x="109004" y="71095"/>
                        <a:pt x="107870" y="33957"/>
                        <a:pt x="82572" y="33957"/>
                      </a:cubicBezTo>
                      <a:cubicBezTo>
                        <a:pt x="57140" y="33957"/>
                        <a:pt x="53940" y="70771"/>
                        <a:pt x="53940" y="95764"/>
                      </a:cubicBezTo>
                      <a:cubicBezTo>
                        <a:pt x="53940" y="119329"/>
                        <a:pt x="57140" y="156505"/>
                        <a:pt x="82905" y="156505"/>
                      </a:cubicBezTo>
                      <a:close/>
                    </a:path>
                  </a:pathLst>
                </a:custGeom>
                <a:grpFill/>
                <a:ln w="9525" cap="flat">
                  <a:noFill/>
                  <a:prstDash val="solid"/>
                  <a:miter/>
                </a:ln>
              </p:spPr>
              <p:txBody>
                <a:bodyPr rtlCol="0" anchor="ctr"/>
                <a:lstStyle/>
                <a:p>
                  <a:endParaRPr lang="ja-JP" altLang="en-US"/>
                </a:p>
              </p:txBody>
            </p:sp>
            <p:sp>
              <p:nvSpPr>
                <p:cNvPr id="176" name="フリーフォーム: 図形 34">
                  <a:extLst>
                    <a:ext uri="{FF2B5EF4-FFF2-40B4-BE49-F238E27FC236}">
                      <a16:creationId xmlns:a16="http://schemas.microsoft.com/office/drawing/2014/main" id="{3CE9F15D-60F2-4475-AA2C-8D49200365A4}"/>
                    </a:ext>
                  </a:extLst>
                </p:cNvPr>
                <p:cNvSpPr/>
                <p:nvPr/>
              </p:nvSpPr>
              <p:spPr>
                <a:xfrm>
                  <a:off x="2982530" y="5565625"/>
                  <a:ext cx="152400" cy="190500"/>
                </a:xfrm>
                <a:custGeom>
                  <a:avLst/>
                  <a:gdLst>
                    <a:gd name="connsiteX0" fmla="*/ 148685 w 152400"/>
                    <a:gd name="connsiteY0" fmla="*/ 173345 h 190500"/>
                    <a:gd name="connsiteX1" fmla="*/ 93659 w 152400"/>
                    <a:gd name="connsiteY1" fmla="*/ 185099 h 190500"/>
                    <a:gd name="connsiteX2" fmla="*/ 7144 w 152400"/>
                    <a:gd name="connsiteY2" fmla="*/ 88259 h 190500"/>
                    <a:gd name="connsiteX3" fmla="*/ 82887 w 152400"/>
                    <a:gd name="connsiteY3" fmla="*/ 7144 h 190500"/>
                    <a:gd name="connsiteX4" fmla="*/ 151847 w 152400"/>
                    <a:gd name="connsiteY4" fmla="*/ 71085 h 190500"/>
                    <a:gd name="connsiteX5" fmla="*/ 151847 w 152400"/>
                    <a:gd name="connsiteY5" fmla="*/ 77581 h 190500"/>
                    <a:gd name="connsiteX6" fmla="*/ 50387 w 152400"/>
                    <a:gd name="connsiteY6" fmla="*/ 77581 h 190500"/>
                    <a:gd name="connsiteX7" fmla="*/ 115462 w 152400"/>
                    <a:gd name="connsiteY7" fmla="*/ 162973 h 190500"/>
                    <a:gd name="connsiteX8" fmla="*/ 148685 w 152400"/>
                    <a:gd name="connsiteY8" fmla="*/ 155486 h 190500"/>
                    <a:gd name="connsiteX9" fmla="*/ 148685 w 152400"/>
                    <a:gd name="connsiteY9" fmla="*/ 173345 h 190500"/>
                    <a:gd name="connsiteX10" fmla="*/ 110128 w 152400"/>
                    <a:gd name="connsiteY10" fmla="*/ 59684 h 190500"/>
                    <a:gd name="connsiteX11" fmla="*/ 81534 w 152400"/>
                    <a:gd name="connsiteY11" fmla="*/ 23965 h 190500"/>
                    <a:gd name="connsiteX12" fmla="*/ 50387 w 152400"/>
                    <a:gd name="connsiteY12" fmla="*/ 59684 h 190500"/>
                    <a:gd name="connsiteX13" fmla="*/ 110128 w 152400"/>
                    <a:gd name="connsiteY13" fmla="*/ 5968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90500">
                      <a:moveTo>
                        <a:pt x="148685" y="173345"/>
                      </a:moveTo>
                      <a:cubicBezTo>
                        <a:pt x="129359" y="181527"/>
                        <a:pt x="118681" y="185099"/>
                        <a:pt x="93659" y="185099"/>
                      </a:cubicBezTo>
                      <a:cubicBezTo>
                        <a:pt x="48920" y="185099"/>
                        <a:pt x="7144" y="159420"/>
                        <a:pt x="7144" y="88259"/>
                      </a:cubicBezTo>
                      <a:cubicBezTo>
                        <a:pt x="7144" y="41424"/>
                        <a:pt x="26794" y="7144"/>
                        <a:pt x="82887" y="7144"/>
                      </a:cubicBezTo>
                      <a:cubicBezTo>
                        <a:pt x="130083" y="7144"/>
                        <a:pt x="151847" y="32176"/>
                        <a:pt x="151847" y="71085"/>
                      </a:cubicBezTo>
                      <a:lnTo>
                        <a:pt x="151847" y="77581"/>
                      </a:lnTo>
                      <a:lnTo>
                        <a:pt x="50387" y="77581"/>
                      </a:lnTo>
                      <a:cubicBezTo>
                        <a:pt x="50387" y="106499"/>
                        <a:pt x="66856" y="162973"/>
                        <a:pt x="115462" y="162973"/>
                      </a:cubicBezTo>
                      <a:cubicBezTo>
                        <a:pt x="126844" y="162973"/>
                        <a:pt x="138322" y="159420"/>
                        <a:pt x="148685" y="155486"/>
                      </a:cubicBezTo>
                      <a:lnTo>
                        <a:pt x="148685" y="173345"/>
                      </a:lnTo>
                      <a:close/>
                      <a:moveTo>
                        <a:pt x="110128" y="59684"/>
                      </a:moveTo>
                      <a:cubicBezTo>
                        <a:pt x="110128" y="47520"/>
                        <a:pt x="105070" y="23965"/>
                        <a:pt x="81534" y="23965"/>
                      </a:cubicBezTo>
                      <a:cubicBezTo>
                        <a:pt x="56512" y="23965"/>
                        <a:pt x="51473" y="51873"/>
                        <a:pt x="50387" y="59684"/>
                      </a:cubicBezTo>
                      <a:lnTo>
                        <a:pt x="110128" y="59684"/>
                      </a:lnTo>
                      <a:close/>
                    </a:path>
                  </a:pathLst>
                </a:custGeom>
                <a:grpFill/>
                <a:ln w="9525" cap="flat">
                  <a:noFill/>
                  <a:prstDash val="solid"/>
                  <a:miter/>
                </a:ln>
              </p:spPr>
              <p:txBody>
                <a:bodyPr rtlCol="0" anchor="ctr"/>
                <a:lstStyle/>
                <a:p>
                  <a:endParaRPr lang="ja-JP" altLang="en-US"/>
                </a:p>
              </p:txBody>
            </p:sp>
            <p:sp>
              <p:nvSpPr>
                <p:cNvPr id="177" name="フリーフォーム: 図形 35">
                  <a:extLst>
                    <a:ext uri="{FF2B5EF4-FFF2-40B4-BE49-F238E27FC236}">
                      <a16:creationId xmlns:a16="http://schemas.microsoft.com/office/drawing/2014/main" id="{08E314C1-6C82-419E-A9F6-72E96B6F3BFE}"/>
                    </a:ext>
                  </a:extLst>
                </p:cNvPr>
                <p:cNvSpPr/>
                <p:nvPr/>
              </p:nvSpPr>
              <p:spPr>
                <a:xfrm>
                  <a:off x="3161905" y="5565635"/>
                  <a:ext cx="152400" cy="180975"/>
                </a:xfrm>
                <a:custGeom>
                  <a:avLst/>
                  <a:gdLst>
                    <a:gd name="connsiteX0" fmla="*/ 7153 w 152400"/>
                    <a:gd name="connsiteY0" fmla="*/ 11116 h 180975"/>
                    <a:gd name="connsiteX1" fmla="*/ 50444 w 152400"/>
                    <a:gd name="connsiteY1" fmla="*/ 11116 h 180975"/>
                    <a:gd name="connsiteX2" fmla="*/ 50444 w 152400"/>
                    <a:gd name="connsiteY2" fmla="*/ 49330 h 180975"/>
                    <a:gd name="connsiteX3" fmla="*/ 51054 w 152400"/>
                    <a:gd name="connsiteY3" fmla="*/ 49330 h 180975"/>
                    <a:gd name="connsiteX4" fmla="*/ 106880 w 152400"/>
                    <a:gd name="connsiteY4" fmla="*/ 7144 h 180975"/>
                    <a:gd name="connsiteX5" fmla="*/ 149742 w 152400"/>
                    <a:gd name="connsiteY5" fmla="*/ 63951 h 180975"/>
                    <a:gd name="connsiteX6" fmla="*/ 149742 w 152400"/>
                    <a:gd name="connsiteY6" fmla="*/ 181175 h 180975"/>
                    <a:gd name="connsiteX7" fmla="*/ 106490 w 152400"/>
                    <a:gd name="connsiteY7" fmla="*/ 181175 h 180975"/>
                    <a:gd name="connsiteX8" fmla="*/ 106490 w 152400"/>
                    <a:gd name="connsiteY8" fmla="*/ 75047 h 180975"/>
                    <a:gd name="connsiteX9" fmla="*/ 87887 w 152400"/>
                    <a:gd name="connsiteY9" fmla="*/ 38214 h 180975"/>
                    <a:gd name="connsiteX10" fmla="*/ 50435 w 152400"/>
                    <a:gd name="connsiteY10" fmla="*/ 114376 h 180975"/>
                    <a:gd name="connsiteX11" fmla="*/ 50435 w 152400"/>
                    <a:gd name="connsiteY11" fmla="*/ 181175 h 180975"/>
                    <a:gd name="connsiteX12" fmla="*/ 7144 w 152400"/>
                    <a:gd name="connsiteY12" fmla="*/ 181175 h 180975"/>
                    <a:gd name="connsiteX13" fmla="*/ 7144 w 152400"/>
                    <a:gd name="connsiteY13"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7153" y="11116"/>
                      </a:moveTo>
                      <a:lnTo>
                        <a:pt x="50444" y="11116"/>
                      </a:lnTo>
                      <a:lnTo>
                        <a:pt x="50444" y="49330"/>
                      </a:lnTo>
                      <a:lnTo>
                        <a:pt x="51054" y="49330"/>
                      </a:lnTo>
                      <a:cubicBezTo>
                        <a:pt x="57922" y="35433"/>
                        <a:pt x="71799" y="7144"/>
                        <a:pt x="106880" y="7144"/>
                      </a:cubicBezTo>
                      <a:cubicBezTo>
                        <a:pt x="138674" y="7144"/>
                        <a:pt x="149742" y="27889"/>
                        <a:pt x="149742" y="63951"/>
                      </a:cubicBezTo>
                      <a:lnTo>
                        <a:pt x="149742" y="181175"/>
                      </a:lnTo>
                      <a:lnTo>
                        <a:pt x="106490" y="181175"/>
                      </a:lnTo>
                      <a:lnTo>
                        <a:pt x="106490" y="75047"/>
                      </a:lnTo>
                      <a:cubicBezTo>
                        <a:pt x="106490" y="53940"/>
                        <a:pt x="104718" y="38214"/>
                        <a:pt x="87887" y="38214"/>
                      </a:cubicBezTo>
                      <a:cubicBezTo>
                        <a:pt x="57560" y="38214"/>
                        <a:pt x="50435" y="87182"/>
                        <a:pt x="50435" y="114376"/>
                      </a:cubicBezTo>
                      <a:lnTo>
                        <a:pt x="50435" y="181175"/>
                      </a:lnTo>
                      <a:lnTo>
                        <a:pt x="7144" y="181175"/>
                      </a:lnTo>
                      <a:lnTo>
                        <a:pt x="7144" y="11116"/>
                      </a:lnTo>
                      <a:close/>
                    </a:path>
                  </a:pathLst>
                </a:custGeom>
                <a:grpFill/>
                <a:ln w="9525" cap="flat">
                  <a:noFill/>
                  <a:prstDash val="solid"/>
                  <a:miter/>
                </a:ln>
              </p:spPr>
              <p:txBody>
                <a:bodyPr rtlCol="0" anchor="ctr"/>
                <a:lstStyle/>
                <a:p>
                  <a:endParaRPr lang="ja-JP" altLang="en-US"/>
                </a:p>
              </p:txBody>
            </p:sp>
            <p:sp>
              <p:nvSpPr>
                <p:cNvPr id="178" name="フリーフォーム: 図形 36">
                  <a:extLst>
                    <a:ext uri="{FF2B5EF4-FFF2-40B4-BE49-F238E27FC236}">
                      <a16:creationId xmlns:a16="http://schemas.microsoft.com/office/drawing/2014/main" id="{E5E35256-9F7D-4F87-895A-45A390F4C73D}"/>
                    </a:ext>
                  </a:extLst>
                </p:cNvPr>
                <p:cNvSpPr/>
                <p:nvPr/>
              </p:nvSpPr>
              <p:spPr>
                <a:xfrm>
                  <a:off x="3339851" y="5565635"/>
                  <a:ext cx="152400" cy="190500"/>
                </a:xfrm>
                <a:custGeom>
                  <a:avLst/>
                  <a:gdLst>
                    <a:gd name="connsiteX0" fmla="*/ 148686 w 152400"/>
                    <a:gd name="connsiteY0" fmla="*/ 174765 h 190500"/>
                    <a:gd name="connsiteX1" fmla="*/ 95774 w 152400"/>
                    <a:gd name="connsiteY1" fmla="*/ 185090 h 190500"/>
                    <a:gd name="connsiteX2" fmla="*/ 7144 w 152400"/>
                    <a:gd name="connsiteY2" fmla="*/ 89354 h 190500"/>
                    <a:gd name="connsiteX3" fmla="*/ 83991 w 152400"/>
                    <a:gd name="connsiteY3" fmla="*/ 7144 h 190500"/>
                    <a:gd name="connsiteX4" fmla="*/ 149771 w 152400"/>
                    <a:gd name="connsiteY4" fmla="*/ 68637 h 190500"/>
                    <a:gd name="connsiteX5" fmla="*/ 103613 w 152400"/>
                    <a:gd name="connsiteY5" fmla="*/ 68637 h 190500"/>
                    <a:gd name="connsiteX6" fmla="*/ 82182 w 152400"/>
                    <a:gd name="connsiteY6" fmla="*/ 23955 h 190500"/>
                    <a:gd name="connsiteX7" fmla="*/ 53921 w 152400"/>
                    <a:gd name="connsiteY7" fmla="*/ 74705 h 190500"/>
                    <a:gd name="connsiteX8" fmla="*/ 115110 w 152400"/>
                    <a:gd name="connsiteY8" fmla="*/ 162973 h 190500"/>
                    <a:gd name="connsiteX9" fmla="*/ 148667 w 152400"/>
                    <a:gd name="connsiteY9" fmla="*/ 156496 h 190500"/>
                    <a:gd name="connsiteX10" fmla="*/ 148667 w 152400"/>
                    <a:gd name="connsiteY10" fmla="*/ 1747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400" h="190500">
                      <a:moveTo>
                        <a:pt x="148686" y="174765"/>
                      </a:moveTo>
                      <a:cubicBezTo>
                        <a:pt x="131179" y="181175"/>
                        <a:pt x="117596" y="185090"/>
                        <a:pt x="95774" y="185090"/>
                      </a:cubicBezTo>
                      <a:cubicBezTo>
                        <a:pt x="46063" y="185090"/>
                        <a:pt x="7144" y="157572"/>
                        <a:pt x="7144" y="89354"/>
                      </a:cubicBezTo>
                      <a:cubicBezTo>
                        <a:pt x="7144" y="40405"/>
                        <a:pt x="30785" y="7144"/>
                        <a:pt x="83991" y="7144"/>
                      </a:cubicBezTo>
                      <a:cubicBezTo>
                        <a:pt x="134351" y="7144"/>
                        <a:pt x="149771" y="30004"/>
                        <a:pt x="149771" y="68637"/>
                      </a:cubicBezTo>
                      <a:lnTo>
                        <a:pt x="103613" y="68637"/>
                      </a:lnTo>
                      <a:cubicBezTo>
                        <a:pt x="103613" y="38576"/>
                        <a:pt x="100784" y="23955"/>
                        <a:pt x="82182" y="23955"/>
                      </a:cubicBezTo>
                      <a:cubicBezTo>
                        <a:pt x="62551" y="23955"/>
                        <a:pt x="53921" y="50349"/>
                        <a:pt x="53921" y="74705"/>
                      </a:cubicBezTo>
                      <a:cubicBezTo>
                        <a:pt x="53921" y="119005"/>
                        <a:pt x="76115" y="162973"/>
                        <a:pt x="115110" y="162973"/>
                      </a:cubicBezTo>
                      <a:cubicBezTo>
                        <a:pt x="128264" y="162973"/>
                        <a:pt x="138256" y="160096"/>
                        <a:pt x="148667" y="156496"/>
                      </a:cubicBezTo>
                      <a:lnTo>
                        <a:pt x="148667" y="174765"/>
                      </a:lnTo>
                      <a:close/>
                    </a:path>
                  </a:pathLst>
                </a:custGeom>
                <a:grpFill/>
                <a:ln w="9525" cap="flat">
                  <a:noFill/>
                  <a:prstDash val="solid"/>
                  <a:miter/>
                </a:ln>
              </p:spPr>
              <p:txBody>
                <a:bodyPr rtlCol="0" anchor="ctr"/>
                <a:lstStyle/>
                <a:p>
                  <a:endParaRPr lang="ja-JP" altLang="en-US"/>
                </a:p>
              </p:txBody>
            </p:sp>
            <p:sp>
              <p:nvSpPr>
                <p:cNvPr id="179" name="フリーフォーム: 図形 37">
                  <a:extLst>
                    <a:ext uri="{FF2B5EF4-FFF2-40B4-BE49-F238E27FC236}">
                      <a16:creationId xmlns:a16="http://schemas.microsoft.com/office/drawing/2014/main" id="{CB79EAEC-6B0D-4C5B-AD2F-18C2335E2E11}"/>
                    </a:ext>
                  </a:extLst>
                </p:cNvPr>
                <p:cNvSpPr/>
                <p:nvPr/>
              </p:nvSpPr>
              <p:spPr>
                <a:xfrm>
                  <a:off x="3499938" y="5569606"/>
                  <a:ext cx="171450" cy="257175"/>
                </a:xfrm>
                <a:custGeom>
                  <a:avLst/>
                  <a:gdLst>
                    <a:gd name="connsiteX0" fmla="*/ 70809 w 171450"/>
                    <a:gd name="connsiteY0" fmla="*/ 179727 h 257175"/>
                    <a:gd name="connsiteX1" fmla="*/ 7144 w 171450"/>
                    <a:gd name="connsiteY1" fmla="*/ 7144 h 257175"/>
                    <a:gd name="connsiteX2" fmla="*/ 51454 w 171450"/>
                    <a:gd name="connsiteY2" fmla="*/ 7144 h 257175"/>
                    <a:gd name="connsiteX3" fmla="*/ 90097 w 171450"/>
                    <a:gd name="connsiteY3" fmla="*/ 123225 h 257175"/>
                    <a:gd name="connsiteX4" fmla="*/ 90726 w 171450"/>
                    <a:gd name="connsiteY4" fmla="*/ 123225 h 257175"/>
                    <a:gd name="connsiteX5" fmla="*/ 130445 w 171450"/>
                    <a:gd name="connsiteY5" fmla="*/ 7144 h 257175"/>
                    <a:gd name="connsiteX6" fmla="*/ 165497 w 171450"/>
                    <a:gd name="connsiteY6" fmla="*/ 7144 h 257175"/>
                    <a:gd name="connsiteX7" fmla="*/ 80363 w 171450"/>
                    <a:gd name="connsiteY7" fmla="*/ 253689 h 257175"/>
                    <a:gd name="connsiteX8" fmla="*/ 45387 w 171450"/>
                    <a:gd name="connsiteY8" fmla="*/ 253689 h 257175"/>
                    <a:gd name="connsiteX9" fmla="*/ 70809 w 171450"/>
                    <a:gd name="connsiteY9" fmla="*/ 17972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257175">
                      <a:moveTo>
                        <a:pt x="70809" y="179727"/>
                      </a:moveTo>
                      <a:lnTo>
                        <a:pt x="7144" y="7144"/>
                      </a:lnTo>
                      <a:lnTo>
                        <a:pt x="51454" y="7144"/>
                      </a:lnTo>
                      <a:lnTo>
                        <a:pt x="90097" y="123225"/>
                      </a:lnTo>
                      <a:lnTo>
                        <a:pt x="90726" y="123225"/>
                      </a:lnTo>
                      <a:lnTo>
                        <a:pt x="130445" y="7144"/>
                      </a:lnTo>
                      <a:lnTo>
                        <a:pt x="165497" y="7144"/>
                      </a:lnTo>
                      <a:lnTo>
                        <a:pt x="80363" y="253689"/>
                      </a:lnTo>
                      <a:lnTo>
                        <a:pt x="45387" y="253689"/>
                      </a:lnTo>
                      <a:lnTo>
                        <a:pt x="70809" y="179727"/>
                      </a:lnTo>
                      <a:close/>
                    </a:path>
                  </a:pathLst>
                </a:custGeom>
                <a:grpFill/>
                <a:ln w="9525" cap="flat">
                  <a:noFill/>
                  <a:prstDash val="solid"/>
                  <a:miter/>
                </a:ln>
              </p:spPr>
              <p:txBody>
                <a:bodyPr rtlCol="0" anchor="ctr"/>
                <a:lstStyle/>
                <a:p>
                  <a:endParaRPr lang="ja-JP" altLang="en-US"/>
                </a:p>
              </p:txBody>
            </p:sp>
          </p:grpSp>
          <p:grpSp>
            <p:nvGrpSpPr>
              <p:cNvPr id="112" name="グループ化 111"/>
              <p:cNvGrpSpPr>
                <a:grpSpLocks noChangeAspect="1"/>
              </p:cNvGrpSpPr>
              <p:nvPr userDrawn="1"/>
            </p:nvGrpSpPr>
            <p:grpSpPr>
              <a:xfrm>
                <a:off x="2534400" y="6660000"/>
                <a:ext cx="3564000" cy="150760"/>
                <a:chOff x="427811" y="5856214"/>
                <a:chExt cx="3229242" cy="136598"/>
              </a:xfrm>
              <a:solidFill>
                <a:schemeClr val="bg1"/>
              </a:solidFill>
            </p:grpSpPr>
            <p:sp>
              <p:nvSpPr>
                <p:cNvPr id="113" name="フリーフォーム: 図形 38">
                  <a:extLst>
                    <a:ext uri="{FF2B5EF4-FFF2-40B4-BE49-F238E27FC236}">
                      <a16:creationId xmlns:a16="http://schemas.microsoft.com/office/drawing/2014/main" id="{87782128-FA2B-4515-862B-93F408EA171B}"/>
                    </a:ext>
                  </a:extLst>
                </p:cNvPr>
                <p:cNvSpPr/>
                <p:nvPr/>
              </p:nvSpPr>
              <p:spPr>
                <a:xfrm>
                  <a:off x="427811" y="5857776"/>
                  <a:ext cx="104775" cy="104775"/>
                </a:xfrm>
                <a:custGeom>
                  <a:avLst/>
                  <a:gdLst>
                    <a:gd name="connsiteX0" fmla="*/ 7144 w 104775"/>
                    <a:gd name="connsiteY0" fmla="*/ 7144 h 104775"/>
                    <a:gd name="connsiteX1" fmla="*/ 27946 w 104775"/>
                    <a:gd name="connsiteY1" fmla="*/ 7144 h 104775"/>
                    <a:gd name="connsiteX2" fmla="*/ 54959 w 104775"/>
                    <a:gd name="connsiteY2" fmla="*/ 86487 h 104775"/>
                    <a:gd name="connsiteX3" fmla="*/ 55236 w 104775"/>
                    <a:gd name="connsiteY3" fmla="*/ 86487 h 104775"/>
                    <a:gd name="connsiteX4" fmla="*/ 82401 w 104775"/>
                    <a:gd name="connsiteY4" fmla="*/ 7144 h 104775"/>
                    <a:gd name="connsiteX5" fmla="*/ 102480 w 104775"/>
                    <a:gd name="connsiteY5" fmla="*/ 7144 h 104775"/>
                    <a:gd name="connsiteX6" fmla="*/ 102480 w 104775"/>
                    <a:gd name="connsiteY6" fmla="*/ 104737 h 104775"/>
                    <a:gd name="connsiteX7" fmla="*/ 88478 w 104775"/>
                    <a:gd name="connsiteY7" fmla="*/ 104737 h 104775"/>
                    <a:gd name="connsiteX8" fmla="*/ 88478 w 104775"/>
                    <a:gd name="connsiteY8" fmla="*/ 20421 h 104775"/>
                    <a:gd name="connsiteX9" fmla="*/ 88192 w 104775"/>
                    <a:gd name="connsiteY9" fmla="*/ 20421 h 104775"/>
                    <a:gd name="connsiteX10" fmla="*/ 59627 w 104775"/>
                    <a:gd name="connsiteY10" fmla="*/ 104737 h 104775"/>
                    <a:gd name="connsiteX11" fmla="*/ 47730 w 104775"/>
                    <a:gd name="connsiteY11" fmla="*/ 104737 h 104775"/>
                    <a:gd name="connsiteX12" fmla="*/ 19164 w 104775"/>
                    <a:gd name="connsiteY12" fmla="*/ 20421 h 104775"/>
                    <a:gd name="connsiteX13" fmla="*/ 18879 w 104775"/>
                    <a:gd name="connsiteY13" fmla="*/ 20421 h 104775"/>
                    <a:gd name="connsiteX14" fmla="*/ 18879 w 104775"/>
                    <a:gd name="connsiteY14" fmla="*/ 104737 h 104775"/>
                    <a:gd name="connsiteX15" fmla="*/ 7144 w 104775"/>
                    <a:gd name="connsiteY15" fmla="*/ 104737 h 104775"/>
                    <a:gd name="connsiteX16" fmla="*/ 7144 w 104775"/>
                    <a:gd name="connsiteY16"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7144" y="7144"/>
                      </a:moveTo>
                      <a:lnTo>
                        <a:pt x="27946" y="7144"/>
                      </a:lnTo>
                      <a:lnTo>
                        <a:pt x="54959" y="86487"/>
                      </a:lnTo>
                      <a:lnTo>
                        <a:pt x="55236" y="86487"/>
                      </a:lnTo>
                      <a:lnTo>
                        <a:pt x="82401" y="7144"/>
                      </a:lnTo>
                      <a:lnTo>
                        <a:pt x="102480" y="7144"/>
                      </a:lnTo>
                      <a:lnTo>
                        <a:pt x="102480" y="104737"/>
                      </a:lnTo>
                      <a:lnTo>
                        <a:pt x="88478" y="104737"/>
                      </a:lnTo>
                      <a:lnTo>
                        <a:pt x="88478" y="20421"/>
                      </a:lnTo>
                      <a:lnTo>
                        <a:pt x="88192" y="20421"/>
                      </a:lnTo>
                      <a:lnTo>
                        <a:pt x="59627" y="104737"/>
                      </a:lnTo>
                      <a:lnTo>
                        <a:pt x="47730" y="104737"/>
                      </a:lnTo>
                      <a:lnTo>
                        <a:pt x="19164" y="20421"/>
                      </a:lnTo>
                      <a:lnTo>
                        <a:pt x="18879" y="20421"/>
                      </a:lnTo>
                      <a:lnTo>
                        <a:pt x="18879" y="104737"/>
                      </a:lnTo>
                      <a:lnTo>
                        <a:pt x="7144" y="104737"/>
                      </a:lnTo>
                      <a:lnTo>
                        <a:pt x="7144" y="7144"/>
                      </a:lnTo>
                      <a:close/>
                    </a:path>
                  </a:pathLst>
                </a:custGeom>
                <a:grpFill/>
                <a:ln w="9525" cap="flat">
                  <a:noFill/>
                  <a:prstDash val="solid"/>
                  <a:miter/>
                </a:ln>
              </p:spPr>
              <p:txBody>
                <a:bodyPr rtlCol="0" anchor="ctr"/>
                <a:lstStyle/>
                <a:p>
                  <a:endParaRPr lang="ja-JP" altLang="en-US"/>
                </a:p>
              </p:txBody>
            </p:sp>
            <p:sp>
              <p:nvSpPr>
                <p:cNvPr id="114" name="フリーフォーム: 図形 39">
                  <a:extLst>
                    <a:ext uri="{FF2B5EF4-FFF2-40B4-BE49-F238E27FC236}">
                      <a16:creationId xmlns:a16="http://schemas.microsoft.com/office/drawing/2014/main" id="{181D821C-4F2B-4BEA-86BE-0CD5A64FBF6E}"/>
                    </a:ext>
                  </a:extLst>
                </p:cNvPr>
                <p:cNvSpPr/>
                <p:nvPr/>
              </p:nvSpPr>
              <p:spPr>
                <a:xfrm>
                  <a:off x="545073" y="5857776"/>
                  <a:ext cx="28575" cy="104775"/>
                </a:xfrm>
                <a:custGeom>
                  <a:avLst/>
                  <a:gdLst>
                    <a:gd name="connsiteX0" fmla="*/ 7144 w 28575"/>
                    <a:gd name="connsiteY0" fmla="*/ 7144 h 104775"/>
                    <a:gd name="connsiteX1" fmla="*/ 22565 w 28575"/>
                    <a:gd name="connsiteY1" fmla="*/ 7144 h 104775"/>
                    <a:gd name="connsiteX2" fmla="*/ 22565 w 28575"/>
                    <a:gd name="connsiteY2" fmla="*/ 21279 h 104775"/>
                    <a:gd name="connsiteX3" fmla="*/ 7144 w 28575"/>
                    <a:gd name="connsiteY3" fmla="*/ 21279 h 104775"/>
                    <a:gd name="connsiteX4" fmla="*/ 7144 w 28575"/>
                    <a:gd name="connsiteY4" fmla="*/ 7144 h 104775"/>
                    <a:gd name="connsiteX5" fmla="*/ 7706 w 28575"/>
                    <a:gd name="connsiteY5" fmla="*/ 37405 h 104775"/>
                    <a:gd name="connsiteX6" fmla="*/ 21993 w 28575"/>
                    <a:gd name="connsiteY6" fmla="*/ 37405 h 104775"/>
                    <a:gd name="connsiteX7" fmla="*/ 21993 w 28575"/>
                    <a:gd name="connsiteY7" fmla="*/ 104727 h 104775"/>
                    <a:gd name="connsiteX8" fmla="*/ 7706 w 28575"/>
                    <a:gd name="connsiteY8" fmla="*/ 104727 h 104775"/>
                    <a:gd name="connsiteX9" fmla="*/ 7706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65" y="7144"/>
                      </a:lnTo>
                      <a:lnTo>
                        <a:pt x="22565" y="21279"/>
                      </a:lnTo>
                      <a:lnTo>
                        <a:pt x="7144" y="21279"/>
                      </a:lnTo>
                      <a:lnTo>
                        <a:pt x="7144" y="7144"/>
                      </a:lnTo>
                      <a:close/>
                      <a:moveTo>
                        <a:pt x="7706" y="37405"/>
                      </a:moveTo>
                      <a:lnTo>
                        <a:pt x="21993" y="37405"/>
                      </a:lnTo>
                      <a:lnTo>
                        <a:pt x="21993" y="104727"/>
                      </a:lnTo>
                      <a:lnTo>
                        <a:pt x="7706" y="104727"/>
                      </a:lnTo>
                      <a:lnTo>
                        <a:pt x="7706" y="37405"/>
                      </a:lnTo>
                      <a:close/>
                    </a:path>
                  </a:pathLst>
                </a:custGeom>
                <a:grpFill/>
                <a:ln w="9525" cap="flat">
                  <a:noFill/>
                  <a:prstDash val="solid"/>
                  <a:miter/>
                </a:ln>
              </p:spPr>
              <p:txBody>
                <a:bodyPr rtlCol="0" anchor="ctr"/>
                <a:lstStyle/>
                <a:p>
                  <a:endParaRPr lang="ja-JP" altLang="en-US"/>
                </a:p>
              </p:txBody>
            </p:sp>
            <p:sp>
              <p:nvSpPr>
                <p:cNvPr id="115" name="フリーフォーム: 図形 40">
                  <a:extLst>
                    <a:ext uri="{FF2B5EF4-FFF2-40B4-BE49-F238E27FC236}">
                      <a16:creationId xmlns:a16="http://schemas.microsoft.com/office/drawing/2014/main" id="{25120B74-FB56-4CE0-81F4-FDE9EC2E231D}"/>
                    </a:ext>
                  </a:extLst>
                </p:cNvPr>
                <p:cNvSpPr/>
                <p:nvPr/>
              </p:nvSpPr>
              <p:spPr>
                <a:xfrm>
                  <a:off x="581697"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0 w 66675"/>
                    <a:gd name="connsiteY4" fmla="*/ 7144 h 76200"/>
                    <a:gd name="connsiteX5" fmla="*/ 62303 w 66675"/>
                    <a:gd name="connsiteY5" fmla="*/ 26803 h 76200"/>
                    <a:gd name="connsiteX6" fmla="*/ 62303 w 66675"/>
                    <a:gd name="connsiteY6" fmla="*/ 76029 h 76200"/>
                    <a:gd name="connsiteX7" fmla="*/ 48016 w 66675"/>
                    <a:gd name="connsiteY7" fmla="*/ 76029 h 76200"/>
                    <a:gd name="connsiteX8" fmla="*/ 48016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74" y="19736"/>
                        <a:pt x="30490" y="7144"/>
                        <a:pt x="45330" y="7144"/>
                      </a:cubicBezTo>
                      <a:cubicBezTo>
                        <a:pt x="57217" y="7144"/>
                        <a:pt x="62303" y="17040"/>
                        <a:pt x="62303" y="26803"/>
                      </a:cubicBezTo>
                      <a:lnTo>
                        <a:pt x="62303" y="76029"/>
                      </a:lnTo>
                      <a:lnTo>
                        <a:pt x="48016" y="76029"/>
                      </a:lnTo>
                      <a:lnTo>
                        <a:pt x="48016" y="33871"/>
                      </a:lnTo>
                      <a:cubicBezTo>
                        <a:pt x="48016" y="25384"/>
                        <a:pt x="46739" y="17745"/>
                        <a:pt x="39529" y="17745"/>
                      </a:cubicBezTo>
                      <a:cubicBezTo>
                        <a:pt x="25384" y="17745"/>
                        <a:pt x="21431" y="39805"/>
                        <a:pt x="21431" y="48158"/>
                      </a:cubicBezTo>
                      <a:lnTo>
                        <a:pt x="21431" y="76029"/>
                      </a:lnTo>
                      <a:lnTo>
                        <a:pt x="7144" y="76029"/>
                      </a:lnTo>
                      <a:lnTo>
                        <a:pt x="7144" y="8706"/>
                      </a:lnTo>
                      <a:close/>
                    </a:path>
                  </a:pathLst>
                </a:custGeom>
                <a:grpFill/>
                <a:ln w="9525" cap="flat">
                  <a:noFill/>
                  <a:prstDash val="solid"/>
                  <a:miter/>
                </a:ln>
              </p:spPr>
              <p:txBody>
                <a:bodyPr rtlCol="0" anchor="ctr"/>
                <a:lstStyle/>
                <a:p>
                  <a:endParaRPr lang="ja-JP" altLang="en-US"/>
                </a:p>
              </p:txBody>
            </p:sp>
            <p:sp>
              <p:nvSpPr>
                <p:cNvPr id="116" name="フリーフォーム: 図形 41">
                  <a:extLst>
                    <a:ext uri="{FF2B5EF4-FFF2-40B4-BE49-F238E27FC236}">
                      <a16:creationId xmlns:a16="http://schemas.microsoft.com/office/drawing/2014/main" id="{C52114EE-9D82-4A8C-9905-57133820810F}"/>
                    </a:ext>
                  </a:extLst>
                </p:cNvPr>
                <p:cNvSpPr/>
                <p:nvPr/>
              </p:nvSpPr>
              <p:spPr>
                <a:xfrm>
                  <a:off x="657945" y="5857776"/>
                  <a:ext cx="28575" cy="104775"/>
                </a:xfrm>
                <a:custGeom>
                  <a:avLst/>
                  <a:gdLst>
                    <a:gd name="connsiteX0" fmla="*/ 7144 w 28575"/>
                    <a:gd name="connsiteY0" fmla="*/ 7144 h 104775"/>
                    <a:gd name="connsiteX1" fmla="*/ 22555 w 28575"/>
                    <a:gd name="connsiteY1" fmla="*/ 7144 h 104775"/>
                    <a:gd name="connsiteX2" fmla="*/ 22555 w 28575"/>
                    <a:gd name="connsiteY2" fmla="*/ 21279 h 104775"/>
                    <a:gd name="connsiteX3" fmla="*/ 7144 w 28575"/>
                    <a:gd name="connsiteY3" fmla="*/ 21279 h 104775"/>
                    <a:gd name="connsiteX4" fmla="*/ 7144 w 28575"/>
                    <a:gd name="connsiteY4" fmla="*/ 7144 h 104775"/>
                    <a:gd name="connsiteX5" fmla="*/ 7715 w 28575"/>
                    <a:gd name="connsiteY5" fmla="*/ 37405 h 104775"/>
                    <a:gd name="connsiteX6" fmla="*/ 22003 w 28575"/>
                    <a:gd name="connsiteY6" fmla="*/ 37405 h 104775"/>
                    <a:gd name="connsiteX7" fmla="*/ 22003 w 28575"/>
                    <a:gd name="connsiteY7" fmla="*/ 104727 h 104775"/>
                    <a:gd name="connsiteX8" fmla="*/ 7715 w 28575"/>
                    <a:gd name="connsiteY8" fmla="*/ 104727 h 104775"/>
                    <a:gd name="connsiteX9" fmla="*/ 7715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55" y="7144"/>
                      </a:lnTo>
                      <a:lnTo>
                        <a:pt x="22555" y="21279"/>
                      </a:lnTo>
                      <a:lnTo>
                        <a:pt x="7144" y="21279"/>
                      </a:lnTo>
                      <a:lnTo>
                        <a:pt x="7144" y="7144"/>
                      </a:lnTo>
                      <a:close/>
                      <a:moveTo>
                        <a:pt x="7715" y="37405"/>
                      </a:moveTo>
                      <a:lnTo>
                        <a:pt x="22003" y="37405"/>
                      </a:lnTo>
                      <a:lnTo>
                        <a:pt x="22003" y="104727"/>
                      </a:lnTo>
                      <a:lnTo>
                        <a:pt x="7715" y="104727"/>
                      </a:lnTo>
                      <a:lnTo>
                        <a:pt x="7715" y="37405"/>
                      </a:lnTo>
                      <a:close/>
                    </a:path>
                  </a:pathLst>
                </a:custGeom>
                <a:grpFill/>
                <a:ln w="9525" cap="flat">
                  <a:noFill/>
                  <a:prstDash val="solid"/>
                  <a:miter/>
                </a:ln>
              </p:spPr>
              <p:txBody>
                <a:bodyPr rtlCol="0" anchor="ctr"/>
                <a:lstStyle/>
                <a:p>
                  <a:endParaRPr lang="ja-JP" altLang="en-US"/>
                </a:p>
              </p:txBody>
            </p:sp>
            <p:sp>
              <p:nvSpPr>
                <p:cNvPr id="117" name="フリーフォーム: 図形 42">
                  <a:extLst>
                    <a:ext uri="{FF2B5EF4-FFF2-40B4-BE49-F238E27FC236}">
                      <a16:creationId xmlns:a16="http://schemas.microsoft.com/office/drawing/2014/main" id="{1946BD77-D232-47D0-9CE8-73FB6DB59404}"/>
                    </a:ext>
                  </a:extLst>
                </p:cNvPr>
                <p:cNvSpPr/>
                <p:nvPr/>
              </p:nvSpPr>
              <p:spPr>
                <a:xfrm>
                  <a:off x="691606" y="5886465"/>
                  <a:ext cx="57150" cy="76200"/>
                </a:xfrm>
                <a:custGeom>
                  <a:avLst/>
                  <a:gdLst>
                    <a:gd name="connsiteX0" fmla="*/ 46606 w 57150"/>
                    <a:gd name="connsiteY0" fmla="*/ 22003 h 76200"/>
                    <a:gd name="connsiteX1" fmla="*/ 29642 w 57150"/>
                    <a:gd name="connsiteY1" fmla="*/ 15364 h 76200"/>
                    <a:gd name="connsiteX2" fmla="*/ 20021 w 57150"/>
                    <a:gd name="connsiteY2" fmla="*/ 22431 h 76200"/>
                    <a:gd name="connsiteX3" fmla="*/ 50854 w 57150"/>
                    <a:gd name="connsiteY3" fmla="*/ 57236 h 76200"/>
                    <a:gd name="connsiteX4" fmla="*/ 25251 w 57150"/>
                    <a:gd name="connsiteY4" fmla="*/ 77591 h 76200"/>
                    <a:gd name="connsiteX5" fmla="*/ 7277 w 57150"/>
                    <a:gd name="connsiteY5" fmla="*/ 74628 h 76200"/>
                    <a:gd name="connsiteX6" fmla="*/ 7277 w 57150"/>
                    <a:gd name="connsiteY6" fmla="*/ 61474 h 76200"/>
                    <a:gd name="connsiteX7" fmla="*/ 25946 w 57150"/>
                    <a:gd name="connsiteY7" fmla="*/ 68542 h 76200"/>
                    <a:gd name="connsiteX8" fmla="*/ 37548 w 57150"/>
                    <a:gd name="connsiteY8" fmla="*/ 60055 h 76200"/>
                    <a:gd name="connsiteX9" fmla="*/ 7144 w 57150"/>
                    <a:gd name="connsiteY9" fmla="*/ 26527 h 76200"/>
                    <a:gd name="connsiteX10" fmla="*/ 30756 w 57150"/>
                    <a:gd name="connsiteY10" fmla="*/ 7144 h 76200"/>
                    <a:gd name="connsiteX11" fmla="*/ 46596 w 57150"/>
                    <a:gd name="connsiteY11" fmla="*/ 9820 h 76200"/>
                    <a:gd name="connsiteX12" fmla="*/ 4659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06" y="22003"/>
                      </a:moveTo>
                      <a:cubicBezTo>
                        <a:pt x="41796" y="18745"/>
                        <a:pt x="36433" y="15364"/>
                        <a:pt x="29642" y="15364"/>
                      </a:cubicBezTo>
                      <a:cubicBezTo>
                        <a:pt x="25108" y="15364"/>
                        <a:pt x="20021" y="17336"/>
                        <a:pt x="20021" y="22431"/>
                      </a:cubicBezTo>
                      <a:cubicBezTo>
                        <a:pt x="20021" y="34595"/>
                        <a:pt x="50854" y="35728"/>
                        <a:pt x="50854" y="57236"/>
                      </a:cubicBezTo>
                      <a:cubicBezTo>
                        <a:pt x="50854" y="71656"/>
                        <a:pt x="39538" y="77591"/>
                        <a:pt x="25251" y="77591"/>
                      </a:cubicBezTo>
                      <a:cubicBezTo>
                        <a:pt x="16621" y="77591"/>
                        <a:pt x="10678" y="75771"/>
                        <a:pt x="7277" y="74628"/>
                      </a:cubicBezTo>
                      <a:lnTo>
                        <a:pt x="7277" y="61474"/>
                      </a:lnTo>
                      <a:cubicBezTo>
                        <a:pt x="11382" y="64303"/>
                        <a:pt x="18031" y="68542"/>
                        <a:pt x="25946" y="68542"/>
                      </a:cubicBezTo>
                      <a:cubicBezTo>
                        <a:pt x="34147" y="68542"/>
                        <a:pt x="37548" y="64303"/>
                        <a:pt x="37548" y="60055"/>
                      </a:cubicBezTo>
                      <a:cubicBezTo>
                        <a:pt x="37548" y="48168"/>
                        <a:pt x="7144" y="45768"/>
                        <a:pt x="7144" y="26527"/>
                      </a:cubicBezTo>
                      <a:cubicBezTo>
                        <a:pt x="7144" y="16335"/>
                        <a:pt x="13935" y="7144"/>
                        <a:pt x="30756" y="7144"/>
                      </a:cubicBezTo>
                      <a:cubicBezTo>
                        <a:pt x="37976" y="7144"/>
                        <a:pt x="44196" y="9115"/>
                        <a:pt x="46596" y="9820"/>
                      </a:cubicBezTo>
                      <a:lnTo>
                        <a:pt x="46596" y="22003"/>
                      </a:lnTo>
                      <a:close/>
                    </a:path>
                  </a:pathLst>
                </a:custGeom>
                <a:grpFill/>
                <a:ln w="9525" cap="flat">
                  <a:noFill/>
                  <a:prstDash val="solid"/>
                  <a:miter/>
                </a:ln>
              </p:spPr>
              <p:txBody>
                <a:bodyPr rtlCol="0" anchor="ctr"/>
                <a:lstStyle/>
                <a:p>
                  <a:endParaRPr lang="ja-JP" altLang="en-US"/>
                </a:p>
              </p:txBody>
            </p:sp>
            <p:sp>
              <p:nvSpPr>
                <p:cNvPr id="118" name="フリーフォーム: 図形 43">
                  <a:extLst>
                    <a:ext uri="{FF2B5EF4-FFF2-40B4-BE49-F238E27FC236}">
                      <a16:creationId xmlns:a16="http://schemas.microsoft.com/office/drawing/2014/main" id="{569C7674-C4FE-43AB-8495-3F6E3F81DEB1}"/>
                    </a:ext>
                  </a:extLst>
                </p:cNvPr>
                <p:cNvSpPr/>
                <p:nvPr/>
              </p:nvSpPr>
              <p:spPr>
                <a:xfrm>
                  <a:off x="745356" y="5863567"/>
                  <a:ext cx="57150" cy="104775"/>
                </a:xfrm>
                <a:custGeom>
                  <a:avLst/>
                  <a:gdLst>
                    <a:gd name="connsiteX0" fmla="*/ 49016 w 57150"/>
                    <a:gd name="connsiteY0" fmla="*/ 99498 h 104775"/>
                    <a:gd name="connsiteX1" fmla="*/ 39119 w 57150"/>
                    <a:gd name="connsiteY1" fmla="*/ 100489 h 104775"/>
                    <a:gd name="connsiteX2" fmla="*/ 17897 w 57150"/>
                    <a:gd name="connsiteY2" fmla="*/ 83372 h 104775"/>
                    <a:gd name="connsiteX3" fmla="*/ 17897 w 57150"/>
                    <a:gd name="connsiteY3" fmla="*/ 38967 h 104775"/>
                    <a:gd name="connsiteX4" fmla="*/ 7144 w 57150"/>
                    <a:gd name="connsiteY4" fmla="*/ 38967 h 104775"/>
                    <a:gd name="connsiteX5" fmla="*/ 7144 w 57150"/>
                    <a:gd name="connsiteY5" fmla="*/ 31623 h 104775"/>
                    <a:gd name="connsiteX6" fmla="*/ 17897 w 57150"/>
                    <a:gd name="connsiteY6" fmla="*/ 31623 h 104775"/>
                    <a:gd name="connsiteX7" fmla="*/ 17897 w 57150"/>
                    <a:gd name="connsiteY7" fmla="*/ 15773 h 104775"/>
                    <a:gd name="connsiteX8" fmla="*/ 32185 w 57150"/>
                    <a:gd name="connsiteY8" fmla="*/ 7144 h 104775"/>
                    <a:gd name="connsiteX9" fmla="*/ 32185 w 57150"/>
                    <a:gd name="connsiteY9" fmla="*/ 31623 h 104775"/>
                    <a:gd name="connsiteX10" fmla="*/ 50568 w 57150"/>
                    <a:gd name="connsiteY10" fmla="*/ 31623 h 104775"/>
                    <a:gd name="connsiteX11" fmla="*/ 50568 w 57150"/>
                    <a:gd name="connsiteY11" fmla="*/ 38967 h 104775"/>
                    <a:gd name="connsiteX12" fmla="*/ 32185 w 57150"/>
                    <a:gd name="connsiteY12" fmla="*/ 38967 h 104775"/>
                    <a:gd name="connsiteX13" fmla="*/ 32185 w 57150"/>
                    <a:gd name="connsiteY13" fmla="*/ 77714 h 104775"/>
                    <a:gd name="connsiteX14" fmla="*/ 42367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77" y="100489"/>
                        <a:pt x="39119" y="100489"/>
                      </a:cubicBezTo>
                      <a:cubicBezTo>
                        <a:pt x="25679" y="100489"/>
                        <a:pt x="17897" y="96393"/>
                        <a:pt x="17897" y="83372"/>
                      </a:cubicBezTo>
                      <a:lnTo>
                        <a:pt x="17897" y="38967"/>
                      </a:lnTo>
                      <a:lnTo>
                        <a:pt x="7144" y="38967"/>
                      </a:lnTo>
                      <a:lnTo>
                        <a:pt x="7144" y="31623"/>
                      </a:lnTo>
                      <a:lnTo>
                        <a:pt x="17897" y="31623"/>
                      </a:lnTo>
                      <a:lnTo>
                        <a:pt x="17897" y="15773"/>
                      </a:lnTo>
                      <a:lnTo>
                        <a:pt x="32185" y="7144"/>
                      </a:lnTo>
                      <a:lnTo>
                        <a:pt x="32185" y="31623"/>
                      </a:lnTo>
                      <a:lnTo>
                        <a:pt x="50568" y="31623"/>
                      </a:lnTo>
                      <a:lnTo>
                        <a:pt x="50568" y="38967"/>
                      </a:lnTo>
                      <a:lnTo>
                        <a:pt x="32185" y="38967"/>
                      </a:lnTo>
                      <a:lnTo>
                        <a:pt x="32185" y="77714"/>
                      </a:lnTo>
                      <a:cubicBezTo>
                        <a:pt x="32185" y="87611"/>
                        <a:pt x="33176" y="92430"/>
                        <a:pt x="42367" y="92430"/>
                      </a:cubicBezTo>
                      <a:cubicBezTo>
                        <a:pt x="44625" y="92430"/>
                        <a:pt x="47034" y="92154"/>
                        <a:pt x="49006" y="91297"/>
                      </a:cubicBezTo>
                      <a:lnTo>
                        <a:pt x="49006" y="99498"/>
                      </a:lnTo>
                      <a:close/>
                    </a:path>
                  </a:pathLst>
                </a:custGeom>
                <a:grpFill/>
                <a:ln w="9525" cap="flat">
                  <a:noFill/>
                  <a:prstDash val="solid"/>
                  <a:miter/>
                </a:ln>
              </p:spPr>
              <p:txBody>
                <a:bodyPr rtlCol="0" anchor="ctr"/>
                <a:lstStyle/>
                <a:p>
                  <a:endParaRPr lang="ja-JP" altLang="en-US"/>
                </a:p>
              </p:txBody>
            </p:sp>
            <p:sp>
              <p:nvSpPr>
                <p:cNvPr id="119" name="フリーフォーム: 図形 44">
                  <a:extLst>
                    <a:ext uri="{FF2B5EF4-FFF2-40B4-BE49-F238E27FC236}">
                      <a16:creationId xmlns:a16="http://schemas.microsoft.com/office/drawing/2014/main" id="{D7B4BAB7-53D2-4947-A138-3EA5268EF36C}"/>
                    </a:ext>
                  </a:extLst>
                </p:cNvPr>
                <p:cNvSpPr/>
                <p:nvPr/>
              </p:nvSpPr>
              <p:spPr>
                <a:xfrm>
                  <a:off x="801515"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grpFill/>
                <a:ln w="9525" cap="flat">
                  <a:noFill/>
                  <a:prstDash val="solid"/>
                  <a:miter/>
                </a:ln>
              </p:spPr>
              <p:txBody>
                <a:bodyPr rtlCol="0" anchor="ctr"/>
                <a:lstStyle/>
                <a:p>
                  <a:endParaRPr lang="ja-JP" altLang="en-US"/>
                </a:p>
              </p:txBody>
            </p:sp>
            <p:sp>
              <p:nvSpPr>
                <p:cNvPr id="120" name="フリーフォーム: 図形 45">
                  <a:extLst>
                    <a:ext uri="{FF2B5EF4-FFF2-40B4-BE49-F238E27FC236}">
                      <a16:creationId xmlns:a16="http://schemas.microsoft.com/office/drawing/2014/main" id="{359B3F44-F462-4F32-861C-4559037C36C4}"/>
                    </a:ext>
                  </a:extLst>
                </p:cNvPr>
                <p:cNvSpPr/>
                <p:nvPr/>
              </p:nvSpPr>
              <p:spPr>
                <a:xfrm>
                  <a:off x="841253" y="5888037"/>
                  <a:ext cx="76200" cy="104775"/>
                </a:xfrm>
                <a:custGeom>
                  <a:avLst/>
                  <a:gdLst>
                    <a:gd name="connsiteX0" fmla="*/ 33033 w 76200"/>
                    <a:gd name="connsiteY0" fmla="*/ 75181 h 104775"/>
                    <a:gd name="connsiteX1" fmla="*/ 7144 w 76200"/>
                    <a:gd name="connsiteY1" fmla="*/ 7144 h 104775"/>
                    <a:gd name="connsiteX2" fmla="*/ 22003 w 76200"/>
                    <a:gd name="connsiteY2" fmla="*/ 7144 h 104775"/>
                    <a:gd name="connsiteX3" fmla="*/ 39681 w 76200"/>
                    <a:gd name="connsiteY3" fmla="*/ 55235 h 104775"/>
                    <a:gd name="connsiteX4" fmla="*/ 39957 w 76200"/>
                    <a:gd name="connsiteY4" fmla="*/ 55235 h 104775"/>
                    <a:gd name="connsiteX5" fmla="*/ 55797 w 76200"/>
                    <a:gd name="connsiteY5" fmla="*/ 7144 h 104775"/>
                    <a:gd name="connsiteX6" fmla="*/ 69237 w 76200"/>
                    <a:gd name="connsiteY6" fmla="*/ 7144 h 104775"/>
                    <a:gd name="connsiteX7" fmla="*/ 34576 w 76200"/>
                    <a:gd name="connsiteY7" fmla="*/ 104737 h 104775"/>
                    <a:gd name="connsiteX8" fmla="*/ 23117 w 76200"/>
                    <a:gd name="connsiteY8" fmla="*/ 104737 h 104775"/>
                    <a:gd name="connsiteX9" fmla="*/ 33033 w 76200"/>
                    <a:gd name="connsiteY9" fmla="*/ 7518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104775">
                      <a:moveTo>
                        <a:pt x="33033" y="75181"/>
                      </a:moveTo>
                      <a:lnTo>
                        <a:pt x="7144" y="7144"/>
                      </a:lnTo>
                      <a:lnTo>
                        <a:pt x="22003" y="7144"/>
                      </a:lnTo>
                      <a:lnTo>
                        <a:pt x="39681" y="55235"/>
                      </a:lnTo>
                      <a:lnTo>
                        <a:pt x="39957" y="55235"/>
                      </a:lnTo>
                      <a:lnTo>
                        <a:pt x="55797" y="7144"/>
                      </a:lnTo>
                      <a:lnTo>
                        <a:pt x="69237" y="7144"/>
                      </a:lnTo>
                      <a:lnTo>
                        <a:pt x="34576" y="104737"/>
                      </a:lnTo>
                      <a:lnTo>
                        <a:pt x="23117" y="104737"/>
                      </a:lnTo>
                      <a:lnTo>
                        <a:pt x="33033" y="75181"/>
                      </a:lnTo>
                      <a:close/>
                    </a:path>
                  </a:pathLst>
                </a:custGeom>
                <a:grpFill/>
                <a:ln w="9525" cap="flat">
                  <a:noFill/>
                  <a:prstDash val="solid"/>
                  <a:miter/>
                </a:ln>
              </p:spPr>
              <p:txBody>
                <a:bodyPr rtlCol="0" anchor="ctr"/>
                <a:lstStyle/>
                <a:p>
                  <a:endParaRPr lang="ja-JP" altLang="en-US"/>
                </a:p>
              </p:txBody>
            </p:sp>
            <p:sp>
              <p:nvSpPr>
                <p:cNvPr id="121" name="フリーフォーム: 図形 46">
                  <a:extLst>
                    <a:ext uri="{FF2B5EF4-FFF2-40B4-BE49-F238E27FC236}">
                      <a16:creationId xmlns:a16="http://schemas.microsoft.com/office/drawing/2014/main" id="{371C8AB4-DCE5-4256-A608-0298511FB4C3}"/>
                    </a:ext>
                  </a:extLst>
                </p:cNvPr>
                <p:cNvSpPr/>
                <p:nvPr/>
              </p:nvSpPr>
              <p:spPr>
                <a:xfrm>
                  <a:off x="948762" y="5886475"/>
                  <a:ext cx="66675" cy="76200"/>
                </a:xfrm>
                <a:custGeom>
                  <a:avLst/>
                  <a:gdLst>
                    <a:gd name="connsiteX0" fmla="*/ 7144 w 66675"/>
                    <a:gd name="connsiteY0" fmla="*/ 42358 h 76200"/>
                    <a:gd name="connsiteX1" fmla="*/ 36843 w 66675"/>
                    <a:gd name="connsiteY1" fmla="*/ 7144 h 76200"/>
                    <a:gd name="connsiteX2" fmla="*/ 66694 w 66675"/>
                    <a:gd name="connsiteY2" fmla="*/ 42358 h 76200"/>
                    <a:gd name="connsiteX3" fmla="*/ 36843 w 66675"/>
                    <a:gd name="connsiteY3" fmla="*/ 77571 h 76200"/>
                    <a:gd name="connsiteX4" fmla="*/ 7144 w 66675"/>
                    <a:gd name="connsiteY4" fmla="*/ 42358 h 76200"/>
                    <a:gd name="connsiteX5" fmla="*/ 36843 w 66675"/>
                    <a:gd name="connsiteY5" fmla="*/ 71647 h 76200"/>
                    <a:gd name="connsiteX6" fmla="*/ 51130 w 66675"/>
                    <a:gd name="connsiteY6" fmla="*/ 42367 h 76200"/>
                    <a:gd name="connsiteX7" fmla="*/ 36843 w 66675"/>
                    <a:gd name="connsiteY7" fmla="*/ 13087 h 76200"/>
                    <a:gd name="connsiteX8" fmla="*/ 22708 w 66675"/>
                    <a:gd name="connsiteY8" fmla="*/ 42367 h 76200"/>
                    <a:gd name="connsiteX9" fmla="*/ 36843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40" y="7144"/>
                        <a:pt x="36843" y="7144"/>
                      </a:cubicBezTo>
                      <a:cubicBezTo>
                        <a:pt x="56645" y="7144"/>
                        <a:pt x="66694" y="19593"/>
                        <a:pt x="66694" y="42358"/>
                      </a:cubicBezTo>
                      <a:cubicBezTo>
                        <a:pt x="66694" y="65122"/>
                        <a:pt x="56645" y="77571"/>
                        <a:pt x="36843" y="77571"/>
                      </a:cubicBezTo>
                      <a:cubicBezTo>
                        <a:pt x="17040" y="77571"/>
                        <a:pt x="7144" y="65132"/>
                        <a:pt x="7144" y="42358"/>
                      </a:cubicBezTo>
                      <a:close/>
                      <a:moveTo>
                        <a:pt x="36843" y="71647"/>
                      </a:moveTo>
                      <a:cubicBezTo>
                        <a:pt x="49578" y="71647"/>
                        <a:pt x="51130" y="54683"/>
                        <a:pt x="51130" y="42367"/>
                      </a:cubicBezTo>
                      <a:cubicBezTo>
                        <a:pt x="51130" y="30070"/>
                        <a:pt x="49578" y="13087"/>
                        <a:pt x="36843" y="13087"/>
                      </a:cubicBezTo>
                      <a:cubicBezTo>
                        <a:pt x="24260" y="13087"/>
                        <a:pt x="22708" y="30070"/>
                        <a:pt x="22708" y="42367"/>
                      </a:cubicBezTo>
                      <a:cubicBezTo>
                        <a:pt x="22698" y="54673"/>
                        <a:pt x="24251" y="71647"/>
                        <a:pt x="36843" y="71647"/>
                      </a:cubicBezTo>
                      <a:close/>
                    </a:path>
                  </a:pathLst>
                </a:custGeom>
                <a:grpFill/>
                <a:ln w="9525" cap="flat">
                  <a:noFill/>
                  <a:prstDash val="solid"/>
                  <a:miter/>
                </a:ln>
              </p:spPr>
              <p:txBody>
                <a:bodyPr rtlCol="0" anchor="ctr"/>
                <a:lstStyle/>
                <a:p>
                  <a:endParaRPr lang="ja-JP" altLang="en-US"/>
                </a:p>
              </p:txBody>
            </p:sp>
            <p:sp>
              <p:nvSpPr>
                <p:cNvPr id="122" name="フリーフォーム: 図形 47">
                  <a:extLst>
                    <a:ext uri="{FF2B5EF4-FFF2-40B4-BE49-F238E27FC236}">
                      <a16:creationId xmlns:a16="http://schemas.microsoft.com/office/drawing/2014/main" id="{1FB3BF4D-5FD8-496B-8B3D-C93A4BC042E7}"/>
                    </a:ext>
                  </a:extLst>
                </p:cNvPr>
                <p:cNvSpPr/>
                <p:nvPr/>
              </p:nvSpPr>
              <p:spPr>
                <a:xfrm>
                  <a:off x="1017637" y="5856214"/>
                  <a:ext cx="57150" cy="104775"/>
                </a:xfrm>
                <a:custGeom>
                  <a:avLst/>
                  <a:gdLst>
                    <a:gd name="connsiteX0" fmla="*/ 18878 w 57150"/>
                    <a:gd name="connsiteY0" fmla="*/ 46320 h 104775"/>
                    <a:gd name="connsiteX1" fmla="*/ 7144 w 57150"/>
                    <a:gd name="connsiteY1" fmla="*/ 46320 h 104775"/>
                    <a:gd name="connsiteX2" fmla="*/ 7144 w 57150"/>
                    <a:gd name="connsiteY2" fmla="*/ 38976 h 104775"/>
                    <a:gd name="connsiteX3" fmla="*/ 18878 w 57150"/>
                    <a:gd name="connsiteY3" fmla="*/ 38976 h 104775"/>
                    <a:gd name="connsiteX4" fmla="*/ 18878 w 57150"/>
                    <a:gd name="connsiteY4" fmla="*/ 32613 h 104775"/>
                    <a:gd name="connsiteX5" fmla="*/ 44482 w 57150"/>
                    <a:gd name="connsiteY5" fmla="*/ 7144 h 104775"/>
                    <a:gd name="connsiteX6" fmla="*/ 58769 w 57150"/>
                    <a:gd name="connsiteY6" fmla="*/ 8706 h 104775"/>
                    <a:gd name="connsiteX7" fmla="*/ 58769 w 57150"/>
                    <a:gd name="connsiteY7" fmla="*/ 18450 h 104775"/>
                    <a:gd name="connsiteX8" fmla="*/ 46177 w 57150"/>
                    <a:gd name="connsiteY8" fmla="*/ 15345 h 104775"/>
                    <a:gd name="connsiteX9" fmla="*/ 33166 w 57150"/>
                    <a:gd name="connsiteY9" fmla="*/ 30899 h 104775"/>
                    <a:gd name="connsiteX10" fmla="*/ 33166 w 57150"/>
                    <a:gd name="connsiteY10" fmla="*/ 38976 h 104775"/>
                    <a:gd name="connsiteX11" fmla="*/ 52264 w 57150"/>
                    <a:gd name="connsiteY11" fmla="*/ 38976 h 104775"/>
                    <a:gd name="connsiteX12" fmla="*/ 52264 w 57150"/>
                    <a:gd name="connsiteY12" fmla="*/ 46320 h 104775"/>
                    <a:gd name="connsiteX13" fmla="*/ 33166 w 57150"/>
                    <a:gd name="connsiteY13" fmla="*/ 46320 h 104775"/>
                    <a:gd name="connsiteX14" fmla="*/ 33166 w 57150"/>
                    <a:gd name="connsiteY14" fmla="*/ 106299 h 104775"/>
                    <a:gd name="connsiteX15" fmla="*/ 18878 w 57150"/>
                    <a:gd name="connsiteY15" fmla="*/ 106299 h 104775"/>
                    <a:gd name="connsiteX16" fmla="*/ 18878 w 57150"/>
                    <a:gd name="connsiteY16" fmla="*/ 463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18878" y="46320"/>
                      </a:moveTo>
                      <a:lnTo>
                        <a:pt x="7144" y="46320"/>
                      </a:lnTo>
                      <a:lnTo>
                        <a:pt x="7144" y="38976"/>
                      </a:lnTo>
                      <a:lnTo>
                        <a:pt x="18878" y="38976"/>
                      </a:lnTo>
                      <a:lnTo>
                        <a:pt x="18878" y="32613"/>
                      </a:lnTo>
                      <a:cubicBezTo>
                        <a:pt x="18878" y="20145"/>
                        <a:pt x="21860" y="7144"/>
                        <a:pt x="44482" y="7144"/>
                      </a:cubicBezTo>
                      <a:cubicBezTo>
                        <a:pt x="50273" y="7144"/>
                        <a:pt x="55378" y="8001"/>
                        <a:pt x="58769" y="8706"/>
                      </a:cubicBezTo>
                      <a:lnTo>
                        <a:pt x="58769" y="18450"/>
                      </a:lnTo>
                      <a:cubicBezTo>
                        <a:pt x="55788" y="17183"/>
                        <a:pt x="51978" y="15345"/>
                        <a:pt x="46177" y="15345"/>
                      </a:cubicBezTo>
                      <a:cubicBezTo>
                        <a:pt x="34576" y="15345"/>
                        <a:pt x="33166" y="23698"/>
                        <a:pt x="33166" y="30899"/>
                      </a:cubicBezTo>
                      <a:lnTo>
                        <a:pt x="33166" y="38976"/>
                      </a:lnTo>
                      <a:lnTo>
                        <a:pt x="52264" y="38976"/>
                      </a:lnTo>
                      <a:lnTo>
                        <a:pt x="52264" y="46320"/>
                      </a:lnTo>
                      <a:lnTo>
                        <a:pt x="33166" y="46320"/>
                      </a:lnTo>
                      <a:lnTo>
                        <a:pt x="33166" y="106299"/>
                      </a:lnTo>
                      <a:lnTo>
                        <a:pt x="18878" y="106299"/>
                      </a:lnTo>
                      <a:lnTo>
                        <a:pt x="18878" y="46320"/>
                      </a:lnTo>
                      <a:close/>
                    </a:path>
                  </a:pathLst>
                </a:custGeom>
                <a:grpFill/>
                <a:ln w="9525" cap="flat">
                  <a:noFill/>
                  <a:prstDash val="solid"/>
                  <a:miter/>
                </a:ln>
              </p:spPr>
              <p:txBody>
                <a:bodyPr rtlCol="0" anchor="ctr"/>
                <a:lstStyle/>
                <a:p>
                  <a:endParaRPr lang="ja-JP" altLang="en-US"/>
                </a:p>
              </p:txBody>
            </p:sp>
            <p:sp>
              <p:nvSpPr>
                <p:cNvPr id="123" name="フリーフォーム: 図形 48">
                  <a:extLst>
                    <a:ext uri="{FF2B5EF4-FFF2-40B4-BE49-F238E27FC236}">
                      <a16:creationId xmlns:a16="http://schemas.microsoft.com/office/drawing/2014/main" id="{84518A65-C672-4F1E-805B-28AD874BDFD6}"/>
                    </a:ext>
                  </a:extLst>
                </p:cNvPr>
                <p:cNvSpPr/>
                <p:nvPr/>
              </p:nvSpPr>
              <p:spPr>
                <a:xfrm>
                  <a:off x="1114811" y="5857776"/>
                  <a:ext cx="57150" cy="104775"/>
                </a:xfrm>
                <a:custGeom>
                  <a:avLst/>
                  <a:gdLst>
                    <a:gd name="connsiteX0" fmla="*/ 7144 w 57150"/>
                    <a:gd name="connsiteY0" fmla="*/ 7144 h 104775"/>
                    <a:gd name="connsiteX1" fmla="*/ 22708 w 57150"/>
                    <a:gd name="connsiteY1" fmla="*/ 7144 h 104775"/>
                    <a:gd name="connsiteX2" fmla="*/ 22708 w 57150"/>
                    <a:gd name="connsiteY2" fmla="*/ 94545 h 104775"/>
                    <a:gd name="connsiteX3" fmla="*/ 58769 w 57150"/>
                    <a:gd name="connsiteY3" fmla="*/ 94545 h 104775"/>
                    <a:gd name="connsiteX4" fmla="*/ 58769 w 57150"/>
                    <a:gd name="connsiteY4" fmla="*/ 104737 h 104775"/>
                    <a:gd name="connsiteX5" fmla="*/ 7144 w 57150"/>
                    <a:gd name="connsiteY5" fmla="*/ 104737 h 104775"/>
                    <a:gd name="connsiteX6" fmla="*/ 7144 w 57150"/>
                    <a:gd name="connsiteY6"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04775">
                      <a:moveTo>
                        <a:pt x="7144" y="7144"/>
                      </a:moveTo>
                      <a:lnTo>
                        <a:pt x="22708" y="7144"/>
                      </a:lnTo>
                      <a:lnTo>
                        <a:pt x="22708" y="94545"/>
                      </a:lnTo>
                      <a:lnTo>
                        <a:pt x="58769" y="94545"/>
                      </a:lnTo>
                      <a:lnTo>
                        <a:pt x="58769" y="104737"/>
                      </a:lnTo>
                      <a:lnTo>
                        <a:pt x="7144" y="104737"/>
                      </a:lnTo>
                      <a:lnTo>
                        <a:pt x="7144" y="7144"/>
                      </a:lnTo>
                      <a:close/>
                    </a:path>
                  </a:pathLst>
                </a:custGeom>
                <a:grpFill/>
                <a:ln w="9525" cap="flat">
                  <a:noFill/>
                  <a:prstDash val="solid"/>
                  <a:miter/>
                </a:ln>
              </p:spPr>
              <p:txBody>
                <a:bodyPr rtlCol="0" anchor="ctr"/>
                <a:lstStyle/>
                <a:p>
                  <a:endParaRPr lang="ja-JP" altLang="en-US"/>
                </a:p>
              </p:txBody>
            </p:sp>
            <p:sp>
              <p:nvSpPr>
                <p:cNvPr id="124" name="フリーフォーム: 図形 49">
                  <a:extLst>
                    <a:ext uri="{FF2B5EF4-FFF2-40B4-BE49-F238E27FC236}">
                      <a16:creationId xmlns:a16="http://schemas.microsoft.com/office/drawing/2014/main" id="{83B1F61D-8BE3-4431-B0D0-4481C927DB4F}"/>
                    </a:ext>
                  </a:extLst>
                </p:cNvPr>
                <p:cNvSpPr/>
                <p:nvPr/>
              </p:nvSpPr>
              <p:spPr>
                <a:xfrm>
                  <a:off x="1172523" y="5886475"/>
                  <a:ext cx="57150" cy="76200"/>
                </a:xfrm>
                <a:custGeom>
                  <a:avLst/>
                  <a:gdLst>
                    <a:gd name="connsiteX0" fmla="*/ 44768 w 57150"/>
                    <a:gd name="connsiteY0" fmla="*/ 66694 h 76200"/>
                    <a:gd name="connsiteX1" fmla="*/ 44491 w 57150"/>
                    <a:gd name="connsiteY1" fmla="*/ 66694 h 76200"/>
                    <a:gd name="connsiteX2" fmla="*/ 25537 w 57150"/>
                    <a:gd name="connsiteY2" fmla="*/ 77581 h 76200"/>
                    <a:gd name="connsiteX3" fmla="*/ 7144 w 57150"/>
                    <a:gd name="connsiteY3" fmla="*/ 60760 h 76200"/>
                    <a:gd name="connsiteX4" fmla="*/ 44768 w 57150"/>
                    <a:gd name="connsiteY4" fmla="*/ 38548 h 76200"/>
                    <a:gd name="connsiteX5" fmla="*/ 44768 w 57150"/>
                    <a:gd name="connsiteY5" fmla="*/ 32613 h 76200"/>
                    <a:gd name="connsiteX6" fmla="*/ 35290 w 57150"/>
                    <a:gd name="connsiteY6" fmla="*/ 13078 h 76200"/>
                    <a:gd name="connsiteX7" fmla="*/ 24394 w 57150"/>
                    <a:gd name="connsiteY7" fmla="*/ 27794 h 76200"/>
                    <a:gd name="connsiteX8" fmla="*/ 9401 w 57150"/>
                    <a:gd name="connsiteY8" fmla="*/ 27794 h 76200"/>
                    <a:gd name="connsiteX9" fmla="*/ 35290 w 57150"/>
                    <a:gd name="connsiteY9" fmla="*/ 7144 h 76200"/>
                    <a:gd name="connsiteX10" fmla="*/ 59055 w 57150"/>
                    <a:gd name="connsiteY10" fmla="*/ 32613 h 76200"/>
                    <a:gd name="connsiteX11" fmla="*/ 59055 w 57150"/>
                    <a:gd name="connsiteY11" fmla="*/ 76038 h 76200"/>
                    <a:gd name="connsiteX12" fmla="*/ 44768 w 57150"/>
                    <a:gd name="connsiteY12" fmla="*/ 76038 h 76200"/>
                    <a:gd name="connsiteX13" fmla="*/ 44768 w 57150"/>
                    <a:gd name="connsiteY13" fmla="*/ 66694 h 76200"/>
                    <a:gd name="connsiteX14" fmla="*/ 44768 w 57150"/>
                    <a:gd name="connsiteY14" fmla="*/ 44482 h 76200"/>
                    <a:gd name="connsiteX15" fmla="*/ 22708 w 57150"/>
                    <a:gd name="connsiteY15" fmla="*/ 58636 h 76200"/>
                    <a:gd name="connsiteX16" fmla="*/ 30909 w 57150"/>
                    <a:gd name="connsiteY16" fmla="*/ 68666 h 76200"/>
                    <a:gd name="connsiteX17" fmla="*/ 44768 w 57150"/>
                    <a:gd name="connsiteY17" fmla="*/ 52406 h 76200"/>
                    <a:gd name="connsiteX18" fmla="*/ 44768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68" y="66694"/>
                      </a:moveTo>
                      <a:lnTo>
                        <a:pt x="44491" y="66694"/>
                      </a:lnTo>
                      <a:cubicBezTo>
                        <a:pt x="42224" y="70656"/>
                        <a:pt x="36290" y="77581"/>
                        <a:pt x="25537" y="77581"/>
                      </a:cubicBezTo>
                      <a:cubicBezTo>
                        <a:pt x="14926" y="77581"/>
                        <a:pt x="7144" y="70085"/>
                        <a:pt x="7144" y="60760"/>
                      </a:cubicBezTo>
                      <a:cubicBezTo>
                        <a:pt x="7144" y="39957"/>
                        <a:pt x="35862" y="38976"/>
                        <a:pt x="44768" y="38548"/>
                      </a:cubicBezTo>
                      <a:lnTo>
                        <a:pt x="44768" y="32613"/>
                      </a:lnTo>
                      <a:cubicBezTo>
                        <a:pt x="44768" y="25251"/>
                        <a:pt x="44768" y="13078"/>
                        <a:pt x="35290" y="13078"/>
                      </a:cubicBezTo>
                      <a:cubicBezTo>
                        <a:pt x="26518" y="13078"/>
                        <a:pt x="24965" y="19869"/>
                        <a:pt x="24394" y="27794"/>
                      </a:cubicBezTo>
                      <a:lnTo>
                        <a:pt x="9401" y="27794"/>
                      </a:lnTo>
                      <a:cubicBezTo>
                        <a:pt x="10106" y="17745"/>
                        <a:pt x="14069" y="7144"/>
                        <a:pt x="35290" y="7144"/>
                      </a:cubicBezTo>
                      <a:cubicBezTo>
                        <a:pt x="57217" y="7144"/>
                        <a:pt x="59055" y="19440"/>
                        <a:pt x="59055" y="32613"/>
                      </a:cubicBezTo>
                      <a:lnTo>
                        <a:pt x="59055" y="76038"/>
                      </a:lnTo>
                      <a:lnTo>
                        <a:pt x="44768" y="76038"/>
                      </a:lnTo>
                      <a:lnTo>
                        <a:pt x="44768" y="66694"/>
                      </a:lnTo>
                      <a:close/>
                      <a:moveTo>
                        <a:pt x="44768" y="44482"/>
                      </a:moveTo>
                      <a:cubicBezTo>
                        <a:pt x="38824" y="44910"/>
                        <a:pt x="22708" y="46177"/>
                        <a:pt x="22708" y="58636"/>
                      </a:cubicBezTo>
                      <a:cubicBezTo>
                        <a:pt x="22708" y="64703"/>
                        <a:pt x="26241" y="68666"/>
                        <a:pt x="30909" y="68666"/>
                      </a:cubicBezTo>
                      <a:cubicBezTo>
                        <a:pt x="35862" y="68666"/>
                        <a:pt x="44768" y="63865"/>
                        <a:pt x="44768" y="52406"/>
                      </a:cubicBezTo>
                      <a:lnTo>
                        <a:pt x="44768" y="44482"/>
                      </a:lnTo>
                      <a:close/>
                    </a:path>
                  </a:pathLst>
                </a:custGeom>
                <a:grpFill/>
                <a:ln w="9525" cap="flat">
                  <a:noFill/>
                  <a:prstDash val="solid"/>
                  <a:miter/>
                </a:ln>
              </p:spPr>
              <p:txBody>
                <a:bodyPr rtlCol="0" anchor="ctr"/>
                <a:lstStyle/>
                <a:p>
                  <a:endParaRPr lang="ja-JP" altLang="en-US"/>
                </a:p>
              </p:txBody>
            </p:sp>
            <p:sp>
              <p:nvSpPr>
                <p:cNvPr id="125" name="フリーフォーム: 図形 50">
                  <a:extLst>
                    <a:ext uri="{FF2B5EF4-FFF2-40B4-BE49-F238E27FC236}">
                      <a16:creationId xmlns:a16="http://schemas.microsoft.com/office/drawing/2014/main" id="{8B9EE32A-DCFD-45AD-B758-27B97FAD7835}"/>
                    </a:ext>
                  </a:extLst>
                </p:cNvPr>
                <p:cNvSpPr/>
                <p:nvPr/>
              </p:nvSpPr>
              <p:spPr>
                <a:xfrm>
                  <a:off x="1245075"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03 w 66675"/>
                    <a:gd name="connsiteY5" fmla="*/ 26803 h 76200"/>
                    <a:gd name="connsiteX6" fmla="*/ 62303 w 66675"/>
                    <a:gd name="connsiteY6" fmla="*/ 76029 h 76200"/>
                    <a:gd name="connsiteX7" fmla="*/ 48016 w 66675"/>
                    <a:gd name="connsiteY7" fmla="*/ 76029 h 76200"/>
                    <a:gd name="connsiteX8" fmla="*/ 48016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74" y="19736"/>
                        <a:pt x="30489" y="7144"/>
                        <a:pt x="45339" y="7144"/>
                      </a:cubicBezTo>
                      <a:cubicBezTo>
                        <a:pt x="57217" y="7144"/>
                        <a:pt x="62303" y="17040"/>
                        <a:pt x="62303" y="26803"/>
                      </a:cubicBezTo>
                      <a:lnTo>
                        <a:pt x="62303" y="76029"/>
                      </a:lnTo>
                      <a:lnTo>
                        <a:pt x="48016" y="76029"/>
                      </a:lnTo>
                      <a:lnTo>
                        <a:pt x="48016" y="33871"/>
                      </a:lnTo>
                      <a:cubicBezTo>
                        <a:pt x="48016" y="25384"/>
                        <a:pt x="46749" y="17745"/>
                        <a:pt x="39529" y="17745"/>
                      </a:cubicBezTo>
                      <a:cubicBezTo>
                        <a:pt x="25384" y="17745"/>
                        <a:pt x="21431" y="39805"/>
                        <a:pt x="21431" y="48158"/>
                      </a:cubicBezTo>
                      <a:lnTo>
                        <a:pt x="21431" y="76029"/>
                      </a:lnTo>
                      <a:lnTo>
                        <a:pt x="7144" y="76029"/>
                      </a:lnTo>
                      <a:lnTo>
                        <a:pt x="7144" y="8706"/>
                      </a:lnTo>
                      <a:close/>
                    </a:path>
                  </a:pathLst>
                </a:custGeom>
                <a:grpFill/>
                <a:ln w="9525" cap="flat">
                  <a:noFill/>
                  <a:prstDash val="solid"/>
                  <a:miter/>
                </a:ln>
              </p:spPr>
              <p:txBody>
                <a:bodyPr rtlCol="0" anchor="ctr"/>
                <a:lstStyle/>
                <a:p>
                  <a:endParaRPr lang="ja-JP" altLang="en-US"/>
                </a:p>
              </p:txBody>
            </p:sp>
            <p:sp>
              <p:nvSpPr>
                <p:cNvPr id="126" name="フリーフォーム: 図形 51">
                  <a:extLst>
                    <a:ext uri="{FF2B5EF4-FFF2-40B4-BE49-F238E27FC236}">
                      <a16:creationId xmlns:a16="http://schemas.microsoft.com/office/drawing/2014/main" id="{61D4ABC4-D296-46D5-AF02-615228026135}"/>
                    </a:ext>
                  </a:extLst>
                </p:cNvPr>
                <p:cNvSpPr/>
                <p:nvPr/>
              </p:nvSpPr>
              <p:spPr>
                <a:xfrm>
                  <a:off x="1316379" y="5857776"/>
                  <a:ext cx="66675" cy="104775"/>
                </a:xfrm>
                <a:custGeom>
                  <a:avLst/>
                  <a:gdLst>
                    <a:gd name="connsiteX0" fmla="*/ 50283 w 66675"/>
                    <a:gd name="connsiteY0" fmla="*/ 93697 h 104775"/>
                    <a:gd name="connsiteX1" fmla="*/ 49997 w 66675"/>
                    <a:gd name="connsiteY1" fmla="*/ 93697 h 104775"/>
                    <a:gd name="connsiteX2" fmla="*/ 32461 w 66675"/>
                    <a:gd name="connsiteY2" fmla="*/ 106270 h 104775"/>
                    <a:gd name="connsiteX3" fmla="*/ 7144 w 66675"/>
                    <a:gd name="connsiteY3" fmla="*/ 71056 h 104775"/>
                    <a:gd name="connsiteX4" fmla="*/ 32461 w 66675"/>
                    <a:gd name="connsiteY4" fmla="*/ 35843 h 104775"/>
                    <a:gd name="connsiteX5" fmla="*/ 49997 w 66675"/>
                    <a:gd name="connsiteY5" fmla="*/ 46729 h 104775"/>
                    <a:gd name="connsiteX6" fmla="*/ 50283 w 66675"/>
                    <a:gd name="connsiteY6" fmla="*/ 46729 h 104775"/>
                    <a:gd name="connsiteX7" fmla="*/ 50283 w 66675"/>
                    <a:gd name="connsiteY7" fmla="*/ 7144 h 104775"/>
                    <a:gd name="connsiteX8" fmla="*/ 64570 w 66675"/>
                    <a:gd name="connsiteY8" fmla="*/ 7144 h 104775"/>
                    <a:gd name="connsiteX9" fmla="*/ 64570 w 66675"/>
                    <a:gd name="connsiteY9" fmla="*/ 104737 h 104775"/>
                    <a:gd name="connsiteX10" fmla="*/ 50283 w 66675"/>
                    <a:gd name="connsiteY10" fmla="*/ 104737 h 104775"/>
                    <a:gd name="connsiteX11" fmla="*/ 50283 w 66675"/>
                    <a:gd name="connsiteY11" fmla="*/ 93697 h 104775"/>
                    <a:gd name="connsiteX12" fmla="*/ 36271 w 66675"/>
                    <a:gd name="connsiteY12" fmla="*/ 97241 h 104775"/>
                    <a:gd name="connsiteX13" fmla="*/ 49711 w 66675"/>
                    <a:gd name="connsiteY13" fmla="*/ 71066 h 104775"/>
                    <a:gd name="connsiteX14" fmla="*/ 36271 w 66675"/>
                    <a:gd name="connsiteY14" fmla="*/ 44053 h 104775"/>
                    <a:gd name="connsiteX15" fmla="*/ 22689 w 66675"/>
                    <a:gd name="connsiteY15" fmla="*/ 71066 h 104775"/>
                    <a:gd name="connsiteX16" fmla="*/ 36271 w 66675"/>
                    <a:gd name="connsiteY16" fmla="*/ 9724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0283" y="93697"/>
                      </a:moveTo>
                      <a:lnTo>
                        <a:pt x="49997" y="93697"/>
                      </a:lnTo>
                      <a:cubicBezTo>
                        <a:pt x="48016" y="98222"/>
                        <a:pt x="43358" y="106270"/>
                        <a:pt x="32461" y="106270"/>
                      </a:cubicBezTo>
                      <a:cubicBezTo>
                        <a:pt x="13078" y="106270"/>
                        <a:pt x="7144" y="90440"/>
                        <a:pt x="7144" y="71056"/>
                      </a:cubicBezTo>
                      <a:cubicBezTo>
                        <a:pt x="7144" y="50835"/>
                        <a:pt x="14640" y="35843"/>
                        <a:pt x="32461" y="35843"/>
                      </a:cubicBezTo>
                      <a:cubicBezTo>
                        <a:pt x="43910" y="35843"/>
                        <a:pt x="48016" y="43062"/>
                        <a:pt x="49997" y="46729"/>
                      </a:cubicBezTo>
                      <a:lnTo>
                        <a:pt x="50283" y="46729"/>
                      </a:lnTo>
                      <a:lnTo>
                        <a:pt x="50283" y="7144"/>
                      </a:lnTo>
                      <a:lnTo>
                        <a:pt x="64570" y="7144"/>
                      </a:lnTo>
                      <a:lnTo>
                        <a:pt x="64570" y="104737"/>
                      </a:lnTo>
                      <a:lnTo>
                        <a:pt x="50283" y="104737"/>
                      </a:lnTo>
                      <a:lnTo>
                        <a:pt x="50283" y="93697"/>
                      </a:lnTo>
                      <a:close/>
                      <a:moveTo>
                        <a:pt x="36271" y="97241"/>
                      </a:moveTo>
                      <a:cubicBezTo>
                        <a:pt x="48006" y="97241"/>
                        <a:pt x="49711" y="82248"/>
                        <a:pt x="49711" y="71066"/>
                      </a:cubicBezTo>
                      <a:cubicBezTo>
                        <a:pt x="49711" y="59331"/>
                        <a:pt x="48578" y="44053"/>
                        <a:pt x="36271" y="44053"/>
                      </a:cubicBezTo>
                      <a:cubicBezTo>
                        <a:pt x="25098" y="44053"/>
                        <a:pt x="22689" y="59331"/>
                        <a:pt x="22689" y="71066"/>
                      </a:cubicBezTo>
                      <a:cubicBezTo>
                        <a:pt x="22689" y="82239"/>
                        <a:pt x="24822" y="97241"/>
                        <a:pt x="36271" y="97241"/>
                      </a:cubicBezTo>
                      <a:close/>
                    </a:path>
                  </a:pathLst>
                </a:custGeom>
                <a:grpFill/>
                <a:ln w="9525" cap="flat">
                  <a:noFill/>
                  <a:prstDash val="solid"/>
                  <a:miter/>
                </a:ln>
              </p:spPr>
              <p:txBody>
                <a:bodyPr rtlCol="0" anchor="ctr"/>
                <a:lstStyle/>
                <a:p>
                  <a:endParaRPr lang="ja-JP" altLang="en-US"/>
                </a:p>
              </p:txBody>
            </p:sp>
            <p:sp>
              <p:nvSpPr>
                <p:cNvPr id="127" name="フリーフォーム: 図形 52">
                  <a:extLst>
                    <a:ext uri="{FF2B5EF4-FFF2-40B4-BE49-F238E27FC236}">
                      <a16:creationId xmlns:a16="http://schemas.microsoft.com/office/drawing/2014/main" id="{6885CB9A-4C72-420B-9A76-3CB6C883C928}"/>
                    </a:ext>
                  </a:extLst>
                </p:cNvPr>
                <p:cNvSpPr/>
                <p:nvPr/>
              </p:nvSpPr>
              <p:spPr>
                <a:xfrm>
                  <a:off x="1392189" y="5938252"/>
                  <a:ext cx="28575" cy="38100"/>
                </a:xfrm>
                <a:custGeom>
                  <a:avLst/>
                  <a:gdLst>
                    <a:gd name="connsiteX0" fmla="*/ 8411 w 28575"/>
                    <a:gd name="connsiteY0" fmla="*/ 7144 h 38100"/>
                    <a:gd name="connsiteX1" fmla="*/ 24822 w 28575"/>
                    <a:gd name="connsiteY1" fmla="*/ 7144 h 38100"/>
                    <a:gd name="connsiteX2" fmla="*/ 18459 w 28575"/>
                    <a:gd name="connsiteY2" fmla="*/ 39253 h 38100"/>
                    <a:gd name="connsiteX3" fmla="*/ 7144 w 28575"/>
                    <a:gd name="connsiteY3" fmla="*/ 39253 h 38100"/>
                    <a:gd name="connsiteX4" fmla="*/ 8411 w 28575"/>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8411" y="7144"/>
                      </a:moveTo>
                      <a:lnTo>
                        <a:pt x="24822" y="7144"/>
                      </a:lnTo>
                      <a:lnTo>
                        <a:pt x="18459" y="39253"/>
                      </a:lnTo>
                      <a:lnTo>
                        <a:pt x="7144" y="39253"/>
                      </a:lnTo>
                      <a:lnTo>
                        <a:pt x="8411" y="7144"/>
                      </a:lnTo>
                      <a:close/>
                    </a:path>
                  </a:pathLst>
                </a:custGeom>
                <a:grpFill/>
                <a:ln w="9525" cap="flat">
                  <a:noFill/>
                  <a:prstDash val="solid"/>
                  <a:miter/>
                </a:ln>
              </p:spPr>
              <p:txBody>
                <a:bodyPr rtlCol="0" anchor="ctr"/>
                <a:lstStyle/>
                <a:p>
                  <a:endParaRPr lang="ja-JP" altLang="en-US"/>
                </a:p>
              </p:txBody>
            </p:sp>
            <p:sp>
              <p:nvSpPr>
                <p:cNvPr id="128" name="フリーフォーム: 図形 53">
                  <a:extLst>
                    <a:ext uri="{FF2B5EF4-FFF2-40B4-BE49-F238E27FC236}">
                      <a16:creationId xmlns:a16="http://schemas.microsoft.com/office/drawing/2014/main" id="{944CEF4F-B915-474B-B8F1-F585D656B8B1}"/>
                    </a:ext>
                  </a:extLst>
                </p:cNvPr>
                <p:cNvSpPr/>
                <p:nvPr/>
              </p:nvSpPr>
              <p:spPr>
                <a:xfrm>
                  <a:off x="1466722" y="5857776"/>
                  <a:ext cx="28575" cy="104775"/>
                </a:xfrm>
                <a:custGeom>
                  <a:avLst/>
                  <a:gdLst>
                    <a:gd name="connsiteX0" fmla="*/ 7144 w 28575"/>
                    <a:gd name="connsiteY0" fmla="*/ 7144 h 104775"/>
                    <a:gd name="connsiteX1" fmla="*/ 22708 w 28575"/>
                    <a:gd name="connsiteY1" fmla="*/ 7144 h 104775"/>
                    <a:gd name="connsiteX2" fmla="*/ 22708 w 28575"/>
                    <a:gd name="connsiteY2" fmla="*/ 104737 h 104775"/>
                    <a:gd name="connsiteX3" fmla="*/ 7144 w 28575"/>
                    <a:gd name="connsiteY3" fmla="*/ 104737 h 104775"/>
                    <a:gd name="connsiteX4" fmla="*/ 7144 w 28575"/>
                    <a:gd name="connsiteY4" fmla="*/ 714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104775">
                      <a:moveTo>
                        <a:pt x="7144" y="7144"/>
                      </a:moveTo>
                      <a:lnTo>
                        <a:pt x="22708" y="7144"/>
                      </a:lnTo>
                      <a:lnTo>
                        <a:pt x="22708" y="104737"/>
                      </a:lnTo>
                      <a:lnTo>
                        <a:pt x="7144" y="104737"/>
                      </a:lnTo>
                      <a:lnTo>
                        <a:pt x="7144" y="7144"/>
                      </a:lnTo>
                      <a:close/>
                    </a:path>
                  </a:pathLst>
                </a:custGeom>
                <a:grpFill/>
                <a:ln w="9525" cap="flat">
                  <a:noFill/>
                  <a:prstDash val="solid"/>
                  <a:miter/>
                </a:ln>
              </p:spPr>
              <p:txBody>
                <a:bodyPr rtlCol="0" anchor="ctr"/>
                <a:lstStyle/>
                <a:p>
                  <a:endParaRPr lang="ja-JP" altLang="en-US"/>
                </a:p>
              </p:txBody>
            </p:sp>
            <p:sp>
              <p:nvSpPr>
                <p:cNvPr id="129" name="フリーフォーム: 図形 54">
                  <a:extLst>
                    <a:ext uri="{FF2B5EF4-FFF2-40B4-BE49-F238E27FC236}">
                      <a16:creationId xmlns:a16="http://schemas.microsoft.com/office/drawing/2014/main" id="{2D38D432-6ECF-43D5-A340-5E62E8B12FC8}"/>
                    </a:ext>
                  </a:extLst>
                </p:cNvPr>
                <p:cNvSpPr/>
                <p:nvPr/>
              </p:nvSpPr>
              <p:spPr>
                <a:xfrm>
                  <a:off x="1504622"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13 w 66675"/>
                    <a:gd name="connsiteY5" fmla="*/ 26803 h 76200"/>
                    <a:gd name="connsiteX6" fmla="*/ 62313 w 66675"/>
                    <a:gd name="connsiteY6" fmla="*/ 76029 h 76200"/>
                    <a:gd name="connsiteX7" fmla="*/ 48025 w 66675"/>
                    <a:gd name="connsiteY7" fmla="*/ 76029 h 76200"/>
                    <a:gd name="connsiteX8" fmla="*/ 48025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84" y="19736"/>
                        <a:pt x="30490" y="7144"/>
                        <a:pt x="45339" y="7144"/>
                      </a:cubicBezTo>
                      <a:cubicBezTo>
                        <a:pt x="57217" y="7144"/>
                        <a:pt x="62313" y="17040"/>
                        <a:pt x="62313" y="26803"/>
                      </a:cubicBezTo>
                      <a:lnTo>
                        <a:pt x="62313" y="76029"/>
                      </a:lnTo>
                      <a:lnTo>
                        <a:pt x="48025" y="76029"/>
                      </a:lnTo>
                      <a:lnTo>
                        <a:pt x="48025" y="33871"/>
                      </a:lnTo>
                      <a:cubicBezTo>
                        <a:pt x="48025" y="25384"/>
                        <a:pt x="46749" y="17745"/>
                        <a:pt x="39529" y="17745"/>
                      </a:cubicBezTo>
                      <a:cubicBezTo>
                        <a:pt x="25394" y="17745"/>
                        <a:pt x="21431" y="39805"/>
                        <a:pt x="21431" y="48158"/>
                      </a:cubicBezTo>
                      <a:lnTo>
                        <a:pt x="21431" y="76029"/>
                      </a:lnTo>
                      <a:lnTo>
                        <a:pt x="7144" y="76029"/>
                      </a:lnTo>
                      <a:lnTo>
                        <a:pt x="7144" y="8706"/>
                      </a:lnTo>
                      <a:close/>
                    </a:path>
                  </a:pathLst>
                </a:custGeom>
                <a:grpFill/>
                <a:ln w="9525" cap="flat">
                  <a:noFill/>
                  <a:prstDash val="solid"/>
                  <a:miter/>
                </a:ln>
              </p:spPr>
              <p:txBody>
                <a:bodyPr rtlCol="0" anchor="ctr"/>
                <a:lstStyle/>
                <a:p>
                  <a:endParaRPr lang="ja-JP" altLang="en-US"/>
                </a:p>
              </p:txBody>
            </p:sp>
            <p:sp>
              <p:nvSpPr>
                <p:cNvPr id="130" name="フリーフォーム: 図形 55">
                  <a:extLst>
                    <a:ext uri="{FF2B5EF4-FFF2-40B4-BE49-F238E27FC236}">
                      <a16:creationId xmlns:a16="http://schemas.microsoft.com/office/drawing/2014/main" id="{F6E0011F-AD13-4A4D-BBA4-E4576338016F}"/>
                    </a:ext>
                  </a:extLst>
                </p:cNvPr>
                <p:cNvSpPr/>
                <p:nvPr/>
              </p:nvSpPr>
              <p:spPr>
                <a:xfrm>
                  <a:off x="1573945" y="5856214"/>
                  <a:ext cx="57150" cy="104775"/>
                </a:xfrm>
                <a:custGeom>
                  <a:avLst/>
                  <a:gdLst>
                    <a:gd name="connsiteX0" fmla="*/ 18878 w 57150"/>
                    <a:gd name="connsiteY0" fmla="*/ 46320 h 104775"/>
                    <a:gd name="connsiteX1" fmla="*/ 7144 w 57150"/>
                    <a:gd name="connsiteY1" fmla="*/ 46320 h 104775"/>
                    <a:gd name="connsiteX2" fmla="*/ 7144 w 57150"/>
                    <a:gd name="connsiteY2" fmla="*/ 38976 h 104775"/>
                    <a:gd name="connsiteX3" fmla="*/ 18878 w 57150"/>
                    <a:gd name="connsiteY3" fmla="*/ 38976 h 104775"/>
                    <a:gd name="connsiteX4" fmla="*/ 18878 w 57150"/>
                    <a:gd name="connsiteY4" fmla="*/ 32613 h 104775"/>
                    <a:gd name="connsiteX5" fmla="*/ 44482 w 57150"/>
                    <a:gd name="connsiteY5" fmla="*/ 7144 h 104775"/>
                    <a:gd name="connsiteX6" fmla="*/ 58769 w 57150"/>
                    <a:gd name="connsiteY6" fmla="*/ 8706 h 104775"/>
                    <a:gd name="connsiteX7" fmla="*/ 58769 w 57150"/>
                    <a:gd name="connsiteY7" fmla="*/ 18450 h 104775"/>
                    <a:gd name="connsiteX8" fmla="*/ 46177 w 57150"/>
                    <a:gd name="connsiteY8" fmla="*/ 15345 h 104775"/>
                    <a:gd name="connsiteX9" fmla="*/ 33166 w 57150"/>
                    <a:gd name="connsiteY9" fmla="*/ 30899 h 104775"/>
                    <a:gd name="connsiteX10" fmla="*/ 33166 w 57150"/>
                    <a:gd name="connsiteY10" fmla="*/ 38976 h 104775"/>
                    <a:gd name="connsiteX11" fmla="*/ 52264 w 57150"/>
                    <a:gd name="connsiteY11" fmla="*/ 38976 h 104775"/>
                    <a:gd name="connsiteX12" fmla="*/ 52264 w 57150"/>
                    <a:gd name="connsiteY12" fmla="*/ 46320 h 104775"/>
                    <a:gd name="connsiteX13" fmla="*/ 33166 w 57150"/>
                    <a:gd name="connsiteY13" fmla="*/ 46320 h 104775"/>
                    <a:gd name="connsiteX14" fmla="*/ 33166 w 57150"/>
                    <a:gd name="connsiteY14" fmla="*/ 106299 h 104775"/>
                    <a:gd name="connsiteX15" fmla="*/ 18878 w 57150"/>
                    <a:gd name="connsiteY15" fmla="*/ 106299 h 104775"/>
                    <a:gd name="connsiteX16" fmla="*/ 18878 w 57150"/>
                    <a:gd name="connsiteY16" fmla="*/ 463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18878" y="46320"/>
                      </a:moveTo>
                      <a:lnTo>
                        <a:pt x="7144" y="46320"/>
                      </a:lnTo>
                      <a:lnTo>
                        <a:pt x="7144" y="38976"/>
                      </a:lnTo>
                      <a:lnTo>
                        <a:pt x="18878" y="38976"/>
                      </a:lnTo>
                      <a:lnTo>
                        <a:pt x="18878" y="32613"/>
                      </a:lnTo>
                      <a:cubicBezTo>
                        <a:pt x="18878" y="20145"/>
                        <a:pt x="21860" y="7144"/>
                        <a:pt x="44482" y="7144"/>
                      </a:cubicBezTo>
                      <a:cubicBezTo>
                        <a:pt x="50273" y="7144"/>
                        <a:pt x="55378" y="8001"/>
                        <a:pt x="58769" y="8706"/>
                      </a:cubicBezTo>
                      <a:lnTo>
                        <a:pt x="58769" y="18450"/>
                      </a:lnTo>
                      <a:cubicBezTo>
                        <a:pt x="55788" y="17183"/>
                        <a:pt x="51978" y="15345"/>
                        <a:pt x="46177" y="15345"/>
                      </a:cubicBezTo>
                      <a:cubicBezTo>
                        <a:pt x="34576" y="15345"/>
                        <a:pt x="33166" y="23698"/>
                        <a:pt x="33166" y="30899"/>
                      </a:cubicBezTo>
                      <a:lnTo>
                        <a:pt x="33166" y="38976"/>
                      </a:lnTo>
                      <a:lnTo>
                        <a:pt x="52264" y="38976"/>
                      </a:lnTo>
                      <a:lnTo>
                        <a:pt x="52264" y="46320"/>
                      </a:lnTo>
                      <a:lnTo>
                        <a:pt x="33166" y="46320"/>
                      </a:lnTo>
                      <a:lnTo>
                        <a:pt x="33166" y="106299"/>
                      </a:lnTo>
                      <a:lnTo>
                        <a:pt x="18878" y="106299"/>
                      </a:lnTo>
                      <a:lnTo>
                        <a:pt x="18878" y="46320"/>
                      </a:lnTo>
                      <a:close/>
                    </a:path>
                  </a:pathLst>
                </a:custGeom>
                <a:grpFill/>
                <a:ln w="9525" cap="flat">
                  <a:noFill/>
                  <a:prstDash val="solid"/>
                  <a:miter/>
                </a:ln>
              </p:spPr>
              <p:txBody>
                <a:bodyPr rtlCol="0" anchor="ctr"/>
                <a:lstStyle/>
                <a:p>
                  <a:endParaRPr lang="ja-JP" altLang="en-US"/>
                </a:p>
              </p:txBody>
            </p:sp>
            <p:sp>
              <p:nvSpPr>
                <p:cNvPr id="131" name="フリーフォーム: 図形 56">
                  <a:extLst>
                    <a:ext uri="{FF2B5EF4-FFF2-40B4-BE49-F238E27FC236}">
                      <a16:creationId xmlns:a16="http://schemas.microsoft.com/office/drawing/2014/main" id="{34089865-F721-4220-90A0-529C03F502AF}"/>
                    </a:ext>
                  </a:extLst>
                </p:cNvPr>
                <p:cNvSpPr/>
                <p:nvPr/>
              </p:nvSpPr>
              <p:spPr>
                <a:xfrm>
                  <a:off x="1630943"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1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1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grpFill/>
                <a:ln w="9525" cap="flat">
                  <a:noFill/>
                  <a:prstDash val="solid"/>
                  <a:miter/>
                </a:ln>
              </p:spPr>
              <p:txBody>
                <a:bodyPr rtlCol="0" anchor="ctr"/>
                <a:lstStyle/>
                <a:p>
                  <a:endParaRPr lang="ja-JP" altLang="en-US"/>
                </a:p>
              </p:txBody>
            </p:sp>
            <p:sp>
              <p:nvSpPr>
                <p:cNvPr id="132" name="フリーフォーム: 図形 57">
                  <a:extLst>
                    <a:ext uri="{FF2B5EF4-FFF2-40B4-BE49-F238E27FC236}">
                      <a16:creationId xmlns:a16="http://schemas.microsoft.com/office/drawing/2014/main" id="{7770C859-062D-4E73-A8AB-689CFB071BB3}"/>
                    </a:ext>
                  </a:extLst>
                </p:cNvPr>
                <p:cNvSpPr/>
                <p:nvPr/>
              </p:nvSpPr>
              <p:spPr>
                <a:xfrm>
                  <a:off x="1676348" y="5886475"/>
                  <a:ext cx="57150" cy="76200"/>
                </a:xfrm>
                <a:custGeom>
                  <a:avLst/>
                  <a:gdLst>
                    <a:gd name="connsiteX0" fmla="*/ 44758 w 57150"/>
                    <a:gd name="connsiteY0" fmla="*/ 66694 h 76200"/>
                    <a:gd name="connsiteX1" fmla="*/ 44482 w 57150"/>
                    <a:gd name="connsiteY1" fmla="*/ 66694 h 76200"/>
                    <a:gd name="connsiteX2" fmla="*/ 25527 w 57150"/>
                    <a:gd name="connsiteY2" fmla="*/ 77581 h 76200"/>
                    <a:gd name="connsiteX3" fmla="*/ 7144 w 57150"/>
                    <a:gd name="connsiteY3" fmla="*/ 60760 h 76200"/>
                    <a:gd name="connsiteX4" fmla="*/ 44758 w 57150"/>
                    <a:gd name="connsiteY4" fmla="*/ 38548 h 76200"/>
                    <a:gd name="connsiteX5" fmla="*/ 44758 w 57150"/>
                    <a:gd name="connsiteY5" fmla="*/ 32613 h 76200"/>
                    <a:gd name="connsiteX6" fmla="*/ 35290 w 57150"/>
                    <a:gd name="connsiteY6" fmla="*/ 13078 h 76200"/>
                    <a:gd name="connsiteX7" fmla="*/ 24393 w 57150"/>
                    <a:gd name="connsiteY7" fmla="*/ 27794 h 76200"/>
                    <a:gd name="connsiteX8" fmla="*/ 9401 w 57150"/>
                    <a:gd name="connsiteY8" fmla="*/ 27794 h 76200"/>
                    <a:gd name="connsiteX9" fmla="*/ 35290 w 57150"/>
                    <a:gd name="connsiteY9" fmla="*/ 7144 h 76200"/>
                    <a:gd name="connsiteX10" fmla="*/ 59045 w 57150"/>
                    <a:gd name="connsiteY10" fmla="*/ 32613 h 76200"/>
                    <a:gd name="connsiteX11" fmla="*/ 59045 w 57150"/>
                    <a:gd name="connsiteY11" fmla="*/ 76038 h 76200"/>
                    <a:gd name="connsiteX12" fmla="*/ 44758 w 57150"/>
                    <a:gd name="connsiteY12" fmla="*/ 76038 h 76200"/>
                    <a:gd name="connsiteX13" fmla="*/ 44758 w 57150"/>
                    <a:gd name="connsiteY13" fmla="*/ 66694 h 76200"/>
                    <a:gd name="connsiteX14" fmla="*/ 44758 w 57150"/>
                    <a:gd name="connsiteY14" fmla="*/ 44482 h 76200"/>
                    <a:gd name="connsiteX15" fmla="*/ 22698 w 57150"/>
                    <a:gd name="connsiteY15" fmla="*/ 58636 h 76200"/>
                    <a:gd name="connsiteX16" fmla="*/ 30899 w 57150"/>
                    <a:gd name="connsiteY16" fmla="*/ 68666 h 76200"/>
                    <a:gd name="connsiteX17" fmla="*/ 44758 w 57150"/>
                    <a:gd name="connsiteY17" fmla="*/ 52406 h 76200"/>
                    <a:gd name="connsiteX18" fmla="*/ 44758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58" y="66694"/>
                      </a:moveTo>
                      <a:lnTo>
                        <a:pt x="44482" y="66694"/>
                      </a:lnTo>
                      <a:cubicBezTo>
                        <a:pt x="42224" y="70656"/>
                        <a:pt x="36281" y="77581"/>
                        <a:pt x="25527" y="77581"/>
                      </a:cubicBezTo>
                      <a:cubicBezTo>
                        <a:pt x="14916" y="77581"/>
                        <a:pt x="7144" y="70085"/>
                        <a:pt x="7144" y="60760"/>
                      </a:cubicBezTo>
                      <a:cubicBezTo>
                        <a:pt x="7144" y="39957"/>
                        <a:pt x="35852" y="38976"/>
                        <a:pt x="44758" y="38548"/>
                      </a:cubicBezTo>
                      <a:lnTo>
                        <a:pt x="44758" y="32613"/>
                      </a:lnTo>
                      <a:cubicBezTo>
                        <a:pt x="44758" y="25251"/>
                        <a:pt x="44758" y="13078"/>
                        <a:pt x="35290" y="13078"/>
                      </a:cubicBezTo>
                      <a:cubicBezTo>
                        <a:pt x="26518" y="13078"/>
                        <a:pt x="24965" y="19869"/>
                        <a:pt x="24393" y="27794"/>
                      </a:cubicBezTo>
                      <a:lnTo>
                        <a:pt x="9401" y="27794"/>
                      </a:lnTo>
                      <a:cubicBezTo>
                        <a:pt x="10106" y="17745"/>
                        <a:pt x="14068" y="7144"/>
                        <a:pt x="35290" y="7144"/>
                      </a:cubicBezTo>
                      <a:cubicBezTo>
                        <a:pt x="57217" y="7144"/>
                        <a:pt x="59045" y="19440"/>
                        <a:pt x="59045" y="32613"/>
                      </a:cubicBezTo>
                      <a:lnTo>
                        <a:pt x="59045" y="76038"/>
                      </a:lnTo>
                      <a:lnTo>
                        <a:pt x="44758" y="76038"/>
                      </a:lnTo>
                      <a:lnTo>
                        <a:pt x="44758" y="66694"/>
                      </a:lnTo>
                      <a:close/>
                      <a:moveTo>
                        <a:pt x="44758" y="44482"/>
                      </a:moveTo>
                      <a:cubicBezTo>
                        <a:pt x="38824" y="44910"/>
                        <a:pt x="22698" y="46177"/>
                        <a:pt x="22698" y="58636"/>
                      </a:cubicBezTo>
                      <a:cubicBezTo>
                        <a:pt x="22698" y="64703"/>
                        <a:pt x="26232" y="68666"/>
                        <a:pt x="30899" y="68666"/>
                      </a:cubicBezTo>
                      <a:cubicBezTo>
                        <a:pt x="35852" y="68666"/>
                        <a:pt x="44758" y="63865"/>
                        <a:pt x="44758" y="52406"/>
                      </a:cubicBezTo>
                      <a:lnTo>
                        <a:pt x="44758" y="44482"/>
                      </a:lnTo>
                      <a:close/>
                    </a:path>
                  </a:pathLst>
                </a:custGeom>
                <a:grpFill/>
                <a:ln w="9525" cap="flat">
                  <a:noFill/>
                  <a:prstDash val="solid"/>
                  <a:miter/>
                </a:ln>
              </p:spPr>
              <p:txBody>
                <a:bodyPr rtlCol="0" anchor="ctr"/>
                <a:lstStyle/>
                <a:p>
                  <a:endParaRPr lang="ja-JP" altLang="en-US"/>
                </a:p>
              </p:txBody>
            </p:sp>
            <p:sp>
              <p:nvSpPr>
                <p:cNvPr id="133" name="フリーフォーム: 図形 58">
                  <a:extLst>
                    <a:ext uri="{FF2B5EF4-FFF2-40B4-BE49-F238E27FC236}">
                      <a16:creationId xmlns:a16="http://schemas.microsoft.com/office/drawing/2014/main" id="{7F255FA4-CFED-436E-96CB-BF9F764B6D35}"/>
                    </a:ext>
                  </a:extLst>
                </p:cNvPr>
                <p:cNvSpPr/>
                <p:nvPr/>
              </p:nvSpPr>
              <p:spPr>
                <a:xfrm>
                  <a:off x="1745938" y="5886465"/>
                  <a:ext cx="57150" cy="76200"/>
                </a:xfrm>
                <a:custGeom>
                  <a:avLst/>
                  <a:gdLst>
                    <a:gd name="connsiteX0" fmla="*/ 46606 w 57150"/>
                    <a:gd name="connsiteY0" fmla="*/ 22003 h 76200"/>
                    <a:gd name="connsiteX1" fmla="*/ 29632 w 57150"/>
                    <a:gd name="connsiteY1" fmla="*/ 15364 h 76200"/>
                    <a:gd name="connsiteX2" fmla="*/ 20021 w 57150"/>
                    <a:gd name="connsiteY2" fmla="*/ 22431 h 76200"/>
                    <a:gd name="connsiteX3" fmla="*/ 50844 w 57150"/>
                    <a:gd name="connsiteY3" fmla="*/ 57236 h 76200"/>
                    <a:gd name="connsiteX4" fmla="*/ 25241 w 57150"/>
                    <a:gd name="connsiteY4" fmla="*/ 77591 h 76200"/>
                    <a:gd name="connsiteX5" fmla="*/ 7277 w 57150"/>
                    <a:gd name="connsiteY5" fmla="*/ 74628 h 76200"/>
                    <a:gd name="connsiteX6" fmla="*/ 7277 w 57150"/>
                    <a:gd name="connsiteY6" fmla="*/ 61474 h 76200"/>
                    <a:gd name="connsiteX7" fmla="*/ 25946 w 57150"/>
                    <a:gd name="connsiteY7" fmla="*/ 68542 h 76200"/>
                    <a:gd name="connsiteX8" fmla="*/ 37547 w 57150"/>
                    <a:gd name="connsiteY8" fmla="*/ 60055 h 76200"/>
                    <a:gd name="connsiteX9" fmla="*/ 7144 w 57150"/>
                    <a:gd name="connsiteY9" fmla="*/ 26527 h 76200"/>
                    <a:gd name="connsiteX10" fmla="*/ 3075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06" y="22003"/>
                      </a:moveTo>
                      <a:cubicBezTo>
                        <a:pt x="41796" y="18745"/>
                        <a:pt x="36423" y="15364"/>
                        <a:pt x="29632" y="15364"/>
                      </a:cubicBezTo>
                      <a:cubicBezTo>
                        <a:pt x="25098" y="15364"/>
                        <a:pt x="20021" y="17336"/>
                        <a:pt x="20021" y="22431"/>
                      </a:cubicBezTo>
                      <a:cubicBezTo>
                        <a:pt x="20021" y="34595"/>
                        <a:pt x="50844" y="35728"/>
                        <a:pt x="50844" y="57236"/>
                      </a:cubicBezTo>
                      <a:cubicBezTo>
                        <a:pt x="50844" y="71656"/>
                        <a:pt x="39529" y="77591"/>
                        <a:pt x="25241" y="77591"/>
                      </a:cubicBezTo>
                      <a:cubicBezTo>
                        <a:pt x="16621" y="77591"/>
                        <a:pt x="10678" y="75771"/>
                        <a:pt x="7277" y="74628"/>
                      </a:cubicBezTo>
                      <a:lnTo>
                        <a:pt x="7277" y="61474"/>
                      </a:lnTo>
                      <a:cubicBezTo>
                        <a:pt x="11382" y="64303"/>
                        <a:pt x="18031" y="68542"/>
                        <a:pt x="25946" y="68542"/>
                      </a:cubicBezTo>
                      <a:cubicBezTo>
                        <a:pt x="34147" y="68542"/>
                        <a:pt x="37547" y="64303"/>
                        <a:pt x="37547" y="60055"/>
                      </a:cubicBezTo>
                      <a:cubicBezTo>
                        <a:pt x="37547" y="48168"/>
                        <a:pt x="7144" y="45768"/>
                        <a:pt x="7144" y="26527"/>
                      </a:cubicBezTo>
                      <a:cubicBezTo>
                        <a:pt x="7144" y="16335"/>
                        <a:pt x="13935" y="7144"/>
                        <a:pt x="30756" y="7144"/>
                      </a:cubicBezTo>
                      <a:cubicBezTo>
                        <a:pt x="37976" y="7144"/>
                        <a:pt x="44196" y="9115"/>
                        <a:pt x="46606" y="9820"/>
                      </a:cubicBezTo>
                      <a:lnTo>
                        <a:pt x="46606" y="22003"/>
                      </a:lnTo>
                      <a:close/>
                    </a:path>
                  </a:pathLst>
                </a:custGeom>
                <a:grpFill/>
                <a:ln w="9525" cap="flat">
                  <a:noFill/>
                  <a:prstDash val="solid"/>
                  <a:miter/>
                </a:ln>
              </p:spPr>
              <p:txBody>
                <a:bodyPr rtlCol="0" anchor="ctr"/>
                <a:lstStyle/>
                <a:p>
                  <a:endParaRPr lang="ja-JP" altLang="en-US"/>
                </a:p>
              </p:txBody>
            </p:sp>
            <p:sp>
              <p:nvSpPr>
                <p:cNvPr id="134" name="フリーフォーム: 図形 59">
                  <a:extLst>
                    <a:ext uri="{FF2B5EF4-FFF2-40B4-BE49-F238E27FC236}">
                      <a16:creationId xmlns:a16="http://schemas.microsoft.com/office/drawing/2014/main" id="{90534B6C-94AA-4B6F-8EE6-E6FDB2E08DBD}"/>
                    </a:ext>
                  </a:extLst>
                </p:cNvPr>
                <p:cNvSpPr/>
                <p:nvPr/>
              </p:nvSpPr>
              <p:spPr>
                <a:xfrm>
                  <a:off x="1799678" y="5863567"/>
                  <a:ext cx="57150" cy="104775"/>
                </a:xfrm>
                <a:custGeom>
                  <a:avLst/>
                  <a:gdLst>
                    <a:gd name="connsiteX0" fmla="*/ 49016 w 57150"/>
                    <a:gd name="connsiteY0" fmla="*/ 99498 h 104775"/>
                    <a:gd name="connsiteX1" fmla="*/ 39119 w 57150"/>
                    <a:gd name="connsiteY1" fmla="*/ 100489 h 104775"/>
                    <a:gd name="connsiteX2" fmla="*/ 17897 w 57150"/>
                    <a:gd name="connsiteY2" fmla="*/ 83372 h 104775"/>
                    <a:gd name="connsiteX3" fmla="*/ 17897 w 57150"/>
                    <a:gd name="connsiteY3" fmla="*/ 38967 h 104775"/>
                    <a:gd name="connsiteX4" fmla="*/ 7144 w 57150"/>
                    <a:gd name="connsiteY4" fmla="*/ 38967 h 104775"/>
                    <a:gd name="connsiteX5" fmla="*/ 7144 w 57150"/>
                    <a:gd name="connsiteY5" fmla="*/ 31623 h 104775"/>
                    <a:gd name="connsiteX6" fmla="*/ 17897 w 57150"/>
                    <a:gd name="connsiteY6" fmla="*/ 31623 h 104775"/>
                    <a:gd name="connsiteX7" fmla="*/ 17897 w 57150"/>
                    <a:gd name="connsiteY7" fmla="*/ 15773 h 104775"/>
                    <a:gd name="connsiteX8" fmla="*/ 32185 w 57150"/>
                    <a:gd name="connsiteY8" fmla="*/ 7144 h 104775"/>
                    <a:gd name="connsiteX9" fmla="*/ 32185 w 57150"/>
                    <a:gd name="connsiteY9" fmla="*/ 31623 h 104775"/>
                    <a:gd name="connsiteX10" fmla="*/ 50578 w 57150"/>
                    <a:gd name="connsiteY10" fmla="*/ 31623 h 104775"/>
                    <a:gd name="connsiteX11" fmla="*/ 50578 w 57150"/>
                    <a:gd name="connsiteY11" fmla="*/ 38967 h 104775"/>
                    <a:gd name="connsiteX12" fmla="*/ 32185 w 57150"/>
                    <a:gd name="connsiteY12" fmla="*/ 38967 h 104775"/>
                    <a:gd name="connsiteX13" fmla="*/ 32185 w 57150"/>
                    <a:gd name="connsiteY13" fmla="*/ 77714 h 104775"/>
                    <a:gd name="connsiteX14" fmla="*/ 42376 w 57150"/>
                    <a:gd name="connsiteY14" fmla="*/ 92430 h 104775"/>
                    <a:gd name="connsiteX15" fmla="*/ 49016 w 57150"/>
                    <a:gd name="connsiteY15" fmla="*/ 91297 h 104775"/>
                    <a:gd name="connsiteX16" fmla="*/ 4901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76" y="100489"/>
                        <a:pt x="39119" y="100489"/>
                      </a:cubicBezTo>
                      <a:cubicBezTo>
                        <a:pt x="25679" y="100489"/>
                        <a:pt x="17897" y="96393"/>
                        <a:pt x="17897" y="83372"/>
                      </a:cubicBezTo>
                      <a:lnTo>
                        <a:pt x="17897" y="38967"/>
                      </a:lnTo>
                      <a:lnTo>
                        <a:pt x="7144" y="38967"/>
                      </a:lnTo>
                      <a:lnTo>
                        <a:pt x="7144" y="31623"/>
                      </a:lnTo>
                      <a:lnTo>
                        <a:pt x="17897" y="31623"/>
                      </a:lnTo>
                      <a:lnTo>
                        <a:pt x="17897" y="15773"/>
                      </a:lnTo>
                      <a:lnTo>
                        <a:pt x="32185" y="7144"/>
                      </a:lnTo>
                      <a:lnTo>
                        <a:pt x="32185" y="31623"/>
                      </a:lnTo>
                      <a:lnTo>
                        <a:pt x="50578" y="31623"/>
                      </a:lnTo>
                      <a:lnTo>
                        <a:pt x="50578" y="38967"/>
                      </a:lnTo>
                      <a:lnTo>
                        <a:pt x="32185" y="38967"/>
                      </a:lnTo>
                      <a:lnTo>
                        <a:pt x="32185" y="77714"/>
                      </a:lnTo>
                      <a:cubicBezTo>
                        <a:pt x="32185" y="87611"/>
                        <a:pt x="33176" y="92430"/>
                        <a:pt x="42376" y="92430"/>
                      </a:cubicBezTo>
                      <a:cubicBezTo>
                        <a:pt x="44634" y="92430"/>
                        <a:pt x="47044" y="92154"/>
                        <a:pt x="49016" y="91297"/>
                      </a:cubicBezTo>
                      <a:lnTo>
                        <a:pt x="49016" y="99498"/>
                      </a:lnTo>
                      <a:close/>
                    </a:path>
                  </a:pathLst>
                </a:custGeom>
                <a:grpFill/>
                <a:ln w="9525" cap="flat">
                  <a:noFill/>
                  <a:prstDash val="solid"/>
                  <a:miter/>
                </a:ln>
              </p:spPr>
              <p:txBody>
                <a:bodyPr rtlCol="0" anchor="ctr"/>
                <a:lstStyle/>
                <a:p>
                  <a:endParaRPr lang="ja-JP" altLang="en-US"/>
                </a:p>
              </p:txBody>
            </p:sp>
            <p:sp>
              <p:nvSpPr>
                <p:cNvPr id="135" name="フリーフォーム: 図形 60">
                  <a:extLst>
                    <a:ext uri="{FF2B5EF4-FFF2-40B4-BE49-F238E27FC236}">
                      <a16:creationId xmlns:a16="http://schemas.microsoft.com/office/drawing/2014/main" id="{A5190D53-C199-480E-BAE3-063045A2C5B4}"/>
                    </a:ext>
                  </a:extLst>
                </p:cNvPr>
                <p:cNvSpPr/>
                <p:nvPr/>
              </p:nvSpPr>
              <p:spPr>
                <a:xfrm>
                  <a:off x="1855837"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1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1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grpFill/>
                <a:ln w="9525" cap="flat">
                  <a:noFill/>
                  <a:prstDash val="solid"/>
                  <a:miter/>
                </a:ln>
              </p:spPr>
              <p:txBody>
                <a:bodyPr rtlCol="0" anchor="ctr"/>
                <a:lstStyle/>
                <a:p>
                  <a:endParaRPr lang="ja-JP" altLang="en-US"/>
                </a:p>
              </p:txBody>
            </p:sp>
            <p:sp>
              <p:nvSpPr>
                <p:cNvPr id="136" name="フリーフォーム: 図形 61">
                  <a:extLst>
                    <a:ext uri="{FF2B5EF4-FFF2-40B4-BE49-F238E27FC236}">
                      <a16:creationId xmlns:a16="http://schemas.microsoft.com/office/drawing/2014/main" id="{83C5D7D2-277A-4D13-898E-68E37A502516}"/>
                    </a:ext>
                  </a:extLst>
                </p:cNvPr>
                <p:cNvSpPr/>
                <p:nvPr/>
              </p:nvSpPr>
              <p:spPr>
                <a:xfrm>
                  <a:off x="1905634" y="5888037"/>
                  <a:ext cx="66675" cy="76200"/>
                </a:xfrm>
                <a:custGeom>
                  <a:avLst/>
                  <a:gdLst>
                    <a:gd name="connsiteX0" fmla="*/ 47873 w 66675"/>
                    <a:gd name="connsiteY0" fmla="*/ 58493 h 76200"/>
                    <a:gd name="connsiteX1" fmla="*/ 47597 w 66675"/>
                    <a:gd name="connsiteY1" fmla="*/ 58493 h 76200"/>
                    <a:gd name="connsiteX2" fmla="*/ 24117 w 66675"/>
                    <a:gd name="connsiteY2" fmla="*/ 76019 h 76200"/>
                    <a:gd name="connsiteX3" fmla="*/ 7144 w 66675"/>
                    <a:gd name="connsiteY3" fmla="*/ 56369 h 76200"/>
                    <a:gd name="connsiteX4" fmla="*/ 7144 w 66675"/>
                    <a:gd name="connsiteY4" fmla="*/ 7144 h 76200"/>
                    <a:gd name="connsiteX5" fmla="*/ 21431 w 66675"/>
                    <a:gd name="connsiteY5" fmla="*/ 7144 h 76200"/>
                    <a:gd name="connsiteX6" fmla="*/ 21431 w 66675"/>
                    <a:gd name="connsiteY6" fmla="*/ 49282 h 76200"/>
                    <a:gd name="connsiteX7" fmla="*/ 29918 w 66675"/>
                    <a:gd name="connsiteY7" fmla="*/ 65408 h 76200"/>
                    <a:gd name="connsiteX8" fmla="*/ 48015 w 66675"/>
                    <a:gd name="connsiteY8" fmla="*/ 34995 h 76200"/>
                    <a:gd name="connsiteX9" fmla="*/ 48015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7" y="58493"/>
                      </a:lnTo>
                      <a:cubicBezTo>
                        <a:pt x="45339" y="63446"/>
                        <a:pt x="38967" y="76019"/>
                        <a:pt x="24117" y="76019"/>
                      </a:cubicBezTo>
                      <a:cubicBezTo>
                        <a:pt x="12230" y="76019"/>
                        <a:pt x="7144" y="66122"/>
                        <a:pt x="7144" y="56369"/>
                      </a:cubicBezTo>
                      <a:lnTo>
                        <a:pt x="7144" y="7144"/>
                      </a:lnTo>
                      <a:lnTo>
                        <a:pt x="21431" y="7144"/>
                      </a:lnTo>
                      <a:lnTo>
                        <a:pt x="21431" y="49282"/>
                      </a:lnTo>
                      <a:cubicBezTo>
                        <a:pt x="21431" y="57788"/>
                        <a:pt x="22708" y="65408"/>
                        <a:pt x="29918" y="65408"/>
                      </a:cubicBezTo>
                      <a:cubicBezTo>
                        <a:pt x="44063" y="65408"/>
                        <a:pt x="48015" y="43348"/>
                        <a:pt x="48015" y="34995"/>
                      </a:cubicBezTo>
                      <a:lnTo>
                        <a:pt x="48015" y="7144"/>
                      </a:lnTo>
                      <a:lnTo>
                        <a:pt x="62303" y="7144"/>
                      </a:lnTo>
                      <a:lnTo>
                        <a:pt x="62303" y="74466"/>
                      </a:lnTo>
                      <a:lnTo>
                        <a:pt x="47873" y="74466"/>
                      </a:lnTo>
                      <a:lnTo>
                        <a:pt x="47873" y="58493"/>
                      </a:lnTo>
                      <a:close/>
                    </a:path>
                  </a:pathLst>
                </a:custGeom>
                <a:grpFill/>
                <a:ln w="9525" cap="flat">
                  <a:noFill/>
                  <a:prstDash val="solid"/>
                  <a:miter/>
                </a:ln>
              </p:spPr>
              <p:txBody>
                <a:bodyPr rtlCol="0" anchor="ctr"/>
                <a:lstStyle/>
                <a:p>
                  <a:endParaRPr lang="ja-JP" altLang="en-US"/>
                </a:p>
              </p:txBody>
            </p:sp>
            <p:sp>
              <p:nvSpPr>
                <p:cNvPr id="137" name="フリーフォーム: 図形 62">
                  <a:extLst>
                    <a:ext uri="{FF2B5EF4-FFF2-40B4-BE49-F238E27FC236}">
                      <a16:creationId xmlns:a16="http://schemas.microsoft.com/office/drawing/2014/main" id="{B41410D5-D3CA-4B80-A938-FD1486E35285}"/>
                    </a:ext>
                  </a:extLst>
                </p:cNvPr>
                <p:cNvSpPr/>
                <p:nvPr/>
              </p:nvSpPr>
              <p:spPr>
                <a:xfrm>
                  <a:off x="1976776" y="5886465"/>
                  <a:ext cx="66675" cy="76200"/>
                </a:xfrm>
                <a:custGeom>
                  <a:avLst/>
                  <a:gdLst>
                    <a:gd name="connsiteX0" fmla="*/ 58912 w 66675"/>
                    <a:gd name="connsiteY0" fmla="*/ 74200 h 76200"/>
                    <a:gd name="connsiteX1" fmla="*/ 40948 w 66675"/>
                    <a:gd name="connsiteY1" fmla="*/ 77581 h 76200"/>
                    <a:gd name="connsiteX2" fmla="*/ 7144 w 66675"/>
                    <a:gd name="connsiteY2" fmla="*/ 39681 h 76200"/>
                    <a:gd name="connsiteX3" fmla="*/ 35709 w 66675"/>
                    <a:gd name="connsiteY3" fmla="*/ 7144 h 76200"/>
                    <a:gd name="connsiteX4" fmla="*/ 59893 w 66675"/>
                    <a:gd name="connsiteY4" fmla="*/ 30623 h 76200"/>
                    <a:gd name="connsiteX5" fmla="*/ 44910 w 66675"/>
                    <a:gd name="connsiteY5" fmla="*/ 30623 h 76200"/>
                    <a:gd name="connsiteX6" fmla="*/ 35147 w 66675"/>
                    <a:gd name="connsiteY6" fmla="*/ 13078 h 76200"/>
                    <a:gd name="connsiteX7" fmla="*/ 22698 w 66675"/>
                    <a:gd name="connsiteY7" fmla="*/ 34862 h 76200"/>
                    <a:gd name="connsiteX8" fmla="*/ 46892 w 66675"/>
                    <a:gd name="connsiteY8" fmla="*/ 70075 h 76200"/>
                    <a:gd name="connsiteX9" fmla="*/ 58912 w 66675"/>
                    <a:gd name="connsiteY9" fmla="*/ 67542 h 76200"/>
                    <a:gd name="connsiteX10" fmla="*/ 58912 w 66675"/>
                    <a:gd name="connsiteY10" fmla="*/ 74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 h="76200">
                      <a:moveTo>
                        <a:pt x="58912" y="74200"/>
                      </a:moveTo>
                      <a:cubicBezTo>
                        <a:pt x="53121" y="76324"/>
                        <a:pt x="47034" y="77581"/>
                        <a:pt x="40948" y="77581"/>
                      </a:cubicBezTo>
                      <a:cubicBezTo>
                        <a:pt x="19593" y="77581"/>
                        <a:pt x="7144" y="64703"/>
                        <a:pt x="7144" y="39681"/>
                      </a:cubicBezTo>
                      <a:cubicBezTo>
                        <a:pt x="7144" y="19593"/>
                        <a:pt x="16335" y="7144"/>
                        <a:pt x="35709" y="7144"/>
                      </a:cubicBezTo>
                      <a:cubicBezTo>
                        <a:pt x="53816" y="7144"/>
                        <a:pt x="59893" y="16764"/>
                        <a:pt x="59893" y="30623"/>
                      </a:cubicBezTo>
                      <a:lnTo>
                        <a:pt x="44910" y="30623"/>
                      </a:lnTo>
                      <a:cubicBezTo>
                        <a:pt x="44910" y="22565"/>
                        <a:pt x="44053" y="13078"/>
                        <a:pt x="35147" y="13078"/>
                      </a:cubicBezTo>
                      <a:cubicBezTo>
                        <a:pt x="26946" y="13078"/>
                        <a:pt x="22698" y="22698"/>
                        <a:pt x="22698" y="34862"/>
                      </a:cubicBezTo>
                      <a:cubicBezTo>
                        <a:pt x="22698" y="51273"/>
                        <a:pt x="29632" y="70075"/>
                        <a:pt x="46892" y="70075"/>
                      </a:cubicBezTo>
                      <a:cubicBezTo>
                        <a:pt x="50987" y="70075"/>
                        <a:pt x="54950" y="69085"/>
                        <a:pt x="58912" y="67542"/>
                      </a:cubicBezTo>
                      <a:lnTo>
                        <a:pt x="58912" y="74200"/>
                      </a:lnTo>
                      <a:close/>
                    </a:path>
                  </a:pathLst>
                </a:custGeom>
                <a:grpFill/>
                <a:ln w="9525" cap="flat">
                  <a:noFill/>
                  <a:prstDash val="solid"/>
                  <a:miter/>
                </a:ln>
              </p:spPr>
              <p:txBody>
                <a:bodyPr rtlCol="0" anchor="ctr"/>
                <a:lstStyle/>
                <a:p>
                  <a:endParaRPr lang="ja-JP" altLang="en-US"/>
                </a:p>
              </p:txBody>
            </p:sp>
            <p:sp>
              <p:nvSpPr>
                <p:cNvPr id="138" name="フリーフォーム: 図形 63">
                  <a:extLst>
                    <a:ext uri="{FF2B5EF4-FFF2-40B4-BE49-F238E27FC236}">
                      <a16:creationId xmlns:a16="http://schemas.microsoft.com/office/drawing/2014/main" id="{CFC0431D-2937-4FF8-B401-29EA859953E0}"/>
                    </a:ext>
                  </a:extLst>
                </p:cNvPr>
                <p:cNvSpPr/>
                <p:nvPr/>
              </p:nvSpPr>
              <p:spPr>
                <a:xfrm>
                  <a:off x="2035469" y="5863567"/>
                  <a:ext cx="57150" cy="104775"/>
                </a:xfrm>
                <a:custGeom>
                  <a:avLst/>
                  <a:gdLst>
                    <a:gd name="connsiteX0" fmla="*/ 49016 w 57150"/>
                    <a:gd name="connsiteY0" fmla="*/ 99498 h 104775"/>
                    <a:gd name="connsiteX1" fmla="*/ 39119 w 57150"/>
                    <a:gd name="connsiteY1" fmla="*/ 100489 h 104775"/>
                    <a:gd name="connsiteX2" fmla="*/ 17898 w 57150"/>
                    <a:gd name="connsiteY2" fmla="*/ 83372 h 104775"/>
                    <a:gd name="connsiteX3" fmla="*/ 17898 w 57150"/>
                    <a:gd name="connsiteY3" fmla="*/ 38967 h 104775"/>
                    <a:gd name="connsiteX4" fmla="*/ 7144 w 57150"/>
                    <a:gd name="connsiteY4" fmla="*/ 38967 h 104775"/>
                    <a:gd name="connsiteX5" fmla="*/ 7144 w 57150"/>
                    <a:gd name="connsiteY5" fmla="*/ 31623 h 104775"/>
                    <a:gd name="connsiteX6" fmla="*/ 17898 w 57150"/>
                    <a:gd name="connsiteY6" fmla="*/ 31623 h 104775"/>
                    <a:gd name="connsiteX7" fmla="*/ 17898 w 57150"/>
                    <a:gd name="connsiteY7" fmla="*/ 15773 h 104775"/>
                    <a:gd name="connsiteX8" fmla="*/ 32185 w 57150"/>
                    <a:gd name="connsiteY8" fmla="*/ 7144 h 104775"/>
                    <a:gd name="connsiteX9" fmla="*/ 32185 w 57150"/>
                    <a:gd name="connsiteY9" fmla="*/ 31623 h 104775"/>
                    <a:gd name="connsiteX10" fmla="*/ 50568 w 57150"/>
                    <a:gd name="connsiteY10" fmla="*/ 31623 h 104775"/>
                    <a:gd name="connsiteX11" fmla="*/ 50568 w 57150"/>
                    <a:gd name="connsiteY11" fmla="*/ 38967 h 104775"/>
                    <a:gd name="connsiteX12" fmla="*/ 32185 w 57150"/>
                    <a:gd name="connsiteY12" fmla="*/ 38967 h 104775"/>
                    <a:gd name="connsiteX13" fmla="*/ 32185 w 57150"/>
                    <a:gd name="connsiteY13" fmla="*/ 77714 h 104775"/>
                    <a:gd name="connsiteX14" fmla="*/ 42358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67" y="100489"/>
                        <a:pt x="39119" y="100489"/>
                      </a:cubicBezTo>
                      <a:cubicBezTo>
                        <a:pt x="25680" y="100489"/>
                        <a:pt x="17898" y="96393"/>
                        <a:pt x="17898" y="83372"/>
                      </a:cubicBezTo>
                      <a:lnTo>
                        <a:pt x="17898" y="38967"/>
                      </a:lnTo>
                      <a:lnTo>
                        <a:pt x="7144" y="38967"/>
                      </a:lnTo>
                      <a:lnTo>
                        <a:pt x="7144" y="31623"/>
                      </a:lnTo>
                      <a:lnTo>
                        <a:pt x="17898" y="31623"/>
                      </a:lnTo>
                      <a:lnTo>
                        <a:pt x="17898" y="15773"/>
                      </a:lnTo>
                      <a:lnTo>
                        <a:pt x="32185" y="7144"/>
                      </a:lnTo>
                      <a:lnTo>
                        <a:pt x="32185" y="31623"/>
                      </a:lnTo>
                      <a:lnTo>
                        <a:pt x="50568" y="31623"/>
                      </a:lnTo>
                      <a:lnTo>
                        <a:pt x="50568" y="38967"/>
                      </a:lnTo>
                      <a:lnTo>
                        <a:pt x="32185" y="38967"/>
                      </a:lnTo>
                      <a:lnTo>
                        <a:pt x="32185" y="77714"/>
                      </a:lnTo>
                      <a:cubicBezTo>
                        <a:pt x="32185" y="87611"/>
                        <a:pt x="33176" y="92430"/>
                        <a:pt x="42358" y="92430"/>
                      </a:cubicBezTo>
                      <a:cubicBezTo>
                        <a:pt x="44625" y="92430"/>
                        <a:pt x="47025" y="92154"/>
                        <a:pt x="49006" y="91297"/>
                      </a:cubicBezTo>
                      <a:lnTo>
                        <a:pt x="49006" y="99498"/>
                      </a:lnTo>
                      <a:close/>
                    </a:path>
                  </a:pathLst>
                </a:custGeom>
                <a:grpFill/>
                <a:ln w="9525" cap="flat">
                  <a:noFill/>
                  <a:prstDash val="solid"/>
                  <a:miter/>
                </a:ln>
              </p:spPr>
              <p:txBody>
                <a:bodyPr rtlCol="0" anchor="ctr"/>
                <a:lstStyle/>
                <a:p>
                  <a:endParaRPr lang="ja-JP" altLang="en-US"/>
                </a:p>
              </p:txBody>
            </p:sp>
            <p:sp>
              <p:nvSpPr>
                <p:cNvPr id="139" name="フリーフォーム: 図形 64">
                  <a:extLst>
                    <a:ext uri="{FF2B5EF4-FFF2-40B4-BE49-F238E27FC236}">
                      <a16:creationId xmlns:a16="http://schemas.microsoft.com/office/drawing/2014/main" id="{854844E9-EE71-44DF-866E-CBBF73CB9195}"/>
                    </a:ext>
                  </a:extLst>
                </p:cNvPr>
                <p:cNvSpPr/>
                <p:nvPr/>
              </p:nvSpPr>
              <p:spPr>
                <a:xfrm>
                  <a:off x="2091629" y="5888037"/>
                  <a:ext cx="66675" cy="76200"/>
                </a:xfrm>
                <a:custGeom>
                  <a:avLst/>
                  <a:gdLst>
                    <a:gd name="connsiteX0" fmla="*/ 47873 w 66675"/>
                    <a:gd name="connsiteY0" fmla="*/ 58493 h 76200"/>
                    <a:gd name="connsiteX1" fmla="*/ 47596 w 66675"/>
                    <a:gd name="connsiteY1" fmla="*/ 58493 h 76200"/>
                    <a:gd name="connsiteX2" fmla="*/ 24117 w 66675"/>
                    <a:gd name="connsiteY2" fmla="*/ 76019 h 76200"/>
                    <a:gd name="connsiteX3" fmla="*/ 7144 w 66675"/>
                    <a:gd name="connsiteY3" fmla="*/ 56369 h 76200"/>
                    <a:gd name="connsiteX4" fmla="*/ 7144 w 66675"/>
                    <a:gd name="connsiteY4" fmla="*/ 7144 h 76200"/>
                    <a:gd name="connsiteX5" fmla="*/ 21431 w 66675"/>
                    <a:gd name="connsiteY5" fmla="*/ 7144 h 76200"/>
                    <a:gd name="connsiteX6" fmla="*/ 21431 w 66675"/>
                    <a:gd name="connsiteY6" fmla="*/ 49282 h 76200"/>
                    <a:gd name="connsiteX7" fmla="*/ 29918 w 66675"/>
                    <a:gd name="connsiteY7" fmla="*/ 65408 h 76200"/>
                    <a:gd name="connsiteX8" fmla="*/ 48025 w 66675"/>
                    <a:gd name="connsiteY8" fmla="*/ 34995 h 76200"/>
                    <a:gd name="connsiteX9" fmla="*/ 48025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6" y="58493"/>
                      </a:lnTo>
                      <a:cubicBezTo>
                        <a:pt x="45339" y="63446"/>
                        <a:pt x="38967" y="76019"/>
                        <a:pt x="24117" y="76019"/>
                      </a:cubicBezTo>
                      <a:cubicBezTo>
                        <a:pt x="12230" y="76019"/>
                        <a:pt x="7144" y="66122"/>
                        <a:pt x="7144" y="56369"/>
                      </a:cubicBezTo>
                      <a:lnTo>
                        <a:pt x="7144" y="7144"/>
                      </a:lnTo>
                      <a:lnTo>
                        <a:pt x="21431" y="7144"/>
                      </a:lnTo>
                      <a:lnTo>
                        <a:pt x="21431" y="49282"/>
                      </a:lnTo>
                      <a:cubicBezTo>
                        <a:pt x="21431" y="57788"/>
                        <a:pt x="22708" y="65408"/>
                        <a:pt x="29918" y="65408"/>
                      </a:cubicBezTo>
                      <a:cubicBezTo>
                        <a:pt x="44062" y="65408"/>
                        <a:pt x="48025" y="43348"/>
                        <a:pt x="48025" y="34995"/>
                      </a:cubicBezTo>
                      <a:lnTo>
                        <a:pt x="48025" y="7144"/>
                      </a:lnTo>
                      <a:lnTo>
                        <a:pt x="62303" y="7144"/>
                      </a:lnTo>
                      <a:lnTo>
                        <a:pt x="62303" y="74466"/>
                      </a:lnTo>
                      <a:lnTo>
                        <a:pt x="47873" y="74466"/>
                      </a:lnTo>
                      <a:lnTo>
                        <a:pt x="47873" y="58493"/>
                      </a:lnTo>
                      <a:close/>
                    </a:path>
                  </a:pathLst>
                </a:custGeom>
                <a:grpFill/>
                <a:ln w="9525" cap="flat">
                  <a:noFill/>
                  <a:prstDash val="solid"/>
                  <a:miter/>
                </a:ln>
              </p:spPr>
              <p:txBody>
                <a:bodyPr rtlCol="0" anchor="ctr"/>
                <a:lstStyle/>
                <a:p>
                  <a:endParaRPr lang="ja-JP" altLang="en-US"/>
                </a:p>
              </p:txBody>
            </p:sp>
            <p:sp>
              <p:nvSpPr>
                <p:cNvPr id="140" name="フリーフォーム: 図形 65">
                  <a:extLst>
                    <a:ext uri="{FF2B5EF4-FFF2-40B4-BE49-F238E27FC236}">
                      <a16:creationId xmlns:a16="http://schemas.microsoft.com/office/drawing/2014/main" id="{350FFC09-DE5A-440B-A719-E0E3468ED97B}"/>
                    </a:ext>
                  </a:extLst>
                </p:cNvPr>
                <p:cNvSpPr/>
                <p:nvPr/>
              </p:nvSpPr>
              <p:spPr>
                <a:xfrm>
                  <a:off x="2167724"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grpFill/>
                <a:ln w="9525" cap="flat">
                  <a:noFill/>
                  <a:prstDash val="solid"/>
                  <a:miter/>
                </a:ln>
              </p:spPr>
              <p:txBody>
                <a:bodyPr rtlCol="0" anchor="ctr"/>
                <a:lstStyle/>
                <a:p>
                  <a:endParaRPr lang="ja-JP" altLang="en-US"/>
                </a:p>
              </p:txBody>
            </p:sp>
            <p:sp>
              <p:nvSpPr>
                <p:cNvPr id="141" name="フリーフォーム: 図形 66">
                  <a:extLst>
                    <a:ext uri="{FF2B5EF4-FFF2-40B4-BE49-F238E27FC236}">
                      <a16:creationId xmlns:a16="http://schemas.microsoft.com/office/drawing/2014/main" id="{F946BD97-810F-48A2-BB49-01C86F4D0E95}"/>
                    </a:ext>
                  </a:extLst>
                </p:cNvPr>
                <p:cNvSpPr/>
                <p:nvPr/>
              </p:nvSpPr>
              <p:spPr>
                <a:xfrm>
                  <a:off x="2212568" y="5886465"/>
                  <a:ext cx="66675" cy="76200"/>
                </a:xfrm>
                <a:custGeom>
                  <a:avLst/>
                  <a:gdLst>
                    <a:gd name="connsiteX0" fmla="*/ 60465 w 66675"/>
                    <a:gd name="connsiteY0" fmla="*/ 73771 h 76200"/>
                    <a:gd name="connsiteX1" fmla="*/ 40805 w 66675"/>
                    <a:gd name="connsiteY1" fmla="*/ 77581 h 76200"/>
                    <a:gd name="connsiteX2" fmla="*/ 7144 w 66675"/>
                    <a:gd name="connsiteY2" fmla="*/ 39405 h 76200"/>
                    <a:gd name="connsiteX3" fmla="*/ 35861 w 66675"/>
                    <a:gd name="connsiteY3" fmla="*/ 7144 h 76200"/>
                    <a:gd name="connsiteX4" fmla="*/ 61751 w 66675"/>
                    <a:gd name="connsiteY4" fmla="*/ 34728 h 76200"/>
                    <a:gd name="connsiteX5" fmla="*/ 21441 w 66675"/>
                    <a:gd name="connsiteY5" fmla="*/ 34728 h 76200"/>
                    <a:gd name="connsiteX6" fmla="*/ 47606 w 66675"/>
                    <a:gd name="connsiteY6" fmla="*/ 70075 h 76200"/>
                    <a:gd name="connsiteX7" fmla="*/ 60484 w 66675"/>
                    <a:gd name="connsiteY7" fmla="*/ 67246 h 76200"/>
                    <a:gd name="connsiteX8" fmla="*/ 60484 w 66675"/>
                    <a:gd name="connsiteY8" fmla="*/ 73771 h 76200"/>
                    <a:gd name="connsiteX9" fmla="*/ 47730 w 66675"/>
                    <a:gd name="connsiteY9" fmla="*/ 28232 h 76200"/>
                    <a:gd name="connsiteX10" fmla="*/ 35281 w 66675"/>
                    <a:gd name="connsiteY10" fmla="*/ 13087 h 76200"/>
                    <a:gd name="connsiteX11" fmla="*/ 21850 w 66675"/>
                    <a:gd name="connsiteY11" fmla="*/ 28232 h 76200"/>
                    <a:gd name="connsiteX12" fmla="*/ 47730 w 66675"/>
                    <a:gd name="connsiteY12" fmla="*/ 2823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75" h="76200">
                      <a:moveTo>
                        <a:pt x="60465" y="73771"/>
                      </a:moveTo>
                      <a:cubicBezTo>
                        <a:pt x="54521" y="76172"/>
                        <a:pt x="49292" y="77581"/>
                        <a:pt x="40805" y="77581"/>
                      </a:cubicBezTo>
                      <a:cubicBezTo>
                        <a:pt x="22136" y="77581"/>
                        <a:pt x="7144" y="66551"/>
                        <a:pt x="7144" y="39405"/>
                      </a:cubicBezTo>
                      <a:cubicBezTo>
                        <a:pt x="7144" y="20726"/>
                        <a:pt x="14640" y="7144"/>
                        <a:pt x="35861" y="7144"/>
                      </a:cubicBezTo>
                      <a:cubicBezTo>
                        <a:pt x="57645" y="7144"/>
                        <a:pt x="61751" y="21707"/>
                        <a:pt x="61751" y="34728"/>
                      </a:cubicBezTo>
                      <a:lnTo>
                        <a:pt x="21441" y="34728"/>
                      </a:lnTo>
                      <a:cubicBezTo>
                        <a:pt x="21441" y="48015"/>
                        <a:pt x="27384" y="70075"/>
                        <a:pt x="47606" y="70075"/>
                      </a:cubicBezTo>
                      <a:cubicBezTo>
                        <a:pt x="51997" y="70075"/>
                        <a:pt x="56236" y="69237"/>
                        <a:pt x="60484" y="67246"/>
                      </a:cubicBezTo>
                      <a:lnTo>
                        <a:pt x="60484" y="73771"/>
                      </a:lnTo>
                      <a:close/>
                      <a:moveTo>
                        <a:pt x="47730" y="28232"/>
                      </a:moveTo>
                      <a:cubicBezTo>
                        <a:pt x="47730" y="23003"/>
                        <a:pt x="45901" y="13087"/>
                        <a:pt x="35281" y="13087"/>
                      </a:cubicBezTo>
                      <a:cubicBezTo>
                        <a:pt x="24251" y="13087"/>
                        <a:pt x="22127" y="24412"/>
                        <a:pt x="21850" y="28232"/>
                      </a:cubicBezTo>
                      <a:lnTo>
                        <a:pt x="47730" y="28232"/>
                      </a:lnTo>
                      <a:close/>
                    </a:path>
                  </a:pathLst>
                </a:custGeom>
                <a:grpFill/>
                <a:ln w="9525" cap="flat">
                  <a:noFill/>
                  <a:prstDash val="solid"/>
                  <a:miter/>
                </a:ln>
              </p:spPr>
              <p:txBody>
                <a:bodyPr rtlCol="0" anchor="ctr"/>
                <a:lstStyle/>
                <a:p>
                  <a:endParaRPr lang="ja-JP" altLang="en-US"/>
                </a:p>
              </p:txBody>
            </p:sp>
            <p:sp>
              <p:nvSpPr>
                <p:cNvPr id="142" name="フリーフォーム: 図形 67">
                  <a:extLst>
                    <a:ext uri="{FF2B5EF4-FFF2-40B4-BE49-F238E27FC236}">
                      <a16:creationId xmlns:a16="http://schemas.microsoft.com/office/drawing/2014/main" id="{92EDC592-05AB-4CC5-A560-BA875F02ACFA}"/>
                    </a:ext>
                  </a:extLst>
                </p:cNvPr>
                <p:cNvSpPr/>
                <p:nvPr/>
              </p:nvSpPr>
              <p:spPr>
                <a:xfrm>
                  <a:off x="2280605" y="5938252"/>
                  <a:ext cx="28575" cy="38100"/>
                </a:xfrm>
                <a:custGeom>
                  <a:avLst/>
                  <a:gdLst>
                    <a:gd name="connsiteX0" fmla="*/ 8411 w 28575"/>
                    <a:gd name="connsiteY0" fmla="*/ 7144 h 38100"/>
                    <a:gd name="connsiteX1" fmla="*/ 24822 w 28575"/>
                    <a:gd name="connsiteY1" fmla="*/ 7144 h 38100"/>
                    <a:gd name="connsiteX2" fmla="*/ 18459 w 28575"/>
                    <a:gd name="connsiteY2" fmla="*/ 39253 h 38100"/>
                    <a:gd name="connsiteX3" fmla="*/ 7144 w 28575"/>
                    <a:gd name="connsiteY3" fmla="*/ 39253 h 38100"/>
                    <a:gd name="connsiteX4" fmla="*/ 8411 w 28575"/>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8411" y="7144"/>
                      </a:moveTo>
                      <a:lnTo>
                        <a:pt x="24822" y="7144"/>
                      </a:lnTo>
                      <a:lnTo>
                        <a:pt x="18459" y="39253"/>
                      </a:lnTo>
                      <a:lnTo>
                        <a:pt x="7144" y="39253"/>
                      </a:lnTo>
                      <a:lnTo>
                        <a:pt x="8411" y="7144"/>
                      </a:lnTo>
                      <a:close/>
                    </a:path>
                  </a:pathLst>
                </a:custGeom>
                <a:grpFill/>
                <a:ln w="9525" cap="flat">
                  <a:noFill/>
                  <a:prstDash val="solid"/>
                  <a:miter/>
                </a:ln>
              </p:spPr>
              <p:txBody>
                <a:bodyPr rtlCol="0" anchor="ctr"/>
                <a:lstStyle/>
                <a:p>
                  <a:endParaRPr lang="ja-JP" altLang="en-US"/>
                </a:p>
              </p:txBody>
            </p:sp>
            <p:sp>
              <p:nvSpPr>
                <p:cNvPr id="143" name="フリーフォーム: 図形 68">
                  <a:extLst>
                    <a:ext uri="{FF2B5EF4-FFF2-40B4-BE49-F238E27FC236}">
                      <a16:creationId xmlns:a16="http://schemas.microsoft.com/office/drawing/2014/main" id="{BDF6B956-73F8-450C-BB61-047A525E6F9D}"/>
                    </a:ext>
                  </a:extLst>
                </p:cNvPr>
                <p:cNvSpPr/>
                <p:nvPr/>
              </p:nvSpPr>
              <p:spPr>
                <a:xfrm>
                  <a:off x="2343260" y="5857766"/>
                  <a:ext cx="76200" cy="104775"/>
                </a:xfrm>
                <a:custGeom>
                  <a:avLst/>
                  <a:gdLst>
                    <a:gd name="connsiteX0" fmla="*/ 30756 w 76200"/>
                    <a:gd name="connsiteY0" fmla="*/ 16469 h 104775"/>
                    <a:gd name="connsiteX1" fmla="*/ 7144 w 76200"/>
                    <a:gd name="connsiteY1" fmla="*/ 16469 h 104775"/>
                    <a:gd name="connsiteX2" fmla="*/ 7144 w 76200"/>
                    <a:gd name="connsiteY2" fmla="*/ 7144 h 104775"/>
                    <a:gd name="connsiteX3" fmla="*/ 69942 w 76200"/>
                    <a:gd name="connsiteY3" fmla="*/ 7144 h 104775"/>
                    <a:gd name="connsiteX4" fmla="*/ 69942 w 76200"/>
                    <a:gd name="connsiteY4" fmla="*/ 16469 h 104775"/>
                    <a:gd name="connsiteX5" fmla="*/ 46329 w 76200"/>
                    <a:gd name="connsiteY5" fmla="*/ 16469 h 104775"/>
                    <a:gd name="connsiteX6" fmla="*/ 46329 w 76200"/>
                    <a:gd name="connsiteY6" fmla="*/ 104747 h 104775"/>
                    <a:gd name="connsiteX7" fmla="*/ 30766 w 76200"/>
                    <a:gd name="connsiteY7" fmla="*/ 104747 h 104775"/>
                    <a:gd name="connsiteX8" fmla="*/ 30766 w 76200"/>
                    <a:gd name="connsiteY8" fmla="*/ 164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4775">
                      <a:moveTo>
                        <a:pt x="30756" y="16469"/>
                      </a:moveTo>
                      <a:lnTo>
                        <a:pt x="7144" y="16469"/>
                      </a:lnTo>
                      <a:lnTo>
                        <a:pt x="7144" y="7144"/>
                      </a:lnTo>
                      <a:lnTo>
                        <a:pt x="69942" y="7144"/>
                      </a:lnTo>
                      <a:lnTo>
                        <a:pt x="69942" y="16469"/>
                      </a:lnTo>
                      <a:lnTo>
                        <a:pt x="46329" y="16469"/>
                      </a:lnTo>
                      <a:lnTo>
                        <a:pt x="46329" y="104747"/>
                      </a:lnTo>
                      <a:lnTo>
                        <a:pt x="30766" y="104747"/>
                      </a:lnTo>
                      <a:lnTo>
                        <a:pt x="30766" y="16469"/>
                      </a:lnTo>
                      <a:close/>
                    </a:path>
                  </a:pathLst>
                </a:custGeom>
                <a:grpFill/>
                <a:ln w="9525" cap="flat">
                  <a:noFill/>
                  <a:prstDash val="solid"/>
                  <a:miter/>
                </a:ln>
              </p:spPr>
              <p:txBody>
                <a:bodyPr rtlCol="0" anchor="ctr"/>
                <a:lstStyle/>
                <a:p>
                  <a:endParaRPr lang="ja-JP" altLang="en-US"/>
                </a:p>
              </p:txBody>
            </p:sp>
            <p:sp>
              <p:nvSpPr>
                <p:cNvPr id="144" name="フリーフォーム: 図形 69">
                  <a:extLst>
                    <a:ext uri="{FF2B5EF4-FFF2-40B4-BE49-F238E27FC236}">
                      <a16:creationId xmlns:a16="http://schemas.microsoft.com/office/drawing/2014/main" id="{993B96EA-05E1-4922-B9F7-A01387ACC0BF}"/>
                    </a:ext>
                  </a:extLst>
                </p:cNvPr>
                <p:cNvSpPr/>
                <p:nvPr/>
              </p:nvSpPr>
              <p:spPr>
                <a:xfrm>
                  <a:off x="2416669"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grpFill/>
                <a:ln w="9525" cap="flat">
                  <a:noFill/>
                  <a:prstDash val="solid"/>
                  <a:miter/>
                </a:ln>
              </p:spPr>
              <p:txBody>
                <a:bodyPr rtlCol="0" anchor="ctr"/>
                <a:lstStyle/>
                <a:p>
                  <a:endParaRPr lang="ja-JP" altLang="en-US"/>
                </a:p>
              </p:txBody>
            </p:sp>
            <p:sp>
              <p:nvSpPr>
                <p:cNvPr id="145" name="フリーフォーム: 図形 70">
                  <a:extLst>
                    <a:ext uri="{FF2B5EF4-FFF2-40B4-BE49-F238E27FC236}">
                      <a16:creationId xmlns:a16="http://schemas.microsoft.com/office/drawing/2014/main" id="{56B140CF-5D3A-4452-A362-6C2FDB57483A}"/>
                    </a:ext>
                  </a:extLst>
                </p:cNvPr>
                <p:cNvSpPr/>
                <p:nvPr/>
              </p:nvSpPr>
              <p:spPr>
                <a:xfrm>
                  <a:off x="2462075" y="5886475"/>
                  <a:ext cx="57150" cy="76200"/>
                </a:xfrm>
                <a:custGeom>
                  <a:avLst/>
                  <a:gdLst>
                    <a:gd name="connsiteX0" fmla="*/ 44777 w 57150"/>
                    <a:gd name="connsiteY0" fmla="*/ 66694 h 76200"/>
                    <a:gd name="connsiteX1" fmla="*/ 44482 w 57150"/>
                    <a:gd name="connsiteY1" fmla="*/ 66694 h 76200"/>
                    <a:gd name="connsiteX2" fmla="*/ 25537 w 57150"/>
                    <a:gd name="connsiteY2" fmla="*/ 77581 h 76200"/>
                    <a:gd name="connsiteX3" fmla="*/ 7144 w 57150"/>
                    <a:gd name="connsiteY3" fmla="*/ 60760 h 76200"/>
                    <a:gd name="connsiteX4" fmla="*/ 44777 w 57150"/>
                    <a:gd name="connsiteY4" fmla="*/ 38548 h 76200"/>
                    <a:gd name="connsiteX5" fmla="*/ 44777 w 57150"/>
                    <a:gd name="connsiteY5" fmla="*/ 32613 h 76200"/>
                    <a:gd name="connsiteX6" fmla="*/ 35290 w 57150"/>
                    <a:gd name="connsiteY6" fmla="*/ 13078 h 76200"/>
                    <a:gd name="connsiteX7" fmla="*/ 24394 w 57150"/>
                    <a:gd name="connsiteY7" fmla="*/ 27794 h 76200"/>
                    <a:gd name="connsiteX8" fmla="*/ 9401 w 57150"/>
                    <a:gd name="connsiteY8" fmla="*/ 27794 h 76200"/>
                    <a:gd name="connsiteX9" fmla="*/ 35290 w 57150"/>
                    <a:gd name="connsiteY9" fmla="*/ 7144 h 76200"/>
                    <a:gd name="connsiteX10" fmla="*/ 59064 w 57150"/>
                    <a:gd name="connsiteY10" fmla="*/ 32613 h 76200"/>
                    <a:gd name="connsiteX11" fmla="*/ 59064 w 57150"/>
                    <a:gd name="connsiteY11" fmla="*/ 76038 h 76200"/>
                    <a:gd name="connsiteX12" fmla="*/ 44777 w 57150"/>
                    <a:gd name="connsiteY12" fmla="*/ 76038 h 76200"/>
                    <a:gd name="connsiteX13" fmla="*/ 44777 w 57150"/>
                    <a:gd name="connsiteY13" fmla="*/ 66694 h 76200"/>
                    <a:gd name="connsiteX14" fmla="*/ 44777 w 57150"/>
                    <a:gd name="connsiteY14" fmla="*/ 44482 h 76200"/>
                    <a:gd name="connsiteX15" fmla="*/ 22708 w 57150"/>
                    <a:gd name="connsiteY15" fmla="*/ 58636 h 76200"/>
                    <a:gd name="connsiteX16" fmla="*/ 30899 w 57150"/>
                    <a:gd name="connsiteY16" fmla="*/ 68666 h 76200"/>
                    <a:gd name="connsiteX17" fmla="*/ 44777 w 57150"/>
                    <a:gd name="connsiteY17" fmla="*/ 52406 h 76200"/>
                    <a:gd name="connsiteX18" fmla="*/ 44777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77" y="66694"/>
                      </a:moveTo>
                      <a:lnTo>
                        <a:pt x="44482" y="66694"/>
                      </a:lnTo>
                      <a:cubicBezTo>
                        <a:pt x="42224" y="70656"/>
                        <a:pt x="36281" y="77581"/>
                        <a:pt x="25537" y="77581"/>
                      </a:cubicBezTo>
                      <a:cubicBezTo>
                        <a:pt x="14926" y="77581"/>
                        <a:pt x="7144" y="70085"/>
                        <a:pt x="7144" y="60760"/>
                      </a:cubicBezTo>
                      <a:cubicBezTo>
                        <a:pt x="7144" y="39957"/>
                        <a:pt x="35861" y="38976"/>
                        <a:pt x="44777" y="38548"/>
                      </a:cubicBezTo>
                      <a:lnTo>
                        <a:pt x="44777" y="32613"/>
                      </a:lnTo>
                      <a:cubicBezTo>
                        <a:pt x="44777" y="25251"/>
                        <a:pt x="44777" y="13078"/>
                        <a:pt x="35290" y="13078"/>
                      </a:cubicBezTo>
                      <a:cubicBezTo>
                        <a:pt x="26518" y="13078"/>
                        <a:pt x="24965" y="19869"/>
                        <a:pt x="24394" y="27794"/>
                      </a:cubicBezTo>
                      <a:lnTo>
                        <a:pt x="9401" y="27794"/>
                      </a:lnTo>
                      <a:cubicBezTo>
                        <a:pt x="10106" y="17745"/>
                        <a:pt x="14068" y="7144"/>
                        <a:pt x="35290" y="7144"/>
                      </a:cubicBezTo>
                      <a:cubicBezTo>
                        <a:pt x="57217" y="7144"/>
                        <a:pt x="59064" y="19440"/>
                        <a:pt x="59064" y="32613"/>
                      </a:cubicBezTo>
                      <a:lnTo>
                        <a:pt x="59064" y="76038"/>
                      </a:lnTo>
                      <a:lnTo>
                        <a:pt x="44777" y="76038"/>
                      </a:lnTo>
                      <a:lnTo>
                        <a:pt x="44777" y="66694"/>
                      </a:lnTo>
                      <a:close/>
                      <a:moveTo>
                        <a:pt x="44777" y="44482"/>
                      </a:moveTo>
                      <a:cubicBezTo>
                        <a:pt x="38824" y="44910"/>
                        <a:pt x="22708" y="46177"/>
                        <a:pt x="22708" y="58636"/>
                      </a:cubicBezTo>
                      <a:cubicBezTo>
                        <a:pt x="22708" y="64703"/>
                        <a:pt x="26241" y="68666"/>
                        <a:pt x="30899" y="68666"/>
                      </a:cubicBezTo>
                      <a:cubicBezTo>
                        <a:pt x="35861" y="68666"/>
                        <a:pt x="44777" y="63865"/>
                        <a:pt x="44777" y="52406"/>
                      </a:cubicBezTo>
                      <a:lnTo>
                        <a:pt x="44777" y="44482"/>
                      </a:lnTo>
                      <a:close/>
                    </a:path>
                  </a:pathLst>
                </a:custGeom>
                <a:grpFill/>
                <a:ln w="9525" cap="flat">
                  <a:noFill/>
                  <a:prstDash val="solid"/>
                  <a:miter/>
                </a:ln>
              </p:spPr>
              <p:txBody>
                <a:bodyPr rtlCol="0" anchor="ctr"/>
                <a:lstStyle/>
                <a:p>
                  <a:endParaRPr lang="ja-JP" altLang="en-US"/>
                </a:p>
              </p:txBody>
            </p:sp>
            <p:sp>
              <p:nvSpPr>
                <p:cNvPr id="146" name="フリーフォーム: 図形 71">
                  <a:extLst>
                    <a:ext uri="{FF2B5EF4-FFF2-40B4-BE49-F238E27FC236}">
                      <a16:creationId xmlns:a16="http://schemas.microsoft.com/office/drawing/2014/main" id="{072E516E-D9E6-4E9E-A4CA-CECCF90B60C1}"/>
                    </a:ext>
                  </a:extLst>
                </p:cNvPr>
                <p:cNvSpPr/>
                <p:nvPr/>
              </p:nvSpPr>
              <p:spPr>
                <a:xfrm>
                  <a:off x="2534627" y="5886475"/>
                  <a:ext cx="66675" cy="76200"/>
                </a:xfrm>
                <a:custGeom>
                  <a:avLst/>
                  <a:gdLst>
                    <a:gd name="connsiteX0" fmla="*/ 7153 w 66675"/>
                    <a:gd name="connsiteY0" fmla="*/ 8706 h 76200"/>
                    <a:gd name="connsiteX1" fmla="*/ 21431 w 66675"/>
                    <a:gd name="connsiteY1" fmla="*/ 8706 h 76200"/>
                    <a:gd name="connsiteX2" fmla="*/ 21431 w 66675"/>
                    <a:gd name="connsiteY2" fmla="*/ 24689 h 76200"/>
                    <a:gd name="connsiteX3" fmla="*/ 21717 w 66675"/>
                    <a:gd name="connsiteY3" fmla="*/ 24689 h 76200"/>
                    <a:gd name="connsiteX4" fmla="*/ 45329 w 66675"/>
                    <a:gd name="connsiteY4" fmla="*/ 7144 h 76200"/>
                    <a:gd name="connsiteX5" fmla="*/ 62303 w 66675"/>
                    <a:gd name="connsiteY5" fmla="*/ 26803 h 76200"/>
                    <a:gd name="connsiteX6" fmla="*/ 62303 w 66675"/>
                    <a:gd name="connsiteY6" fmla="*/ 76029 h 76200"/>
                    <a:gd name="connsiteX7" fmla="*/ 48015 w 66675"/>
                    <a:gd name="connsiteY7" fmla="*/ 76029 h 76200"/>
                    <a:gd name="connsiteX8" fmla="*/ 48015 w 66675"/>
                    <a:gd name="connsiteY8" fmla="*/ 33871 h 76200"/>
                    <a:gd name="connsiteX9" fmla="*/ 39529 w 66675"/>
                    <a:gd name="connsiteY9" fmla="*/ 17745 h 76200"/>
                    <a:gd name="connsiteX10" fmla="*/ 21422 w 66675"/>
                    <a:gd name="connsiteY10" fmla="*/ 48158 h 76200"/>
                    <a:gd name="connsiteX11" fmla="*/ 21422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31" y="8706"/>
                      </a:lnTo>
                      <a:lnTo>
                        <a:pt x="21431" y="24689"/>
                      </a:lnTo>
                      <a:lnTo>
                        <a:pt x="21717" y="24689"/>
                      </a:lnTo>
                      <a:cubicBezTo>
                        <a:pt x="23974" y="19736"/>
                        <a:pt x="30489" y="7144"/>
                        <a:pt x="45329" y="7144"/>
                      </a:cubicBezTo>
                      <a:cubicBezTo>
                        <a:pt x="57217" y="7144"/>
                        <a:pt x="62303" y="17040"/>
                        <a:pt x="62303" y="26803"/>
                      </a:cubicBezTo>
                      <a:lnTo>
                        <a:pt x="62303" y="76029"/>
                      </a:lnTo>
                      <a:lnTo>
                        <a:pt x="48015" y="76029"/>
                      </a:lnTo>
                      <a:lnTo>
                        <a:pt x="48015" y="33871"/>
                      </a:lnTo>
                      <a:cubicBezTo>
                        <a:pt x="48015" y="25384"/>
                        <a:pt x="46739" y="17745"/>
                        <a:pt x="39529" y="17745"/>
                      </a:cubicBezTo>
                      <a:cubicBezTo>
                        <a:pt x="25384" y="17745"/>
                        <a:pt x="21422" y="39805"/>
                        <a:pt x="21422" y="48158"/>
                      </a:cubicBezTo>
                      <a:lnTo>
                        <a:pt x="21422" y="76029"/>
                      </a:lnTo>
                      <a:lnTo>
                        <a:pt x="7144" y="76029"/>
                      </a:lnTo>
                      <a:lnTo>
                        <a:pt x="7144" y="8706"/>
                      </a:lnTo>
                      <a:close/>
                    </a:path>
                  </a:pathLst>
                </a:custGeom>
                <a:grpFill/>
                <a:ln w="9525" cap="flat">
                  <a:noFill/>
                  <a:prstDash val="solid"/>
                  <a:miter/>
                </a:ln>
              </p:spPr>
              <p:txBody>
                <a:bodyPr rtlCol="0" anchor="ctr"/>
                <a:lstStyle/>
                <a:p>
                  <a:endParaRPr lang="ja-JP" altLang="en-US"/>
                </a:p>
              </p:txBody>
            </p:sp>
            <p:sp>
              <p:nvSpPr>
                <p:cNvPr id="147" name="フリーフォーム: 図形 72">
                  <a:extLst>
                    <a:ext uri="{FF2B5EF4-FFF2-40B4-BE49-F238E27FC236}">
                      <a16:creationId xmlns:a16="http://schemas.microsoft.com/office/drawing/2014/main" id="{4AEA0352-F612-4D79-87F2-DB20E980E7A6}"/>
                    </a:ext>
                  </a:extLst>
                </p:cNvPr>
                <p:cNvSpPr/>
                <p:nvPr/>
              </p:nvSpPr>
              <p:spPr>
                <a:xfrm>
                  <a:off x="2607750" y="5886465"/>
                  <a:ext cx="57150" cy="76200"/>
                </a:xfrm>
                <a:custGeom>
                  <a:avLst/>
                  <a:gdLst>
                    <a:gd name="connsiteX0" fmla="*/ 46615 w 57150"/>
                    <a:gd name="connsiteY0" fmla="*/ 22003 h 76200"/>
                    <a:gd name="connsiteX1" fmla="*/ 29642 w 57150"/>
                    <a:gd name="connsiteY1" fmla="*/ 15364 h 76200"/>
                    <a:gd name="connsiteX2" fmla="*/ 20022 w 57150"/>
                    <a:gd name="connsiteY2" fmla="*/ 22431 h 76200"/>
                    <a:gd name="connsiteX3" fmla="*/ 50854 w 57150"/>
                    <a:gd name="connsiteY3" fmla="*/ 57236 h 76200"/>
                    <a:gd name="connsiteX4" fmla="*/ 25251 w 57150"/>
                    <a:gd name="connsiteY4" fmla="*/ 77591 h 76200"/>
                    <a:gd name="connsiteX5" fmla="*/ 7277 w 57150"/>
                    <a:gd name="connsiteY5" fmla="*/ 74628 h 76200"/>
                    <a:gd name="connsiteX6" fmla="*/ 7277 w 57150"/>
                    <a:gd name="connsiteY6" fmla="*/ 61474 h 76200"/>
                    <a:gd name="connsiteX7" fmla="*/ 25956 w 57150"/>
                    <a:gd name="connsiteY7" fmla="*/ 68542 h 76200"/>
                    <a:gd name="connsiteX8" fmla="*/ 37557 w 57150"/>
                    <a:gd name="connsiteY8" fmla="*/ 60055 h 76200"/>
                    <a:gd name="connsiteX9" fmla="*/ 7144 w 57150"/>
                    <a:gd name="connsiteY9" fmla="*/ 26527 h 76200"/>
                    <a:gd name="connsiteX10" fmla="*/ 3076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15" y="22003"/>
                      </a:moveTo>
                      <a:cubicBezTo>
                        <a:pt x="41805" y="18745"/>
                        <a:pt x="36433" y="15364"/>
                        <a:pt x="29642" y="15364"/>
                      </a:cubicBezTo>
                      <a:cubicBezTo>
                        <a:pt x="25108" y="15364"/>
                        <a:pt x="20022" y="17336"/>
                        <a:pt x="20022" y="22431"/>
                      </a:cubicBezTo>
                      <a:cubicBezTo>
                        <a:pt x="20022" y="34595"/>
                        <a:pt x="50854" y="35728"/>
                        <a:pt x="50854" y="57236"/>
                      </a:cubicBezTo>
                      <a:cubicBezTo>
                        <a:pt x="50854" y="71656"/>
                        <a:pt x="39538" y="77591"/>
                        <a:pt x="25251" y="77591"/>
                      </a:cubicBezTo>
                      <a:cubicBezTo>
                        <a:pt x="16621" y="77591"/>
                        <a:pt x="10678" y="75771"/>
                        <a:pt x="7277" y="74628"/>
                      </a:cubicBezTo>
                      <a:lnTo>
                        <a:pt x="7277" y="61474"/>
                      </a:lnTo>
                      <a:cubicBezTo>
                        <a:pt x="11382" y="64303"/>
                        <a:pt x="18031" y="68542"/>
                        <a:pt x="25956" y="68542"/>
                      </a:cubicBezTo>
                      <a:cubicBezTo>
                        <a:pt x="34157" y="68542"/>
                        <a:pt x="37557" y="64303"/>
                        <a:pt x="37557" y="60055"/>
                      </a:cubicBezTo>
                      <a:cubicBezTo>
                        <a:pt x="37557" y="48168"/>
                        <a:pt x="7144" y="45768"/>
                        <a:pt x="7144" y="26527"/>
                      </a:cubicBezTo>
                      <a:cubicBezTo>
                        <a:pt x="7144" y="16335"/>
                        <a:pt x="13935" y="7144"/>
                        <a:pt x="30766" y="7144"/>
                      </a:cubicBezTo>
                      <a:cubicBezTo>
                        <a:pt x="37976" y="7144"/>
                        <a:pt x="44196" y="9115"/>
                        <a:pt x="46606" y="9820"/>
                      </a:cubicBezTo>
                      <a:lnTo>
                        <a:pt x="46606" y="22003"/>
                      </a:lnTo>
                      <a:close/>
                    </a:path>
                  </a:pathLst>
                </a:custGeom>
                <a:grpFill/>
                <a:ln w="9525" cap="flat">
                  <a:noFill/>
                  <a:prstDash val="solid"/>
                  <a:miter/>
                </a:ln>
              </p:spPr>
              <p:txBody>
                <a:bodyPr rtlCol="0" anchor="ctr"/>
                <a:lstStyle/>
                <a:p>
                  <a:endParaRPr lang="ja-JP" altLang="en-US"/>
                </a:p>
              </p:txBody>
            </p:sp>
            <p:sp>
              <p:nvSpPr>
                <p:cNvPr id="148" name="フリーフォーム: 図形 73">
                  <a:extLst>
                    <a:ext uri="{FF2B5EF4-FFF2-40B4-BE49-F238E27FC236}">
                      <a16:creationId xmlns:a16="http://schemas.microsoft.com/office/drawing/2014/main" id="{D3AB9D52-439C-4EDC-A059-81CB00D3E00C}"/>
                    </a:ext>
                  </a:extLst>
                </p:cNvPr>
                <p:cNvSpPr/>
                <p:nvPr/>
              </p:nvSpPr>
              <p:spPr>
                <a:xfrm>
                  <a:off x="2668015" y="5886475"/>
                  <a:ext cx="66675" cy="104775"/>
                </a:xfrm>
                <a:custGeom>
                  <a:avLst/>
                  <a:gdLst>
                    <a:gd name="connsiteX0" fmla="*/ 7144 w 66675"/>
                    <a:gd name="connsiteY0" fmla="*/ 8706 h 104775"/>
                    <a:gd name="connsiteX1" fmla="*/ 21431 w 66675"/>
                    <a:gd name="connsiteY1" fmla="*/ 8706 h 104775"/>
                    <a:gd name="connsiteX2" fmla="*/ 21431 w 66675"/>
                    <a:gd name="connsiteY2" fmla="*/ 19736 h 104775"/>
                    <a:gd name="connsiteX3" fmla="*/ 21707 w 66675"/>
                    <a:gd name="connsiteY3" fmla="*/ 19736 h 104775"/>
                    <a:gd name="connsiteX4" fmla="*/ 39110 w 66675"/>
                    <a:gd name="connsiteY4" fmla="*/ 7144 h 104775"/>
                    <a:gd name="connsiteX5" fmla="*/ 64570 w 66675"/>
                    <a:gd name="connsiteY5" fmla="*/ 42358 h 104775"/>
                    <a:gd name="connsiteX6" fmla="*/ 39110 w 66675"/>
                    <a:gd name="connsiteY6" fmla="*/ 77571 h 104775"/>
                    <a:gd name="connsiteX7" fmla="*/ 21707 w 66675"/>
                    <a:gd name="connsiteY7" fmla="*/ 66684 h 104775"/>
                    <a:gd name="connsiteX8" fmla="*/ 21431 w 66675"/>
                    <a:gd name="connsiteY8" fmla="*/ 66684 h 104775"/>
                    <a:gd name="connsiteX9" fmla="*/ 21431 w 66675"/>
                    <a:gd name="connsiteY9" fmla="*/ 106289 h 104775"/>
                    <a:gd name="connsiteX10" fmla="*/ 7144 w 66675"/>
                    <a:gd name="connsiteY10" fmla="*/ 106289 h 104775"/>
                    <a:gd name="connsiteX11" fmla="*/ 7144 w 66675"/>
                    <a:gd name="connsiteY11" fmla="*/ 8706 h 104775"/>
                    <a:gd name="connsiteX12" fmla="*/ 35423 w 66675"/>
                    <a:gd name="connsiteY12" fmla="*/ 69370 h 104775"/>
                    <a:gd name="connsiteX13" fmla="*/ 49006 w 66675"/>
                    <a:gd name="connsiteY13" fmla="*/ 42358 h 104775"/>
                    <a:gd name="connsiteX14" fmla="*/ 35423 w 66675"/>
                    <a:gd name="connsiteY14" fmla="*/ 16202 h 104775"/>
                    <a:gd name="connsiteX15" fmla="*/ 21993 w 66675"/>
                    <a:gd name="connsiteY15" fmla="*/ 42358 h 104775"/>
                    <a:gd name="connsiteX16" fmla="*/ 35423 w 66675"/>
                    <a:gd name="connsiteY16" fmla="*/ 6937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7144" y="8706"/>
                      </a:moveTo>
                      <a:lnTo>
                        <a:pt x="21431" y="8706"/>
                      </a:lnTo>
                      <a:lnTo>
                        <a:pt x="21431" y="19736"/>
                      </a:lnTo>
                      <a:lnTo>
                        <a:pt x="21707" y="19736"/>
                      </a:lnTo>
                      <a:cubicBezTo>
                        <a:pt x="23689" y="15192"/>
                        <a:pt x="28356" y="7144"/>
                        <a:pt x="39110" y="7144"/>
                      </a:cubicBezTo>
                      <a:cubicBezTo>
                        <a:pt x="58626" y="7144"/>
                        <a:pt x="64570" y="22993"/>
                        <a:pt x="64570" y="42358"/>
                      </a:cubicBezTo>
                      <a:cubicBezTo>
                        <a:pt x="64570" y="62579"/>
                        <a:pt x="57074" y="77571"/>
                        <a:pt x="39110" y="77571"/>
                      </a:cubicBezTo>
                      <a:cubicBezTo>
                        <a:pt x="27794" y="77571"/>
                        <a:pt x="23689" y="70371"/>
                        <a:pt x="21707" y="66684"/>
                      </a:cubicBezTo>
                      <a:lnTo>
                        <a:pt x="21431" y="66684"/>
                      </a:lnTo>
                      <a:lnTo>
                        <a:pt x="21431" y="106289"/>
                      </a:lnTo>
                      <a:lnTo>
                        <a:pt x="7144" y="106289"/>
                      </a:lnTo>
                      <a:lnTo>
                        <a:pt x="7144" y="8706"/>
                      </a:lnTo>
                      <a:close/>
                      <a:moveTo>
                        <a:pt x="35423" y="69370"/>
                      </a:moveTo>
                      <a:cubicBezTo>
                        <a:pt x="46606" y="69370"/>
                        <a:pt x="49006" y="54092"/>
                        <a:pt x="49006" y="42358"/>
                      </a:cubicBezTo>
                      <a:cubicBezTo>
                        <a:pt x="49006" y="31194"/>
                        <a:pt x="46882" y="16202"/>
                        <a:pt x="35423" y="16202"/>
                      </a:cubicBezTo>
                      <a:cubicBezTo>
                        <a:pt x="23689" y="16202"/>
                        <a:pt x="21993" y="31194"/>
                        <a:pt x="21993" y="42358"/>
                      </a:cubicBezTo>
                      <a:cubicBezTo>
                        <a:pt x="21993" y="54102"/>
                        <a:pt x="23117" y="69370"/>
                        <a:pt x="35423" y="69370"/>
                      </a:cubicBezTo>
                      <a:close/>
                    </a:path>
                  </a:pathLst>
                </a:custGeom>
                <a:grpFill/>
                <a:ln w="9525" cap="flat">
                  <a:noFill/>
                  <a:prstDash val="solid"/>
                  <a:miter/>
                </a:ln>
              </p:spPr>
              <p:txBody>
                <a:bodyPr rtlCol="0" anchor="ctr"/>
                <a:lstStyle/>
                <a:p>
                  <a:endParaRPr lang="ja-JP" altLang="en-US"/>
                </a:p>
              </p:txBody>
            </p:sp>
            <p:sp>
              <p:nvSpPr>
                <p:cNvPr id="149" name="フリーフォーム: 図形 74">
                  <a:extLst>
                    <a:ext uri="{FF2B5EF4-FFF2-40B4-BE49-F238E27FC236}">
                      <a16:creationId xmlns:a16="http://schemas.microsoft.com/office/drawing/2014/main" id="{F3A4744E-4AEE-49B0-B574-1B4B5E970725}"/>
                    </a:ext>
                  </a:extLst>
                </p:cNvPr>
                <p:cNvSpPr/>
                <p:nvPr/>
              </p:nvSpPr>
              <p:spPr>
                <a:xfrm>
                  <a:off x="2736614" y="5886475"/>
                  <a:ext cx="66675" cy="76200"/>
                </a:xfrm>
                <a:custGeom>
                  <a:avLst/>
                  <a:gdLst>
                    <a:gd name="connsiteX0" fmla="*/ 7144 w 66675"/>
                    <a:gd name="connsiteY0" fmla="*/ 42358 h 76200"/>
                    <a:gd name="connsiteX1" fmla="*/ 36852 w 66675"/>
                    <a:gd name="connsiteY1" fmla="*/ 7144 h 76200"/>
                    <a:gd name="connsiteX2" fmla="*/ 66694 w 66675"/>
                    <a:gd name="connsiteY2" fmla="*/ 42358 h 76200"/>
                    <a:gd name="connsiteX3" fmla="*/ 36852 w 66675"/>
                    <a:gd name="connsiteY3" fmla="*/ 77571 h 76200"/>
                    <a:gd name="connsiteX4" fmla="*/ 7144 w 66675"/>
                    <a:gd name="connsiteY4" fmla="*/ 42358 h 76200"/>
                    <a:gd name="connsiteX5" fmla="*/ 36852 w 66675"/>
                    <a:gd name="connsiteY5" fmla="*/ 71647 h 76200"/>
                    <a:gd name="connsiteX6" fmla="*/ 51130 w 66675"/>
                    <a:gd name="connsiteY6" fmla="*/ 42367 h 76200"/>
                    <a:gd name="connsiteX7" fmla="*/ 36852 w 66675"/>
                    <a:gd name="connsiteY7" fmla="*/ 13087 h 76200"/>
                    <a:gd name="connsiteX8" fmla="*/ 22708 w 66675"/>
                    <a:gd name="connsiteY8" fmla="*/ 42367 h 76200"/>
                    <a:gd name="connsiteX9" fmla="*/ 36852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50" y="7144"/>
                        <a:pt x="36852" y="7144"/>
                      </a:cubicBezTo>
                      <a:cubicBezTo>
                        <a:pt x="56645" y="7144"/>
                        <a:pt x="66694" y="19593"/>
                        <a:pt x="66694" y="42358"/>
                      </a:cubicBezTo>
                      <a:cubicBezTo>
                        <a:pt x="66694" y="65122"/>
                        <a:pt x="56645" y="77571"/>
                        <a:pt x="36852" y="77571"/>
                      </a:cubicBezTo>
                      <a:cubicBezTo>
                        <a:pt x="17050" y="77581"/>
                        <a:pt x="7144" y="65132"/>
                        <a:pt x="7144" y="42358"/>
                      </a:cubicBezTo>
                      <a:close/>
                      <a:moveTo>
                        <a:pt x="36852" y="71647"/>
                      </a:moveTo>
                      <a:cubicBezTo>
                        <a:pt x="49577" y="71647"/>
                        <a:pt x="51130" y="54683"/>
                        <a:pt x="51130" y="42367"/>
                      </a:cubicBezTo>
                      <a:cubicBezTo>
                        <a:pt x="51130" y="30070"/>
                        <a:pt x="49577" y="13087"/>
                        <a:pt x="36852" y="13087"/>
                      </a:cubicBezTo>
                      <a:cubicBezTo>
                        <a:pt x="24260" y="13087"/>
                        <a:pt x="22708" y="30070"/>
                        <a:pt x="22708" y="42367"/>
                      </a:cubicBezTo>
                      <a:cubicBezTo>
                        <a:pt x="22698" y="54673"/>
                        <a:pt x="24260" y="71647"/>
                        <a:pt x="36852" y="71647"/>
                      </a:cubicBezTo>
                      <a:close/>
                    </a:path>
                  </a:pathLst>
                </a:custGeom>
                <a:grpFill/>
                <a:ln w="9525" cap="flat">
                  <a:noFill/>
                  <a:prstDash val="solid"/>
                  <a:miter/>
                </a:ln>
              </p:spPr>
              <p:txBody>
                <a:bodyPr rtlCol="0" anchor="ctr"/>
                <a:lstStyle/>
                <a:p>
                  <a:endParaRPr lang="ja-JP" altLang="en-US"/>
                </a:p>
              </p:txBody>
            </p:sp>
            <p:sp>
              <p:nvSpPr>
                <p:cNvPr id="150" name="フリーフォーム: 図形 75">
                  <a:extLst>
                    <a:ext uri="{FF2B5EF4-FFF2-40B4-BE49-F238E27FC236}">
                      <a16:creationId xmlns:a16="http://schemas.microsoft.com/office/drawing/2014/main" id="{E9261859-6F89-41EA-AE2D-3C416CE827D7}"/>
                    </a:ext>
                  </a:extLst>
                </p:cNvPr>
                <p:cNvSpPr/>
                <p:nvPr/>
              </p:nvSpPr>
              <p:spPr>
                <a:xfrm>
                  <a:off x="2812290" y="5886475"/>
                  <a:ext cx="47625" cy="76200"/>
                </a:xfrm>
                <a:custGeom>
                  <a:avLst/>
                  <a:gdLst>
                    <a:gd name="connsiteX0" fmla="*/ 7144 w 47625"/>
                    <a:gd name="connsiteY0" fmla="*/ 8706 h 76200"/>
                    <a:gd name="connsiteX1" fmla="*/ 21422 w 47625"/>
                    <a:gd name="connsiteY1" fmla="*/ 8706 h 76200"/>
                    <a:gd name="connsiteX2" fmla="*/ 21422 w 47625"/>
                    <a:gd name="connsiteY2" fmla="*/ 25822 h 76200"/>
                    <a:gd name="connsiteX3" fmla="*/ 21708 w 47625"/>
                    <a:gd name="connsiteY3" fmla="*/ 25822 h 76200"/>
                    <a:gd name="connsiteX4" fmla="*/ 43491 w 47625"/>
                    <a:gd name="connsiteY4" fmla="*/ 7144 h 76200"/>
                    <a:gd name="connsiteX5" fmla="*/ 43491 w 47625"/>
                    <a:gd name="connsiteY5" fmla="*/ 21993 h 76200"/>
                    <a:gd name="connsiteX6" fmla="*/ 21422 w 47625"/>
                    <a:gd name="connsiteY6" fmla="*/ 45196 h 76200"/>
                    <a:gd name="connsiteX7" fmla="*/ 21422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22" y="8706"/>
                      </a:lnTo>
                      <a:lnTo>
                        <a:pt x="21422" y="25822"/>
                      </a:lnTo>
                      <a:lnTo>
                        <a:pt x="21708" y="25822"/>
                      </a:lnTo>
                      <a:cubicBezTo>
                        <a:pt x="26232" y="16764"/>
                        <a:pt x="31185" y="8134"/>
                        <a:pt x="43491" y="7144"/>
                      </a:cubicBezTo>
                      <a:lnTo>
                        <a:pt x="43491" y="21993"/>
                      </a:lnTo>
                      <a:cubicBezTo>
                        <a:pt x="29775" y="22422"/>
                        <a:pt x="21422" y="27089"/>
                        <a:pt x="21422" y="45196"/>
                      </a:cubicBezTo>
                      <a:lnTo>
                        <a:pt x="21422" y="76038"/>
                      </a:lnTo>
                      <a:lnTo>
                        <a:pt x="7144" y="76038"/>
                      </a:lnTo>
                      <a:lnTo>
                        <a:pt x="7144" y="8706"/>
                      </a:lnTo>
                      <a:close/>
                    </a:path>
                  </a:pathLst>
                </a:custGeom>
                <a:grpFill/>
                <a:ln w="9525" cap="flat">
                  <a:noFill/>
                  <a:prstDash val="solid"/>
                  <a:miter/>
                </a:ln>
              </p:spPr>
              <p:txBody>
                <a:bodyPr rtlCol="0" anchor="ctr"/>
                <a:lstStyle/>
                <a:p>
                  <a:endParaRPr lang="ja-JP" altLang="en-US"/>
                </a:p>
              </p:txBody>
            </p:sp>
            <p:sp>
              <p:nvSpPr>
                <p:cNvPr id="151" name="フリーフォーム: 図形 76">
                  <a:extLst>
                    <a:ext uri="{FF2B5EF4-FFF2-40B4-BE49-F238E27FC236}">
                      <a16:creationId xmlns:a16="http://schemas.microsoft.com/office/drawing/2014/main" id="{86E2A9C9-4F31-4B96-B9BE-F604B47D2567}"/>
                    </a:ext>
                  </a:extLst>
                </p:cNvPr>
                <p:cNvSpPr/>
                <p:nvPr/>
              </p:nvSpPr>
              <p:spPr>
                <a:xfrm>
                  <a:off x="2855562" y="5863567"/>
                  <a:ext cx="57150" cy="104775"/>
                </a:xfrm>
                <a:custGeom>
                  <a:avLst/>
                  <a:gdLst>
                    <a:gd name="connsiteX0" fmla="*/ 49016 w 57150"/>
                    <a:gd name="connsiteY0" fmla="*/ 99498 h 104775"/>
                    <a:gd name="connsiteX1" fmla="*/ 39110 w 57150"/>
                    <a:gd name="connsiteY1" fmla="*/ 100489 h 104775"/>
                    <a:gd name="connsiteX2" fmla="*/ 17888 w 57150"/>
                    <a:gd name="connsiteY2" fmla="*/ 83372 h 104775"/>
                    <a:gd name="connsiteX3" fmla="*/ 17888 w 57150"/>
                    <a:gd name="connsiteY3" fmla="*/ 38967 h 104775"/>
                    <a:gd name="connsiteX4" fmla="*/ 7144 w 57150"/>
                    <a:gd name="connsiteY4" fmla="*/ 38967 h 104775"/>
                    <a:gd name="connsiteX5" fmla="*/ 7144 w 57150"/>
                    <a:gd name="connsiteY5" fmla="*/ 31623 h 104775"/>
                    <a:gd name="connsiteX6" fmla="*/ 17888 w 57150"/>
                    <a:gd name="connsiteY6" fmla="*/ 31623 h 104775"/>
                    <a:gd name="connsiteX7" fmla="*/ 17888 w 57150"/>
                    <a:gd name="connsiteY7" fmla="*/ 15773 h 104775"/>
                    <a:gd name="connsiteX8" fmla="*/ 32175 w 57150"/>
                    <a:gd name="connsiteY8" fmla="*/ 7144 h 104775"/>
                    <a:gd name="connsiteX9" fmla="*/ 32175 w 57150"/>
                    <a:gd name="connsiteY9" fmla="*/ 31623 h 104775"/>
                    <a:gd name="connsiteX10" fmla="*/ 50568 w 57150"/>
                    <a:gd name="connsiteY10" fmla="*/ 31623 h 104775"/>
                    <a:gd name="connsiteX11" fmla="*/ 50568 w 57150"/>
                    <a:gd name="connsiteY11" fmla="*/ 38967 h 104775"/>
                    <a:gd name="connsiteX12" fmla="*/ 32175 w 57150"/>
                    <a:gd name="connsiteY12" fmla="*/ 38967 h 104775"/>
                    <a:gd name="connsiteX13" fmla="*/ 32175 w 57150"/>
                    <a:gd name="connsiteY13" fmla="*/ 77714 h 104775"/>
                    <a:gd name="connsiteX14" fmla="*/ 42358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77" y="100203"/>
                        <a:pt x="42367" y="100489"/>
                        <a:pt x="39110" y="100489"/>
                      </a:cubicBezTo>
                      <a:cubicBezTo>
                        <a:pt x="25679" y="100489"/>
                        <a:pt x="17888" y="96393"/>
                        <a:pt x="17888" y="83372"/>
                      </a:cubicBezTo>
                      <a:lnTo>
                        <a:pt x="17888" y="38967"/>
                      </a:lnTo>
                      <a:lnTo>
                        <a:pt x="7144" y="38967"/>
                      </a:lnTo>
                      <a:lnTo>
                        <a:pt x="7144" y="31623"/>
                      </a:lnTo>
                      <a:lnTo>
                        <a:pt x="17888" y="31623"/>
                      </a:lnTo>
                      <a:lnTo>
                        <a:pt x="17888" y="15773"/>
                      </a:lnTo>
                      <a:lnTo>
                        <a:pt x="32175" y="7144"/>
                      </a:lnTo>
                      <a:lnTo>
                        <a:pt x="32175" y="31623"/>
                      </a:lnTo>
                      <a:lnTo>
                        <a:pt x="50568" y="31623"/>
                      </a:lnTo>
                      <a:lnTo>
                        <a:pt x="50568" y="38967"/>
                      </a:lnTo>
                      <a:lnTo>
                        <a:pt x="32175" y="38967"/>
                      </a:lnTo>
                      <a:lnTo>
                        <a:pt x="32175" y="77714"/>
                      </a:lnTo>
                      <a:cubicBezTo>
                        <a:pt x="32175" y="87611"/>
                        <a:pt x="33166" y="92430"/>
                        <a:pt x="42358" y="92430"/>
                      </a:cubicBezTo>
                      <a:cubicBezTo>
                        <a:pt x="44615" y="92430"/>
                        <a:pt x="47025" y="92154"/>
                        <a:pt x="49006" y="91297"/>
                      </a:cubicBezTo>
                      <a:lnTo>
                        <a:pt x="49006" y="99498"/>
                      </a:lnTo>
                      <a:close/>
                    </a:path>
                  </a:pathLst>
                </a:custGeom>
                <a:grpFill/>
                <a:ln w="9525" cap="flat">
                  <a:noFill/>
                  <a:prstDash val="solid"/>
                  <a:miter/>
                </a:ln>
              </p:spPr>
              <p:txBody>
                <a:bodyPr rtlCol="0" anchor="ctr"/>
                <a:lstStyle/>
                <a:p>
                  <a:endParaRPr lang="ja-JP" altLang="en-US"/>
                </a:p>
              </p:txBody>
            </p:sp>
            <p:sp>
              <p:nvSpPr>
                <p:cNvPr id="152" name="フリーフォーム: 図形 77">
                  <a:extLst>
                    <a:ext uri="{FF2B5EF4-FFF2-40B4-BE49-F238E27FC236}">
                      <a16:creationId xmlns:a16="http://schemas.microsoft.com/office/drawing/2014/main" id="{93306D85-BA49-4DAF-A1FE-0B507C4A3020}"/>
                    </a:ext>
                  </a:extLst>
                </p:cNvPr>
                <p:cNvSpPr/>
                <p:nvPr/>
              </p:nvSpPr>
              <p:spPr>
                <a:xfrm>
                  <a:off x="2946659" y="5886475"/>
                  <a:ext cx="57150" cy="76200"/>
                </a:xfrm>
                <a:custGeom>
                  <a:avLst/>
                  <a:gdLst>
                    <a:gd name="connsiteX0" fmla="*/ 44767 w 57150"/>
                    <a:gd name="connsiteY0" fmla="*/ 66694 h 76200"/>
                    <a:gd name="connsiteX1" fmla="*/ 44491 w 57150"/>
                    <a:gd name="connsiteY1" fmla="*/ 66694 h 76200"/>
                    <a:gd name="connsiteX2" fmla="*/ 25537 w 57150"/>
                    <a:gd name="connsiteY2" fmla="*/ 77581 h 76200"/>
                    <a:gd name="connsiteX3" fmla="*/ 7144 w 57150"/>
                    <a:gd name="connsiteY3" fmla="*/ 60760 h 76200"/>
                    <a:gd name="connsiteX4" fmla="*/ 44767 w 57150"/>
                    <a:gd name="connsiteY4" fmla="*/ 38548 h 76200"/>
                    <a:gd name="connsiteX5" fmla="*/ 44767 w 57150"/>
                    <a:gd name="connsiteY5" fmla="*/ 32613 h 76200"/>
                    <a:gd name="connsiteX6" fmla="*/ 35290 w 57150"/>
                    <a:gd name="connsiteY6" fmla="*/ 13078 h 76200"/>
                    <a:gd name="connsiteX7" fmla="*/ 24403 w 57150"/>
                    <a:gd name="connsiteY7" fmla="*/ 27794 h 76200"/>
                    <a:gd name="connsiteX8" fmla="*/ 9410 w 57150"/>
                    <a:gd name="connsiteY8" fmla="*/ 27794 h 76200"/>
                    <a:gd name="connsiteX9" fmla="*/ 35290 w 57150"/>
                    <a:gd name="connsiteY9" fmla="*/ 7144 h 76200"/>
                    <a:gd name="connsiteX10" fmla="*/ 59055 w 57150"/>
                    <a:gd name="connsiteY10" fmla="*/ 32613 h 76200"/>
                    <a:gd name="connsiteX11" fmla="*/ 59055 w 57150"/>
                    <a:gd name="connsiteY11" fmla="*/ 76038 h 76200"/>
                    <a:gd name="connsiteX12" fmla="*/ 44767 w 57150"/>
                    <a:gd name="connsiteY12" fmla="*/ 76038 h 76200"/>
                    <a:gd name="connsiteX13" fmla="*/ 44767 w 57150"/>
                    <a:gd name="connsiteY13" fmla="*/ 66694 h 76200"/>
                    <a:gd name="connsiteX14" fmla="*/ 44767 w 57150"/>
                    <a:gd name="connsiteY14" fmla="*/ 44482 h 76200"/>
                    <a:gd name="connsiteX15" fmla="*/ 22708 w 57150"/>
                    <a:gd name="connsiteY15" fmla="*/ 58636 h 76200"/>
                    <a:gd name="connsiteX16" fmla="*/ 30909 w 57150"/>
                    <a:gd name="connsiteY16" fmla="*/ 68666 h 76200"/>
                    <a:gd name="connsiteX17" fmla="*/ 44767 w 57150"/>
                    <a:gd name="connsiteY17" fmla="*/ 52406 h 76200"/>
                    <a:gd name="connsiteX18" fmla="*/ 44767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67" y="66694"/>
                      </a:moveTo>
                      <a:lnTo>
                        <a:pt x="44491" y="66694"/>
                      </a:lnTo>
                      <a:cubicBezTo>
                        <a:pt x="42234" y="70656"/>
                        <a:pt x="36290" y="77581"/>
                        <a:pt x="25537" y="77581"/>
                      </a:cubicBezTo>
                      <a:cubicBezTo>
                        <a:pt x="14935" y="77581"/>
                        <a:pt x="7144" y="70085"/>
                        <a:pt x="7144" y="60760"/>
                      </a:cubicBezTo>
                      <a:cubicBezTo>
                        <a:pt x="7144" y="39957"/>
                        <a:pt x="35861" y="38976"/>
                        <a:pt x="44767" y="38548"/>
                      </a:cubicBezTo>
                      <a:lnTo>
                        <a:pt x="44767" y="32613"/>
                      </a:lnTo>
                      <a:cubicBezTo>
                        <a:pt x="44767" y="25251"/>
                        <a:pt x="44767" y="13078"/>
                        <a:pt x="35290" y="13078"/>
                      </a:cubicBezTo>
                      <a:cubicBezTo>
                        <a:pt x="26527" y="13078"/>
                        <a:pt x="24965" y="19869"/>
                        <a:pt x="24403" y="27794"/>
                      </a:cubicBezTo>
                      <a:lnTo>
                        <a:pt x="9410" y="27794"/>
                      </a:lnTo>
                      <a:cubicBezTo>
                        <a:pt x="10115" y="17745"/>
                        <a:pt x="14078" y="7144"/>
                        <a:pt x="35290" y="7144"/>
                      </a:cubicBezTo>
                      <a:cubicBezTo>
                        <a:pt x="57217" y="7144"/>
                        <a:pt x="59055" y="19440"/>
                        <a:pt x="59055" y="32613"/>
                      </a:cubicBezTo>
                      <a:lnTo>
                        <a:pt x="59055" y="76038"/>
                      </a:lnTo>
                      <a:lnTo>
                        <a:pt x="44767" y="76038"/>
                      </a:lnTo>
                      <a:lnTo>
                        <a:pt x="44767" y="66694"/>
                      </a:lnTo>
                      <a:close/>
                      <a:moveTo>
                        <a:pt x="44767" y="44482"/>
                      </a:moveTo>
                      <a:cubicBezTo>
                        <a:pt x="38833" y="44910"/>
                        <a:pt x="22708" y="46177"/>
                        <a:pt x="22708" y="58636"/>
                      </a:cubicBezTo>
                      <a:cubicBezTo>
                        <a:pt x="22708" y="64703"/>
                        <a:pt x="26241" y="68666"/>
                        <a:pt x="30909" y="68666"/>
                      </a:cubicBezTo>
                      <a:cubicBezTo>
                        <a:pt x="35861" y="68666"/>
                        <a:pt x="44767" y="63865"/>
                        <a:pt x="44767" y="52406"/>
                      </a:cubicBezTo>
                      <a:lnTo>
                        <a:pt x="44767" y="44482"/>
                      </a:lnTo>
                      <a:close/>
                    </a:path>
                  </a:pathLst>
                </a:custGeom>
                <a:grpFill/>
                <a:ln w="9525" cap="flat">
                  <a:noFill/>
                  <a:prstDash val="solid"/>
                  <a:miter/>
                </a:ln>
              </p:spPr>
              <p:txBody>
                <a:bodyPr rtlCol="0" anchor="ctr"/>
                <a:lstStyle/>
                <a:p>
                  <a:endParaRPr lang="ja-JP" altLang="en-US"/>
                </a:p>
              </p:txBody>
            </p:sp>
            <p:sp>
              <p:nvSpPr>
                <p:cNvPr id="153" name="フリーフォーム: 図形 78">
                  <a:extLst>
                    <a:ext uri="{FF2B5EF4-FFF2-40B4-BE49-F238E27FC236}">
                      <a16:creationId xmlns:a16="http://schemas.microsoft.com/office/drawing/2014/main" id="{7415E9B0-0F81-4717-9EEE-758332BBBC8A}"/>
                    </a:ext>
                  </a:extLst>
                </p:cNvPr>
                <p:cNvSpPr/>
                <p:nvPr/>
              </p:nvSpPr>
              <p:spPr>
                <a:xfrm>
                  <a:off x="3019221"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13 w 66675"/>
                    <a:gd name="connsiteY5" fmla="*/ 26803 h 76200"/>
                    <a:gd name="connsiteX6" fmla="*/ 62313 w 66675"/>
                    <a:gd name="connsiteY6" fmla="*/ 76029 h 76200"/>
                    <a:gd name="connsiteX7" fmla="*/ 48025 w 66675"/>
                    <a:gd name="connsiteY7" fmla="*/ 76029 h 76200"/>
                    <a:gd name="connsiteX8" fmla="*/ 48025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84" y="19736"/>
                        <a:pt x="30490" y="7144"/>
                        <a:pt x="45339" y="7144"/>
                      </a:cubicBezTo>
                      <a:cubicBezTo>
                        <a:pt x="57217" y="7144"/>
                        <a:pt x="62313" y="17040"/>
                        <a:pt x="62313" y="26803"/>
                      </a:cubicBezTo>
                      <a:lnTo>
                        <a:pt x="62313" y="76029"/>
                      </a:lnTo>
                      <a:lnTo>
                        <a:pt x="48025" y="76029"/>
                      </a:lnTo>
                      <a:lnTo>
                        <a:pt x="48025" y="33871"/>
                      </a:lnTo>
                      <a:cubicBezTo>
                        <a:pt x="48025" y="25384"/>
                        <a:pt x="46749" y="17745"/>
                        <a:pt x="39529" y="17745"/>
                      </a:cubicBezTo>
                      <a:cubicBezTo>
                        <a:pt x="25394" y="17745"/>
                        <a:pt x="21431" y="39805"/>
                        <a:pt x="21431" y="48158"/>
                      </a:cubicBezTo>
                      <a:lnTo>
                        <a:pt x="21431" y="76029"/>
                      </a:lnTo>
                      <a:lnTo>
                        <a:pt x="7144" y="76029"/>
                      </a:lnTo>
                      <a:lnTo>
                        <a:pt x="7144" y="8706"/>
                      </a:lnTo>
                      <a:close/>
                    </a:path>
                  </a:pathLst>
                </a:custGeom>
                <a:grpFill/>
                <a:ln w="9525" cap="flat">
                  <a:noFill/>
                  <a:prstDash val="solid"/>
                  <a:miter/>
                </a:ln>
              </p:spPr>
              <p:txBody>
                <a:bodyPr rtlCol="0" anchor="ctr"/>
                <a:lstStyle/>
                <a:p>
                  <a:endParaRPr lang="ja-JP" altLang="en-US"/>
                </a:p>
              </p:txBody>
            </p:sp>
            <p:sp>
              <p:nvSpPr>
                <p:cNvPr id="154" name="フリーフォーム: 図形 79">
                  <a:extLst>
                    <a:ext uri="{FF2B5EF4-FFF2-40B4-BE49-F238E27FC236}">
                      <a16:creationId xmlns:a16="http://schemas.microsoft.com/office/drawing/2014/main" id="{DB878050-265C-4BA9-8B77-7BA5B553F9D5}"/>
                    </a:ext>
                  </a:extLst>
                </p:cNvPr>
                <p:cNvSpPr/>
                <p:nvPr/>
              </p:nvSpPr>
              <p:spPr>
                <a:xfrm>
                  <a:off x="3090515" y="5857776"/>
                  <a:ext cx="66675" cy="104775"/>
                </a:xfrm>
                <a:custGeom>
                  <a:avLst/>
                  <a:gdLst>
                    <a:gd name="connsiteX0" fmla="*/ 50282 w 66675"/>
                    <a:gd name="connsiteY0" fmla="*/ 93697 h 104775"/>
                    <a:gd name="connsiteX1" fmla="*/ 50006 w 66675"/>
                    <a:gd name="connsiteY1" fmla="*/ 93697 h 104775"/>
                    <a:gd name="connsiteX2" fmla="*/ 32461 w 66675"/>
                    <a:gd name="connsiteY2" fmla="*/ 106270 h 104775"/>
                    <a:gd name="connsiteX3" fmla="*/ 7144 w 66675"/>
                    <a:gd name="connsiteY3" fmla="*/ 71056 h 104775"/>
                    <a:gd name="connsiteX4" fmla="*/ 32461 w 66675"/>
                    <a:gd name="connsiteY4" fmla="*/ 35843 h 104775"/>
                    <a:gd name="connsiteX5" fmla="*/ 50006 w 66675"/>
                    <a:gd name="connsiteY5" fmla="*/ 46729 h 104775"/>
                    <a:gd name="connsiteX6" fmla="*/ 50282 w 66675"/>
                    <a:gd name="connsiteY6" fmla="*/ 46729 h 104775"/>
                    <a:gd name="connsiteX7" fmla="*/ 50282 w 66675"/>
                    <a:gd name="connsiteY7" fmla="*/ 7144 h 104775"/>
                    <a:gd name="connsiteX8" fmla="*/ 64570 w 66675"/>
                    <a:gd name="connsiteY8" fmla="*/ 7144 h 104775"/>
                    <a:gd name="connsiteX9" fmla="*/ 64570 w 66675"/>
                    <a:gd name="connsiteY9" fmla="*/ 104737 h 104775"/>
                    <a:gd name="connsiteX10" fmla="*/ 50282 w 66675"/>
                    <a:gd name="connsiteY10" fmla="*/ 104737 h 104775"/>
                    <a:gd name="connsiteX11" fmla="*/ 50282 w 66675"/>
                    <a:gd name="connsiteY11" fmla="*/ 93697 h 104775"/>
                    <a:gd name="connsiteX12" fmla="*/ 36290 w 66675"/>
                    <a:gd name="connsiteY12" fmla="*/ 97241 h 104775"/>
                    <a:gd name="connsiteX13" fmla="*/ 49721 w 66675"/>
                    <a:gd name="connsiteY13" fmla="*/ 71066 h 104775"/>
                    <a:gd name="connsiteX14" fmla="*/ 36290 w 66675"/>
                    <a:gd name="connsiteY14" fmla="*/ 44053 h 104775"/>
                    <a:gd name="connsiteX15" fmla="*/ 22708 w 66675"/>
                    <a:gd name="connsiteY15" fmla="*/ 71066 h 104775"/>
                    <a:gd name="connsiteX16" fmla="*/ 36290 w 66675"/>
                    <a:gd name="connsiteY16" fmla="*/ 9724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0282" y="93697"/>
                      </a:moveTo>
                      <a:lnTo>
                        <a:pt x="50006" y="93697"/>
                      </a:lnTo>
                      <a:cubicBezTo>
                        <a:pt x="48025" y="98222"/>
                        <a:pt x="43358" y="106270"/>
                        <a:pt x="32461" y="106270"/>
                      </a:cubicBezTo>
                      <a:cubicBezTo>
                        <a:pt x="13087" y="106270"/>
                        <a:pt x="7144" y="90440"/>
                        <a:pt x="7144" y="71056"/>
                      </a:cubicBezTo>
                      <a:cubicBezTo>
                        <a:pt x="7144" y="50835"/>
                        <a:pt x="14640" y="35843"/>
                        <a:pt x="32461" y="35843"/>
                      </a:cubicBezTo>
                      <a:cubicBezTo>
                        <a:pt x="43920" y="35843"/>
                        <a:pt x="48025" y="43062"/>
                        <a:pt x="50006" y="46729"/>
                      </a:cubicBezTo>
                      <a:lnTo>
                        <a:pt x="50282" y="46729"/>
                      </a:lnTo>
                      <a:lnTo>
                        <a:pt x="50282" y="7144"/>
                      </a:lnTo>
                      <a:lnTo>
                        <a:pt x="64570" y="7144"/>
                      </a:lnTo>
                      <a:lnTo>
                        <a:pt x="64570" y="104737"/>
                      </a:lnTo>
                      <a:lnTo>
                        <a:pt x="50282" y="104737"/>
                      </a:lnTo>
                      <a:lnTo>
                        <a:pt x="50282" y="93697"/>
                      </a:lnTo>
                      <a:close/>
                      <a:moveTo>
                        <a:pt x="36290" y="97241"/>
                      </a:moveTo>
                      <a:cubicBezTo>
                        <a:pt x="48025" y="97241"/>
                        <a:pt x="49721" y="82248"/>
                        <a:pt x="49721" y="71066"/>
                      </a:cubicBezTo>
                      <a:cubicBezTo>
                        <a:pt x="49721" y="59331"/>
                        <a:pt x="48596" y="44053"/>
                        <a:pt x="36290" y="44053"/>
                      </a:cubicBezTo>
                      <a:cubicBezTo>
                        <a:pt x="25108" y="44053"/>
                        <a:pt x="22708" y="59331"/>
                        <a:pt x="22708" y="71066"/>
                      </a:cubicBezTo>
                      <a:cubicBezTo>
                        <a:pt x="22708" y="82239"/>
                        <a:pt x="24822" y="97241"/>
                        <a:pt x="36290" y="97241"/>
                      </a:cubicBezTo>
                      <a:close/>
                    </a:path>
                  </a:pathLst>
                </a:custGeom>
                <a:grpFill/>
                <a:ln w="9525" cap="flat">
                  <a:noFill/>
                  <a:prstDash val="solid"/>
                  <a:miter/>
                </a:ln>
              </p:spPr>
              <p:txBody>
                <a:bodyPr rtlCol="0" anchor="ctr"/>
                <a:lstStyle/>
                <a:p>
                  <a:endParaRPr lang="ja-JP" altLang="en-US"/>
                </a:p>
              </p:txBody>
            </p:sp>
            <p:sp>
              <p:nvSpPr>
                <p:cNvPr id="155" name="フリーフォーム: 図形 80">
                  <a:extLst>
                    <a:ext uri="{FF2B5EF4-FFF2-40B4-BE49-F238E27FC236}">
                      <a16:creationId xmlns:a16="http://schemas.microsoft.com/office/drawing/2014/main" id="{A02338FF-8835-46DE-8EF5-D02F04495CEF}"/>
                    </a:ext>
                  </a:extLst>
                </p:cNvPr>
                <p:cNvSpPr/>
                <p:nvPr/>
              </p:nvSpPr>
              <p:spPr>
                <a:xfrm>
                  <a:off x="3197595" y="5857766"/>
                  <a:ext cx="76200" cy="104775"/>
                </a:xfrm>
                <a:custGeom>
                  <a:avLst/>
                  <a:gdLst>
                    <a:gd name="connsiteX0" fmla="*/ 30766 w 76200"/>
                    <a:gd name="connsiteY0" fmla="*/ 16469 h 104775"/>
                    <a:gd name="connsiteX1" fmla="*/ 7144 w 76200"/>
                    <a:gd name="connsiteY1" fmla="*/ 16469 h 104775"/>
                    <a:gd name="connsiteX2" fmla="*/ 7144 w 76200"/>
                    <a:gd name="connsiteY2" fmla="*/ 7144 h 104775"/>
                    <a:gd name="connsiteX3" fmla="*/ 69952 w 76200"/>
                    <a:gd name="connsiteY3" fmla="*/ 7144 h 104775"/>
                    <a:gd name="connsiteX4" fmla="*/ 69952 w 76200"/>
                    <a:gd name="connsiteY4" fmla="*/ 16469 h 104775"/>
                    <a:gd name="connsiteX5" fmla="*/ 46339 w 76200"/>
                    <a:gd name="connsiteY5" fmla="*/ 16469 h 104775"/>
                    <a:gd name="connsiteX6" fmla="*/ 46339 w 76200"/>
                    <a:gd name="connsiteY6" fmla="*/ 104747 h 104775"/>
                    <a:gd name="connsiteX7" fmla="*/ 30775 w 76200"/>
                    <a:gd name="connsiteY7" fmla="*/ 104747 h 104775"/>
                    <a:gd name="connsiteX8" fmla="*/ 30775 w 76200"/>
                    <a:gd name="connsiteY8" fmla="*/ 164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4775">
                      <a:moveTo>
                        <a:pt x="30766" y="16469"/>
                      </a:moveTo>
                      <a:lnTo>
                        <a:pt x="7144" y="16469"/>
                      </a:lnTo>
                      <a:lnTo>
                        <a:pt x="7144" y="7144"/>
                      </a:lnTo>
                      <a:lnTo>
                        <a:pt x="69952" y="7144"/>
                      </a:lnTo>
                      <a:lnTo>
                        <a:pt x="69952" y="16469"/>
                      </a:lnTo>
                      <a:lnTo>
                        <a:pt x="46339" y="16469"/>
                      </a:lnTo>
                      <a:lnTo>
                        <a:pt x="46339" y="104747"/>
                      </a:lnTo>
                      <a:lnTo>
                        <a:pt x="30775" y="104747"/>
                      </a:lnTo>
                      <a:lnTo>
                        <a:pt x="30775" y="16469"/>
                      </a:lnTo>
                      <a:close/>
                    </a:path>
                  </a:pathLst>
                </a:custGeom>
                <a:grpFill/>
                <a:ln w="9525" cap="flat">
                  <a:noFill/>
                  <a:prstDash val="solid"/>
                  <a:miter/>
                </a:ln>
              </p:spPr>
              <p:txBody>
                <a:bodyPr rtlCol="0" anchor="ctr"/>
                <a:lstStyle/>
                <a:p>
                  <a:endParaRPr lang="ja-JP" altLang="en-US"/>
                </a:p>
              </p:txBody>
            </p:sp>
            <p:sp>
              <p:nvSpPr>
                <p:cNvPr id="156" name="フリーフォーム: 図形 81">
                  <a:extLst>
                    <a:ext uri="{FF2B5EF4-FFF2-40B4-BE49-F238E27FC236}">
                      <a16:creationId xmlns:a16="http://schemas.microsoft.com/office/drawing/2014/main" id="{531A9A2C-F89E-46BF-84A8-B26615F019E2}"/>
                    </a:ext>
                  </a:extLst>
                </p:cNvPr>
                <p:cNvSpPr/>
                <p:nvPr/>
              </p:nvSpPr>
              <p:spPr>
                <a:xfrm>
                  <a:off x="3266185" y="5886475"/>
                  <a:ext cx="66675" cy="76200"/>
                </a:xfrm>
                <a:custGeom>
                  <a:avLst/>
                  <a:gdLst>
                    <a:gd name="connsiteX0" fmla="*/ 7144 w 66675"/>
                    <a:gd name="connsiteY0" fmla="*/ 42358 h 76200"/>
                    <a:gd name="connsiteX1" fmla="*/ 36852 w 66675"/>
                    <a:gd name="connsiteY1" fmla="*/ 7144 h 76200"/>
                    <a:gd name="connsiteX2" fmla="*/ 66694 w 66675"/>
                    <a:gd name="connsiteY2" fmla="*/ 42358 h 76200"/>
                    <a:gd name="connsiteX3" fmla="*/ 36852 w 66675"/>
                    <a:gd name="connsiteY3" fmla="*/ 77571 h 76200"/>
                    <a:gd name="connsiteX4" fmla="*/ 7144 w 66675"/>
                    <a:gd name="connsiteY4" fmla="*/ 42358 h 76200"/>
                    <a:gd name="connsiteX5" fmla="*/ 36852 w 66675"/>
                    <a:gd name="connsiteY5" fmla="*/ 71647 h 76200"/>
                    <a:gd name="connsiteX6" fmla="*/ 51140 w 66675"/>
                    <a:gd name="connsiteY6" fmla="*/ 42367 h 76200"/>
                    <a:gd name="connsiteX7" fmla="*/ 36852 w 66675"/>
                    <a:gd name="connsiteY7" fmla="*/ 13087 h 76200"/>
                    <a:gd name="connsiteX8" fmla="*/ 22708 w 66675"/>
                    <a:gd name="connsiteY8" fmla="*/ 42367 h 76200"/>
                    <a:gd name="connsiteX9" fmla="*/ 36852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50" y="7144"/>
                        <a:pt x="36852" y="7144"/>
                      </a:cubicBezTo>
                      <a:cubicBezTo>
                        <a:pt x="56655" y="7144"/>
                        <a:pt x="66694" y="19593"/>
                        <a:pt x="66694" y="42358"/>
                      </a:cubicBezTo>
                      <a:cubicBezTo>
                        <a:pt x="66694" y="65122"/>
                        <a:pt x="56655" y="77571"/>
                        <a:pt x="36852" y="77571"/>
                      </a:cubicBezTo>
                      <a:cubicBezTo>
                        <a:pt x="17050" y="77571"/>
                        <a:pt x="7144" y="65132"/>
                        <a:pt x="7144" y="42358"/>
                      </a:cubicBezTo>
                      <a:close/>
                      <a:moveTo>
                        <a:pt x="36852" y="71647"/>
                      </a:moveTo>
                      <a:cubicBezTo>
                        <a:pt x="49578" y="71647"/>
                        <a:pt x="51140" y="54683"/>
                        <a:pt x="51140" y="42367"/>
                      </a:cubicBezTo>
                      <a:cubicBezTo>
                        <a:pt x="51140" y="30070"/>
                        <a:pt x="49578" y="13087"/>
                        <a:pt x="36852" y="13087"/>
                      </a:cubicBezTo>
                      <a:cubicBezTo>
                        <a:pt x="24261" y="13087"/>
                        <a:pt x="22708" y="30070"/>
                        <a:pt x="22708" y="42367"/>
                      </a:cubicBezTo>
                      <a:cubicBezTo>
                        <a:pt x="22708" y="54673"/>
                        <a:pt x="24261" y="71647"/>
                        <a:pt x="36852" y="71647"/>
                      </a:cubicBezTo>
                      <a:close/>
                    </a:path>
                  </a:pathLst>
                </a:custGeom>
                <a:grpFill/>
                <a:ln w="9525" cap="flat">
                  <a:noFill/>
                  <a:prstDash val="solid"/>
                  <a:miter/>
                </a:ln>
              </p:spPr>
              <p:txBody>
                <a:bodyPr rtlCol="0" anchor="ctr"/>
                <a:lstStyle/>
                <a:p>
                  <a:endParaRPr lang="ja-JP" altLang="en-US"/>
                </a:p>
              </p:txBody>
            </p:sp>
            <p:sp>
              <p:nvSpPr>
                <p:cNvPr id="157" name="フリーフォーム: 図形 82">
                  <a:extLst>
                    <a:ext uri="{FF2B5EF4-FFF2-40B4-BE49-F238E27FC236}">
                      <a16:creationId xmlns:a16="http://schemas.microsoft.com/office/drawing/2014/main" id="{2C262F80-03DB-4324-84F3-A3293A86A6EC}"/>
                    </a:ext>
                  </a:extLst>
                </p:cNvPr>
                <p:cNvSpPr/>
                <p:nvPr/>
              </p:nvSpPr>
              <p:spPr>
                <a:xfrm>
                  <a:off x="3341871" y="5888037"/>
                  <a:ext cx="66675" cy="76200"/>
                </a:xfrm>
                <a:custGeom>
                  <a:avLst/>
                  <a:gdLst>
                    <a:gd name="connsiteX0" fmla="*/ 47873 w 66675"/>
                    <a:gd name="connsiteY0" fmla="*/ 58493 h 76200"/>
                    <a:gd name="connsiteX1" fmla="*/ 47597 w 66675"/>
                    <a:gd name="connsiteY1" fmla="*/ 58493 h 76200"/>
                    <a:gd name="connsiteX2" fmla="*/ 24108 w 66675"/>
                    <a:gd name="connsiteY2" fmla="*/ 76019 h 76200"/>
                    <a:gd name="connsiteX3" fmla="*/ 7144 w 66675"/>
                    <a:gd name="connsiteY3" fmla="*/ 56369 h 76200"/>
                    <a:gd name="connsiteX4" fmla="*/ 7144 w 66675"/>
                    <a:gd name="connsiteY4" fmla="*/ 7144 h 76200"/>
                    <a:gd name="connsiteX5" fmla="*/ 21421 w 66675"/>
                    <a:gd name="connsiteY5" fmla="*/ 7144 h 76200"/>
                    <a:gd name="connsiteX6" fmla="*/ 21421 w 66675"/>
                    <a:gd name="connsiteY6" fmla="*/ 49282 h 76200"/>
                    <a:gd name="connsiteX7" fmla="*/ 29918 w 66675"/>
                    <a:gd name="connsiteY7" fmla="*/ 65408 h 76200"/>
                    <a:gd name="connsiteX8" fmla="*/ 48016 w 66675"/>
                    <a:gd name="connsiteY8" fmla="*/ 34995 h 76200"/>
                    <a:gd name="connsiteX9" fmla="*/ 48016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7" y="58493"/>
                      </a:lnTo>
                      <a:cubicBezTo>
                        <a:pt x="45320" y="63446"/>
                        <a:pt x="38967" y="76019"/>
                        <a:pt x="24108" y="76019"/>
                      </a:cubicBezTo>
                      <a:cubicBezTo>
                        <a:pt x="12230" y="76019"/>
                        <a:pt x="7144" y="66122"/>
                        <a:pt x="7144" y="56369"/>
                      </a:cubicBezTo>
                      <a:lnTo>
                        <a:pt x="7144" y="7144"/>
                      </a:lnTo>
                      <a:lnTo>
                        <a:pt x="21421" y="7144"/>
                      </a:lnTo>
                      <a:lnTo>
                        <a:pt x="21421" y="49282"/>
                      </a:lnTo>
                      <a:cubicBezTo>
                        <a:pt x="21421" y="57788"/>
                        <a:pt x="22698" y="65408"/>
                        <a:pt x="29918" y="65408"/>
                      </a:cubicBezTo>
                      <a:cubicBezTo>
                        <a:pt x="44062" y="65408"/>
                        <a:pt x="48016" y="43348"/>
                        <a:pt x="48016" y="34995"/>
                      </a:cubicBezTo>
                      <a:lnTo>
                        <a:pt x="48016" y="7144"/>
                      </a:lnTo>
                      <a:lnTo>
                        <a:pt x="62303" y="7144"/>
                      </a:lnTo>
                      <a:lnTo>
                        <a:pt x="62303" y="74466"/>
                      </a:lnTo>
                      <a:lnTo>
                        <a:pt x="47873" y="74466"/>
                      </a:lnTo>
                      <a:lnTo>
                        <a:pt x="47873" y="58493"/>
                      </a:lnTo>
                      <a:close/>
                    </a:path>
                  </a:pathLst>
                </a:custGeom>
                <a:grpFill/>
                <a:ln w="9525" cap="flat">
                  <a:noFill/>
                  <a:prstDash val="solid"/>
                  <a:miter/>
                </a:ln>
              </p:spPr>
              <p:txBody>
                <a:bodyPr rtlCol="0" anchor="ctr"/>
                <a:lstStyle/>
                <a:p>
                  <a:endParaRPr lang="ja-JP" altLang="en-US"/>
                </a:p>
              </p:txBody>
            </p:sp>
            <p:sp>
              <p:nvSpPr>
                <p:cNvPr id="158" name="フリーフォーム: 図形 83">
                  <a:extLst>
                    <a:ext uri="{FF2B5EF4-FFF2-40B4-BE49-F238E27FC236}">
                      <a16:creationId xmlns:a16="http://schemas.microsoft.com/office/drawing/2014/main" id="{3646B696-B8C2-48AB-B302-FDF2694CD934}"/>
                    </a:ext>
                  </a:extLst>
                </p:cNvPr>
                <p:cNvSpPr/>
                <p:nvPr/>
              </p:nvSpPr>
              <p:spPr>
                <a:xfrm>
                  <a:off x="3417966" y="5886475"/>
                  <a:ext cx="47625" cy="76200"/>
                </a:xfrm>
                <a:custGeom>
                  <a:avLst/>
                  <a:gdLst>
                    <a:gd name="connsiteX0" fmla="*/ 7144 w 47625"/>
                    <a:gd name="connsiteY0" fmla="*/ 8706 h 76200"/>
                    <a:gd name="connsiteX1" fmla="*/ 21421 w 47625"/>
                    <a:gd name="connsiteY1" fmla="*/ 8706 h 76200"/>
                    <a:gd name="connsiteX2" fmla="*/ 2142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21 w 47625"/>
                    <a:gd name="connsiteY6" fmla="*/ 45196 h 76200"/>
                    <a:gd name="connsiteX7" fmla="*/ 2142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21" y="8706"/>
                      </a:lnTo>
                      <a:lnTo>
                        <a:pt x="21421" y="25822"/>
                      </a:lnTo>
                      <a:lnTo>
                        <a:pt x="21707" y="25822"/>
                      </a:lnTo>
                      <a:cubicBezTo>
                        <a:pt x="26232" y="16764"/>
                        <a:pt x="31185" y="8134"/>
                        <a:pt x="43491" y="7144"/>
                      </a:cubicBezTo>
                      <a:lnTo>
                        <a:pt x="43491" y="21993"/>
                      </a:lnTo>
                      <a:cubicBezTo>
                        <a:pt x="29775" y="22422"/>
                        <a:pt x="21421" y="27089"/>
                        <a:pt x="21421" y="45196"/>
                      </a:cubicBezTo>
                      <a:lnTo>
                        <a:pt x="21421" y="76038"/>
                      </a:lnTo>
                      <a:lnTo>
                        <a:pt x="7144" y="76038"/>
                      </a:lnTo>
                      <a:lnTo>
                        <a:pt x="7144" y="8706"/>
                      </a:lnTo>
                      <a:close/>
                    </a:path>
                  </a:pathLst>
                </a:custGeom>
                <a:grpFill/>
                <a:ln w="9525" cap="flat">
                  <a:noFill/>
                  <a:prstDash val="solid"/>
                  <a:miter/>
                </a:ln>
              </p:spPr>
              <p:txBody>
                <a:bodyPr rtlCol="0" anchor="ctr"/>
                <a:lstStyle/>
                <a:p>
                  <a:endParaRPr lang="ja-JP" altLang="en-US"/>
                </a:p>
              </p:txBody>
            </p:sp>
            <p:sp>
              <p:nvSpPr>
                <p:cNvPr id="159" name="フリーフォーム: 図形 84">
                  <a:extLst>
                    <a:ext uri="{FF2B5EF4-FFF2-40B4-BE49-F238E27FC236}">
                      <a16:creationId xmlns:a16="http://schemas.microsoft.com/office/drawing/2014/main" id="{8D4AC914-ACBC-4177-AC5C-67F51924D8E0}"/>
                    </a:ext>
                  </a:extLst>
                </p:cNvPr>
                <p:cNvSpPr/>
                <p:nvPr/>
              </p:nvSpPr>
              <p:spPr>
                <a:xfrm>
                  <a:off x="3467886" y="5857776"/>
                  <a:ext cx="28575" cy="104775"/>
                </a:xfrm>
                <a:custGeom>
                  <a:avLst/>
                  <a:gdLst>
                    <a:gd name="connsiteX0" fmla="*/ 7144 w 28575"/>
                    <a:gd name="connsiteY0" fmla="*/ 7144 h 104775"/>
                    <a:gd name="connsiteX1" fmla="*/ 22565 w 28575"/>
                    <a:gd name="connsiteY1" fmla="*/ 7144 h 104775"/>
                    <a:gd name="connsiteX2" fmla="*/ 22565 w 28575"/>
                    <a:gd name="connsiteY2" fmla="*/ 21279 h 104775"/>
                    <a:gd name="connsiteX3" fmla="*/ 7144 w 28575"/>
                    <a:gd name="connsiteY3" fmla="*/ 21279 h 104775"/>
                    <a:gd name="connsiteX4" fmla="*/ 7144 w 28575"/>
                    <a:gd name="connsiteY4" fmla="*/ 7144 h 104775"/>
                    <a:gd name="connsiteX5" fmla="*/ 7715 w 28575"/>
                    <a:gd name="connsiteY5" fmla="*/ 37405 h 104775"/>
                    <a:gd name="connsiteX6" fmla="*/ 22003 w 28575"/>
                    <a:gd name="connsiteY6" fmla="*/ 37405 h 104775"/>
                    <a:gd name="connsiteX7" fmla="*/ 22003 w 28575"/>
                    <a:gd name="connsiteY7" fmla="*/ 104727 h 104775"/>
                    <a:gd name="connsiteX8" fmla="*/ 7715 w 28575"/>
                    <a:gd name="connsiteY8" fmla="*/ 104727 h 104775"/>
                    <a:gd name="connsiteX9" fmla="*/ 7715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65" y="7144"/>
                      </a:lnTo>
                      <a:lnTo>
                        <a:pt x="22565" y="21279"/>
                      </a:lnTo>
                      <a:lnTo>
                        <a:pt x="7144" y="21279"/>
                      </a:lnTo>
                      <a:lnTo>
                        <a:pt x="7144" y="7144"/>
                      </a:lnTo>
                      <a:close/>
                      <a:moveTo>
                        <a:pt x="7715" y="37405"/>
                      </a:moveTo>
                      <a:lnTo>
                        <a:pt x="22003" y="37405"/>
                      </a:lnTo>
                      <a:lnTo>
                        <a:pt x="22003" y="104727"/>
                      </a:lnTo>
                      <a:lnTo>
                        <a:pt x="7715" y="104727"/>
                      </a:lnTo>
                      <a:lnTo>
                        <a:pt x="7715" y="37405"/>
                      </a:lnTo>
                      <a:close/>
                    </a:path>
                  </a:pathLst>
                </a:custGeom>
                <a:grpFill/>
                <a:ln w="9525" cap="flat">
                  <a:noFill/>
                  <a:prstDash val="solid"/>
                  <a:miter/>
                </a:ln>
              </p:spPr>
              <p:txBody>
                <a:bodyPr rtlCol="0" anchor="ctr"/>
                <a:lstStyle/>
                <a:p>
                  <a:endParaRPr lang="ja-JP" altLang="en-US"/>
                </a:p>
              </p:txBody>
            </p:sp>
            <p:sp>
              <p:nvSpPr>
                <p:cNvPr id="160" name="フリーフォーム: 図形 85">
                  <a:extLst>
                    <a:ext uri="{FF2B5EF4-FFF2-40B4-BE49-F238E27FC236}">
                      <a16:creationId xmlns:a16="http://schemas.microsoft.com/office/drawing/2014/main" id="{BA1C8EC0-AC20-499F-93CC-20A5288C1178}"/>
                    </a:ext>
                  </a:extLst>
                </p:cNvPr>
                <p:cNvSpPr/>
                <p:nvPr/>
              </p:nvSpPr>
              <p:spPr>
                <a:xfrm>
                  <a:off x="3501548" y="5886465"/>
                  <a:ext cx="57150" cy="76200"/>
                </a:xfrm>
                <a:custGeom>
                  <a:avLst/>
                  <a:gdLst>
                    <a:gd name="connsiteX0" fmla="*/ 46615 w 57150"/>
                    <a:gd name="connsiteY0" fmla="*/ 22003 h 76200"/>
                    <a:gd name="connsiteX1" fmla="*/ 29642 w 57150"/>
                    <a:gd name="connsiteY1" fmla="*/ 15364 h 76200"/>
                    <a:gd name="connsiteX2" fmla="*/ 20021 w 57150"/>
                    <a:gd name="connsiteY2" fmla="*/ 22431 h 76200"/>
                    <a:gd name="connsiteX3" fmla="*/ 50854 w 57150"/>
                    <a:gd name="connsiteY3" fmla="*/ 57236 h 76200"/>
                    <a:gd name="connsiteX4" fmla="*/ 25251 w 57150"/>
                    <a:gd name="connsiteY4" fmla="*/ 77591 h 76200"/>
                    <a:gd name="connsiteX5" fmla="*/ 7287 w 57150"/>
                    <a:gd name="connsiteY5" fmla="*/ 74628 h 76200"/>
                    <a:gd name="connsiteX6" fmla="*/ 7287 w 57150"/>
                    <a:gd name="connsiteY6" fmla="*/ 61474 h 76200"/>
                    <a:gd name="connsiteX7" fmla="*/ 25956 w 57150"/>
                    <a:gd name="connsiteY7" fmla="*/ 68542 h 76200"/>
                    <a:gd name="connsiteX8" fmla="*/ 37557 w 57150"/>
                    <a:gd name="connsiteY8" fmla="*/ 60055 h 76200"/>
                    <a:gd name="connsiteX9" fmla="*/ 7144 w 57150"/>
                    <a:gd name="connsiteY9" fmla="*/ 26527 h 76200"/>
                    <a:gd name="connsiteX10" fmla="*/ 3076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15" y="22003"/>
                      </a:moveTo>
                      <a:cubicBezTo>
                        <a:pt x="41806" y="18745"/>
                        <a:pt x="36433" y="15364"/>
                        <a:pt x="29642" y="15364"/>
                      </a:cubicBezTo>
                      <a:cubicBezTo>
                        <a:pt x="25118" y="15364"/>
                        <a:pt x="20021" y="17336"/>
                        <a:pt x="20021" y="22431"/>
                      </a:cubicBezTo>
                      <a:cubicBezTo>
                        <a:pt x="20021" y="34595"/>
                        <a:pt x="50854" y="35728"/>
                        <a:pt x="50854" y="57236"/>
                      </a:cubicBezTo>
                      <a:cubicBezTo>
                        <a:pt x="50854" y="71656"/>
                        <a:pt x="39538" y="77591"/>
                        <a:pt x="25251" y="77591"/>
                      </a:cubicBezTo>
                      <a:cubicBezTo>
                        <a:pt x="16621" y="77591"/>
                        <a:pt x="10687" y="75771"/>
                        <a:pt x="7287" y="74628"/>
                      </a:cubicBezTo>
                      <a:lnTo>
                        <a:pt x="7287" y="61474"/>
                      </a:lnTo>
                      <a:cubicBezTo>
                        <a:pt x="11392" y="64303"/>
                        <a:pt x="18031" y="68542"/>
                        <a:pt x="25956" y="68542"/>
                      </a:cubicBezTo>
                      <a:cubicBezTo>
                        <a:pt x="34157" y="68542"/>
                        <a:pt x="37557" y="64303"/>
                        <a:pt x="37557" y="60055"/>
                      </a:cubicBezTo>
                      <a:cubicBezTo>
                        <a:pt x="37557" y="48168"/>
                        <a:pt x="7144" y="45768"/>
                        <a:pt x="7144" y="26527"/>
                      </a:cubicBezTo>
                      <a:cubicBezTo>
                        <a:pt x="7144" y="16335"/>
                        <a:pt x="13935" y="7144"/>
                        <a:pt x="30766" y="7144"/>
                      </a:cubicBezTo>
                      <a:cubicBezTo>
                        <a:pt x="37976" y="7144"/>
                        <a:pt x="44196" y="9115"/>
                        <a:pt x="46606" y="9820"/>
                      </a:cubicBezTo>
                      <a:lnTo>
                        <a:pt x="46606" y="22003"/>
                      </a:lnTo>
                      <a:close/>
                    </a:path>
                  </a:pathLst>
                </a:custGeom>
                <a:grpFill/>
                <a:ln w="9525" cap="flat">
                  <a:noFill/>
                  <a:prstDash val="solid"/>
                  <a:miter/>
                </a:ln>
              </p:spPr>
              <p:txBody>
                <a:bodyPr rtlCol="0" anchor="ctr"/>
                <a:lstStyle/>
                <a:p>
                  <a:endParaRPr lang="ja-JP" altLang="en-US"/>
                </a:p>
              </p:txBody>
            </p:sp>
            <p:sp>
              <p:nvSpPr>
                <p:cNvPr id="161" name="フリーフォーム: 図形 86">
                  <a:extLst>
                    <a:ext uri="{FF2B5EF4-FFF2-40B4-BE49-F238E27FC236}">
                      <a16:creationId xmlns:a16="http://schemas.microsoft.com/office/drawing/2014/main" id="{1CF3A5DB-5F51-4EDC-895D-19C1D8F7E640}"/>
                    </a:ext>
                  </a:extLst>
                </p:cNvPr>
                <p:cNvSpPr/>
                <p:nvPr/>
              </p:nvSpPr>
              <p:spPr>
                <a:xfrm>
                  <a:off x="3561803" y="5886475"/>
                  <a:ext cx="95250" cy="76200"/>
                </a:xfrm>
                <a:custGeom>
                  <a:avLst/>
                  <a:gdLst>
                    <a:gd name="connsiteX0" fmla="*/ 7144 w 95250"/>
                    <a:gd name="connsiteY0" fmla="*/ 8706 h 76200"/>
                    <a:gd name="connsiteX1" fmla="*/ 21431 w 95250"/>
                    <a:gd name="connsiteY1" fmla="*/ 8706 h 76200"/>
                    <a:gd name="connsiteX2" fmla="*/ 21431 w 95250"/>
                    <a:gd name="connsiteY2" fmla="*/ 24689 h 76200"/>
                    <a:gd name="connsiteX3" fmla="*/ 21717 w 95250"/>
                    <a:gd name="connsiteY3" fmla="*/ 24689 h 76200"/>
                    <a:gd name="connsiteX4" fmla="*/ 42082 w 95250"/>
                    <a:gd name="connsiteY4" fmla="*/ 7144 h 76200"/>
                    <a:gd name="connsiteX5" fmla="*/ 58779 w 95250"/>
                    <a:gd name="connsiteY5" fmla="*/ 23831 h 76200"/>
                    <a:gd name="connsiteX6" fmla="*/ 59055 w 95250"/>
                    <a:gd name="connsiteY6" fmla="*/ 23831 h 76200"/>
                    <a:gd name="connsiteX7" fmla="*/ 79429 w 95250"/>
                    <a:gd name="connsiteY7" fmla="*/ 7144 h 76200"/>
                    <a:gd name="connsiteX8" fmla="*/ 96393 w 95250"/>
                    <a:gd name="connsiteY8" fmla="*/ 30346 h 76200"/>
                    <a:gd name="connsiteX9" fmla="*/ 96393 w 95250"/>
                    <a:gd name="connsiteY9" fmla="*/ 76038 h 76200"/>
                    <a:gd name="connsiteX10" fmla="*/ 82115 w 95250"/>
                    <a:gd name="connsiteY10" fmla="*/ 76038 h 76200"/>
                    <a:gd name="connsiteX11" fmla="*/ 82115 w 95250"/>
                    <a:gd name="connsiteY11" fmla="*/ 32613 h 76200"/>
                    <a:gd name="connsiteX12" fmla="*/ 73914 w 95250"/>
                    <a:gd name="connsiteY12" fmla="*/ 17745 h 76200"/>
                    <a:gd name="connsiteX13" fmla="*/ 58922 w 95250"/>
                    <a:gd name="connsiteY13" fmla="*/ 48015 h 76200"/>
                    <a:gd name="connsiteX14" fmla="*/ 58922 w 95250"/>
                    <a:gd name="connsiteY14" fmla="*/ 76029 h 76200"/>
                    <a:gd name="connsiteX15" fmla="*/ 44634 w 95250"/>
                    <a:gd name="connsiteY15" fmla="*/ 76029 h 76200"/>
                    <a:gd name="connsiteX16" fmla="*/ 44634 w 95250"/>
                    <a:gd name="connsiteY16" fmla="*/ 33871 h 76200"/>
                    <a:gd name="connsiteX17" fmla="*/ 36148 w 95250"/>
                    <a:gd name="connsiteY17" fmla="*/ 17745 h 76200"/>
                    <a:gd name="connsiteX18" fmla="*/ 21431 w 95250"/>
                    <a:gd name="connsiteY18" fmla="*/ 48158 h 76200"/>
                    <a:gd name="connsiteX19" fmla="*/ 21431 w 95250"/>
                    <a:gd name="connsiteY19" fmla="*/ 76029 h 76200"/>
                    <a:gd name="connsiteX20" fmla="*/ 7144 w 95250"/>
                    <a:gd name="connsiteY20" fmla="*/ 76029 h 76200"/>
                    <a:gd name="connsiteX21" fmla="*/ 7144 w 95250"/>
                    <a:gd name="connsiteY21"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5250" h="76200">
                      <a:moveTo>
                        <a:pt x="7144" y="8706"/>
                      </a:moveTo>
                      <a:lnTo>
                        <a:pt x="21431" y="8706"/>
                      </a:lnTo>
                      <a:lnTo>
                        <a:pt x="21431" y="24689"/>
                      </a:lnTo>
                      <a:lnTo>
                        <a:pt x="21717" y="24689"/>
                      </a:lnTo>
                      <a:cubicBezTo>
                        <a:pt x="23270" y="19593"/>
                        <a:pt x="29204" y="7144"/>
                        <a:pt x="42082" y="7144"/>
                      </a:cubicBezTo>
                      <a:cubicBezTo>
                        <a:pt x="53969" y="7144"/>
                        <a:pt x="58351" y="16764"/>
                        <a:pt x="58779" y="23831"/>
                      </a:cubicBezTo>
                      <a:lnTo>
                        <a:pt x="59055" y="23831"/>
                      </a:lnTo>
                      <a:cubicBezTo>
                        <a:pt x="61465" y="18602"/>
                        <a:pt x="66123" y="7144"/>
                        <a:pt x="79429" y="7144"/>
                      </a:cubicBezTo>
                      <a:cubicBezTo>
                        <a:pt x="93716" y="7144"/>
                        <a:pt x="96393" y="18878"/>
                        <a:pt x="96393" y="30346"/>
                      </a:cubicBezTo>
                      <a:lnTo>
                        <a:pt x="96393" y="76038"/>
                      </a:lnTo>
                      <a:lnTo>
                        <a:pt x="82115" y="76038"/>
                      </a:lnTo>
                      <a:lnTo>
                        <a:pt x="82115" y="32613"/>
                      </a:lnTo>
                      <a:cubicBezTo>
                        <a:pt x="82115" y="24822"/>
                        <a:pt x="80982" y="17745"/>
                        <a:pt x="73914" y="17745"/>
                      </a:cubicBezTo>
                      <a:cubicBezTo>
                        <a:pt x="61322" y="17745"/>
                        <a:pt x="58922" y="39805"/>
                        <a:pt x="58922" y="48015"/>
                      </a:cubicBezTo>
                      <a:lnTo>
                        <a:pt x="58922" y="76029"/>
                      </a:lnTo>
                      <a:lnTo>
                        <a:pt x="44634" y="76029"/>
                      </a:lnTo>
                      <a:lnTo>
                        <a:pt x="44634" y="33871"/>
                      </a:lnTo>
                      <a:cubicBezTo>
                        <a:pt x="44634" y="25384"/>
                        <a:pt x="43929" y="17745"/>
                        <a:pt x="36148" y="17745"/>
                      </a:cubicBezTo>
                      <a:cubicBezTo>
                        <a:pt x="22984" y="17745"/>
                        <a:pt x="21431" y="40948"/>
                        <a:pt x="21431" y="48158"/>
                      </a:cubicBezTo>
                      <a:lnTo>
                        <a:pt x="21431" y="76029"/>
                      </a:lnTo>
                      <a:lnTo>
                        <a:pt x="7144" y="76029"/>
                      </a:lnTo>
                      <a:lnTo>
                        <a:pt x="7144" y="8706"/>
                      </a:lnTo>
                      <a:close/>
                    </a:path>
                  </a:pathLst>
                </a:custGeom>
                <a:grpFill/>
                <a:ln w="9525" cap="flat">
                  <a:noFill/>
                  <a:prstDash val="solid"/>
                  <a:miter/>
                </a:ln>
              </p:spPr>
              <p:txBody>
                <a:bodyPr rtlCol="0" anchor="ctr"/>
                <a:lstStyle/>
                <a:p>
                  <a:endParaRPr lang="ja-JP" altLang="en-US"/>
                </a:p>
              </p:txBody>
            </p:sp>
          </p:grpSp>
        </p:grpSp>
      </p:grpSp>
      <p:sp>
        <p:nvSpPr>
          <p:cNvPr id="31747" name="Rectangle 3"/>
          <p:cNvSpPr>
            <a:spLocks noGrp="1" noChangeArrowheads="1"/>
          </p:cNvSpPr>
          <p:nvPr>
            <p:ph type="ctrTitle"/>
          </p:nvPr>
        </p:nvSpPr>
        <p:spPr>
          <a:xfrm>
            <a:off x="1784350" y="2133600"/>
            <a:ext cx="8121650" cy="1470025"/>
          </a:xfrm>
        </p:spPr>
        <p:txBody>
          <a:bodyPr/>
          <a:lstStyle>
            <a:lvl1pPr>
              <a:defRPr sz="4000"/>
            </a:lvl1pPr>
          </a:lstStyle>
          <a:p>
            <a:pPr lvl="0"/>
            <a:r>
              <a:rPr lang="ja-JP" altLang="en-US" noProof="0"/>
              <a:t>マスタ タイトルの書式設定</a:t>
            </a:r>
          </a:p>
        </p:txBody>
      </p:sp>
      <p:sp>
        <p:nvSpPr>
          <p:cNvPr id="31748"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pPr lvl="0"/>
            <a:r>
              <a:rPr lang="ja-JP" altLang="en-US" noProof="0"/>
              <a:t>国土交通省　観光庁</a:t>
            </a:r>
          </a:p>
          <a:p>
            <a:pPr lvl="0"/>
            <a:r>
              <a:rPr lang="ja-JP" altLang="en-US" noProof="0"/>
              <a:t>○○課</a:t>
            </a:r>
          </a:p>
          <a:p>
            <a:pPr lvl="0"/>
            <a:r>
              <a:rPr lang="ja-JP" altLang="en-US" noProof="0"/>
              <a:t>平成○○年○○月</a:t>
            </a:r>
          </a:p>
        </p:txBody>
      </p:sp>
      <p:sp>
        <p:nvSpPr>
          <p:cNvPr id="31749" name="Rectangle 5"/>
          <p:cNvSpPr>
            <a:spLocks noGrp="1" noChangeArrowheads="1"/>
          </p:cNvSpPr>
          <p:nvPr>
            <p:ph type="dt" sz="half" idx="2"/>
          </p:nvPr>
        </p:nvSpPr>
        <p:spPr/>
        <p:txBody>
          <a:bodyPr/>
          <a:lstStyle>
            <a:lvl1pPr>
              <a:defRPr/>
            </a:lvl1pPr>
          </a:lstStyle>
          <a:p>
            <a:endParaRPr lang="en-US" altLang="ja-JP"/>
          </a:p>
        </p:txBody>
      </p:sp>
      <p:sp>
        <p:nvSpPr>
          <p:cNvPr id="31750" name="Rectangle 6"/>
          <p:cNvSpPr>
            <a:spLocks noGrp="1" noChangeArrowheads="1"/>
          </p:cNvSpPr>
          <p:nvPr>
            <p:ph type="ftr" sz="quarter" idx="3"/>
          </p:nvPr>
        </p:nvSpPr>
        <p:spPr/>
        <p:txBody>
          <a:bodyPr/>
          <a:lstStyle>
            <a:lvl1pPr>
              <a:defRPr/>
            </a:lvl1pPr>
          </a:lstStyle>
          <a:p>
            <a:endParaRPr lang="en-US" altLang="ja-JP"/>
          </a:p>
        </p:txBody>
      </p:sp>
      <p:sp>
        <p:nvSpPr>
          <p:cNvPr id="31751" name="Rectangle 7"/>
          <p:cNvSpPr>
            <a:spLocks noGrp="1" noChangeArrowheads="1"/>
          </p:cNvSpPr>
          <p:nvPr>
            <p:ph type="sldNum" sz="quarter" idx="4"/>
          </p:nvPr>
        </p:nvSpPr>
        <p:spPr>
          <a:xfrm>
            <a:off x="7099300" y="6245225"/>
            <a:ext cx="2311400" cy="476250"/>
          </a:xfrm>
        </p:spPr>
        <p:txBody>
          <a:bodyPr/>
          <a:lstStyle>
            <a:lvl1pPr>
              <a:defRPr/>
            </a:lvl1pPr>
          </a:lstStyle>
          <a:p>
            <a:fld id="{8668F1B4-CD69-4873-A37D-05E3ED60FF33}" type="slidenum">
              <a:rPr lang="en-US" altLang="ja-JP"/>
              <a:pPr/>
              <a:t>‹#›</a:t>
            </a:fld>
            <a:endParaRPr lang="en-US" altLang="ja-JP"/>
          </a:p>
        </p:txBody>
      </p:sp>
      <p:sp>
        <p:nvSpPr>
          <p:cNvPr id="31758" name="Rectangle 14"/>
          <p:cNvSpPr>
            <a:spLocks noChangeArrowheads="1"/>
          </p:cNvSpPr>
          <p:nvPr userDrawn="1"/>
        </p:nvSpPr>
        <p:spPr bwMode="auto">
          <a:xfrm>
            <a:off x="1833563" y="3284538"/>
            <a:ext cx="8072437" cy="73025"/>
          </a:xfrm>
          <a:prstGeom prst="rect">
            <a:avLst/>
          </a:prstGeom>
          <a:solidFill>
            <a:srgbClr val="FF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spTree>
    <p:extLst>
      <p:ext uri="{BB962C8B-B14F-4D97-AF65-F5344CB8AC3E}">
        <p14:creationId xmlns:p14="http://schemas.microsoft.com/office/powerpoint/2010/main" val="201933904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endParaRPr lang="en-US" altLang="ja-JP"/>
          </a:p>
        </p:txBody>
      </p:sp>
      <p:sp>
        <p:nvSpPr>
          <p:cNvPr id="5" name="フッター プレースホルダー 4"/>
          <p:cNvSpPr>
            <a:spLocks noGrp="1"/>
          </p:cNvSpPr>
          <p:nvPr>
            <p:ph type="ftr" sz="quarter" idx="11"/>
          </p:nvPr>
        </p:nvSpPr>
        <p:spPr/>
        <p:txBody>
          <a:bodyPr/>
          <a:lstStyle>
            <a:lvl1pPr>
              <a:defRPr/>
            </a:lvl1pPr>
          </a:lstStyle>
          <a:p>
            <a:endParaRPr lang="en-US" altLang="ja-JP"/>
          </a:p>
        </p:txBody>
      </p:sp>
      <p:sp>
        <p:nvSpPr>
          <p:cNvPr id="6" name="スライド番号プレースホルダー 5"/>
          <p:cNvSpPr>
            <a:spLocks noGrp="1"/>
          </p:cNvSpPr>
          <p:nvPr>
            <p:ph type="sldNum" sz="quarter" idx="12"/>
          </p:nvPr>
        </p:nvSpPr>
        <p:spPr/>
        <p:txBody>
          <a:bodyPr/>
          <a:lstStyle>
            <a:lvl1pPr>
              <a:defRPr/>
            </a:lvl1pPr>
          </a:lstStyle>
          <a:p>
            <a:fld id="{A55D6372-79B3-44A9-9559-35B0E06D676F}" type="slidenum">
              <a:rPr lang="en-US" altLang="ja-JP"/>
              <a:pPr/>
              <a:t>‹#›</a:t>
            </a:fld>
            <a:endParaRPr lang="en-US" altLang="ja-JP"/>
          </a:p>
        </p:txBody>
      </p:sp>
    </p:spTree>
    <p:extLst>
      <p:ext uri="{BB962C8B-B14F-4D97-AF65-F5344CB8AC3E}">
        <p14:creationId xmlns:p14="http://schemas.microsoft.com/office/powerpoint/2010/main" val="6379152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pSp>
        <p:nvGrpSpPr>
          <p:cNvPr id="1050" name="グループ化 93"/>
          <p:cNvGrpSpPr>
            <a:grpSpLocks noChangeAspect="1"/>
          </p:cNvGrpSpPr>
          <p:nvPr userDrawn="1"/>
        </p:nvGrpSpPr>
        <p:grpSpPr>
          <a:xfrm>
            <a:off x="251520" y="6076961"/>
            <a:ext cx="1395847" cy="418881"/>
            <a:chOff x="4624168" y="4098236"/>
            <a:chExt cx="2957141" cy="819150"/>
          </a:xfrm>
        </p:grpSpPr>
        <p:sp>
          <p:nvSpPr>
            <p:cNvPr id="1051" name="フリーフォーム: 図形 8"/>
            <p:cNvSpPr/>
            <p:nvPr/>
          </p:nvSpPr>
          <p:spPr>
            <a:xfrm>
              <a:off x="4624168" y="4098236"/>
              <a:ext cx="971550"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a:p>
          </p:txBody>
        </p:sp>
        <p:sp>
          <p:nvSpPr>
            <p:cNvPr id="1052" name="フリーフォーム: 図形 9"/>
            <p:cNvSpPr/>
            <p:nvPr/>
          </p:nvSpPr>
          <p:spPr>
            <a:xfrm>
              <a:off x="7190784" y="4524946"/>
              <a:ext cx="390525" cy="352425"/>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a:p>
          </p:txBody>
        </p:sp>
        <p:sp>
          <p:nvSpPr>
            <p:cNvPr id="1053" name="フリーフォーム: 図形 10"/>
            <p:cNvSpPr/>
            <p:nvPr/>
          </p:nvSpPr>
          <p:spPr>
            <a:xfrm>
              <a:off x="7103392" y="4363774"/>
              <a:ext cx="476250" cy="514350"/>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a:p>
          </p:txBody>
        </p:sp>
        <p:sp>
          <p:nvSpPr>
            <p:cNvPr id="1054" name="フリーフォーム: 図形 11"/>
            <p:cNvSpPr/>
            <p:nvPr/>
          </p:nvSpPr>
          <p:spPr>
            <a:xfrm>
              <a:off x="6484267" y="4397940"/>
              <a:ext cx="476250" cy="476250"/>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a:p>
          </p:txBody>
        </p:sp>
        <p:sp>
          <p:nvSpPr>
            <p:cNvPr id="1055" name="フリーフォーム: 図形 12"/>
            <p:cNvSpPr/>
            <p:nvPr/>
          </p:nvSpPr>
          <p:spPr>
            <a:xfrm>
              <a:off x="6793496" y="4397940"/>
              <a:ext cx="142875"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a:p>
          </p:txBody>
        </p:sp>
        <p:sp>
          <p:nvSpPr>
            <p:cNvPr id="1056" name="フリーフォーム: 図形 13"/>
            <p:cNvSpPr/>
            <p:nvPr/>
          </p:nvSpPr>
          <p:spPr>
            <a:xfrm>
              <a:off x="6513375" y="4397940"/>
              <a:ext cx="142875"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a:p>
          </p:txBody>
        </p:sp>
        <p:sp>
          <p:nvSpPr>
            <p:cNvPr id="1057" name="フリーフォーム: 図形 14"/>
            <p:cNvSpPr/>
            <p:nvPr/>
          </p:nvSpPr>
          <p:spPr>
            <a:xfrm>
              <a:off x="6150387" y="4397940"/>
              <a:ext cx="219075" cy="476250"/>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a:p>
          </p:txBody>
        </p:sp>
        <p:sp>
          <p:nvSpPr>
            <p:cNvPr id="1058" name="フリーフォーム: 図形 15"/>
            <p:cNvSpPr/>
            <p:nvPr/>
          </p:nvSpPr>
          <p:spPr>
            <a:xfrm>
              <a:off x="5863313" y="4363783"/>
              <a:ext cx="285750" cy="514350"/>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a:p>
          </p:txBody>
        </p:sp>
        <p:sp>
          <p:nvSpPr>
            <p:cNvPr id="1059" name="フリーフォーム: 図形 16"/>
            <p:cNvSpPr/>
            <p:nvPr/>
          </p:nvSpPr>
          <p:spPr>
            <a:xfrm>
              <a:off x="5899880" y="4139269"/>
              <a:ext cx="190500" cy="200025"/>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a:p>
          </p:txBody>
        </p:sp>
        <p:sp>
          <p:nvSpPr>
            <p:cNvPr id="1060" name="フリーフォーム: 図形 17"/>
            <p:cNvSpPr/>
            <p:nvPr/>
          </p:nvSpPr>
          <p:spPr>
            <a:xfrm>
              <a:off x="6114792" y="4129592"/>
              <a:ext cx="200025" cy="200025"/>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a:p>
          </p:txBody>
        </p:sp>
        <p:sp>
          <p:nvSpPr>
            <p:cNvPr id="1061" name="フリーフォーム: 図形 18"/>
            <p:cNvSpPr/>
            <p:nvPr/>
          </p:nvSpPr>
          <p:spPr>
            <a:xfrm>
              <a:off x="6335839" y="4129592"/>
              <a:ext cx="209550" cy="200025"/>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a:p>
          </p:txBody>
        </p:sp>
        <p:sp>
          <p:nvSpPr>
            <p:cNvPr id="1062" name="フリーフォーム: 図形 19"/>
            <p:cNvSpPr/>
            <p:nvPr/>
          </p:nvSpPr>
          <p:spPr>
            <a:xfrm>
              <a:off x="6554514" y="4131697"/>
              <a:ext cx="209550" cy="200025"/>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a:p>
          </p:txBody>
        </p:sp>
        <p:sp>
          <p:nvSpPr>
            <p:cNvPr id="1063" name="フリーフォーム: 図形 20"/>
            <p:cNvSpPr/>
            <p:nvPr/>
          </p:nvSpPr>
          <p:spPr>
            <a:xfrm>
              <a:off x="6776113" y="4130182"/>
              <a:ext cx="209550" cy="200025"/>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a:p>
          </p:txBody>
        </p:sp>
      </p:grpSp>
      <p:grpSp>
        <p:nvGrpSpPr>
          <p:cNvPr id="1064" name="グループ化 107"/>
          <p:cNvGrpSpPr/>
          <p:nvPr userDrawn="1"/>
        </p:nvGrpSpPr>
        <p:grpSpPr>
          <a:xfrm>
            <a:off x="0" y="6589649"/>
            <a:ext cx="9906000" cy="270000"/>
            <a:chOff x="0" y="6589649"/>
            <a:chExt cx="10731500" cy="270000"/>
          </a:xfrm>
        </p:grpSpPr>
        <p:sp>
          <p:nvSpPr>
            <p:cNvPr id="1065" name="正方形/長方形 108"/>
            <p:cNvSpPr/>
            <p:nvPr userDrawn="1"/>
          </p:nvSpPr>
          <p:spPr>
            <a:xfrm>
              <a:off x="0" y="6589649"/>
              <a:ext cx="10731500" cy="270000"/>
            </a:xfrm>
            <a:prstGeom prst="rect">
              <a:avLst/>
            </a:prstGeom>
            <a:solidFill>
              <a:srgbClr val="FF0000"/>
            </a:solidFill>
            <a:ln>
              <a:noFill/>
            </a:ln>
            <a:effectLst/>
          </p:spPr>
          <p:txBody>
            <a:bodyPr vert="horz" wrap="none" lIns="91440" tIns="45720" rIns="91440" bIns="45720" numCol="1" rtlCol="0" anchor="ctr" anchorCtr="0" compatLnSpc="1">
              <a:prstTxWarp prst="textNoShape">
                <a:avLst/>
              </a:prstTxWarp>
            </a:bodyPr>
            <a:lstStyle/>
            <a:p>
              <a:pPr marL="0" marR="0" indent="0" algn="ctr" defTabSz="914418" rtl="0" eaLnBrk="1" fontAlgn="base" latinLnBrk="0" hangingPunct="1">
                <a:lnSpc>
                  <a:spcPct val="100000"/>
                </a:lnSpc>
                <a:spcBef>
                  <a:spcPct val="0"/>
                </a:spcBef>
                <a:spcAft>
                  <a:spcPct val="0"/>
                </a:spcAft>
                <a:buClrTx/>
                <a:buSzTx/>
                <a:buFontTx/>
                <a:buNone/>
                <a:tabLst/>
              </a:pPr>
              <a:endParaRPr kumimoji="1" lang="ja-JP" altLang="en-US" sz="1800" b="0" i="0" u="none" strike="noStrike" cap="none" normalizeH="0" baseline="0">
                <a:ln>
                  <a:noFill/>
                </a:ln>
                <a:solidFill>
                  <a:schemeClr val="tx1"/>
                </a:solidFill>
                <a:effectLst/>
                <a:latin typeface="Arial" panose="020B0604020202020204" pitchFamily="34" charset="0"/>
                <a:ea typeface="ＭＳ Ｐゴシック" panose="020B0600070205080204" pitchFamily="50" charset="-128"/>
              </a:endParaRPr>
            </a:p>
          </p:txBody>
        </p:sp>
        <p:grpSp>
          <p:nvGrpSpPr>
            <p:cNvPr id="1066" name="グループ化 109"/>
            <p:cNvGrpSpPr/>
            <p:nvPr userDrawn="1"/>
          </p:nvGrpSpPr>
          <p:grpSpPr>
            <a:xfrm>
              <a:off x="918000" y="6624000"/>
              <a:ext cx="5180400" cy="150760"/>
              <a:chOff x="918000" y="6660000"/>
              <a:chExt cx="5180400" cy="150760"/>
            </a:xfrm>
          </p:grpSpPr>
          <p:grpSp>
            <p:nvGrpSpPr>
              <p:cNvPr id="1067" name="グループ化 110"/>
              <p:cNvGrpSpPr>
                <a:grpSpLocks noChangeAspect="1"/>
              </p:cNvGrpSpPr>
              <p:nvPr userDrawn="1"/>
            </p:nvGrpSpPr>
            <p:grpSpPr>
              <a:xfrm>
                <a:off x="918000" y="6668107"/>
                <a:ext cx="1368000" cy="142653"/>
                <a:chOff x="416496" y="5492911"/>
                <a:chExt cx="3254892" cy="339414"/>
              </a:xfrm>
            </p:grpSpPr>
            <p:sp>
              <p:nvSpPr>
                <p:cNvPr id="1068" name="フリーフォーム: 図形 6"/>
                <p:cNvSpPr/>
                <p:nvPr/>
              </p:nvSpPr>
              <p:spPr>
                <a:xfrm>
                  <a:off x="416496" y="5492921"/>
                  <a:ext cx="123825" cy="257175"/>
                </a:xfrm>
                <a:custGeom>
                  <a:avLst/>
                  <a:gdLst>
                    <a:gd name="connsiteX0" fmla="*/ 123939 w 123825"/>
                    <a:gd name="connsiteY0" fmla="*/ 178146 h 257175"/>
                    <a:gd name="connsiteX1" fmla="*/ 42120 w 123825"/>
                    <a:gd name="connsiteY1" fmla="*/ 257813 h 257175"/>
                    <a:gd name="connsiteX2" fmla="*/ 7144 w 123825"/>
                    <a:gd name="connsiteY2" fmla="*/ 253565 h 257175"/>
                    <a:gd name="connsiteX3" fmla="*/ 7144 w 123825"/>
                    <a:gd name="connsiteY3" fmla="*/ 219961 h 257175"/>
                    <a:gd name="connsiteX4" fmla="*/ 44253 w 123825"/>
                    <a:gd name="connsiteY4" fmla="*/ 228200 h 257175"/>
                    <a:gd name="connsiteX5" fmla="*/ 77133 w 123825"/>
                    <a:gd name="connsiteY5" fmla="*/ 182442 h 257175"/>
                    <a:gd name="connsiteX6" fmla="*/ 77133 w 123825"/>
                    <a:gd name="connsiteY6" fmla="*/ 7144 h 257175"/>
                    <a:gd name="connsiteX7" fmla="*/ 123930 w 123825"/>
                    <a:gd name="connsiteY7" fmla="*/ 7144 h 257175"/>
                    <a:gd name="connsiteX8" fmla="*/ 123930 w 123825"/>
                    <a:gd name="connsiteY8" fmla="*/ 17814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257175">
                      <a:moveTo>
                        <a:pt x="123939" y="178146"/>
                      </a:moveTo>
                      <a:cubicBezTo>
                        <a:pt x="123939" y="225295"/>
                        <a:pt x="113224" y="257813"/>
                        <a:pt x="42120" y="257813"/>
                      </a:cubicBezTo>
                      <a:cubicBezTo>
                        <a:pt x="26756" y="257813"/>
                        <a:pt x="15326" y="255299"/>
                        <a:pt x="7144" y="253565"/>
                      </a:cubicBezTo>
                      <a:lnTo>
                        <a:pt x="7144" y="219961"/>
                      </a:lnTo>
                      <a:cubicBezTo>
                        <a:pt x="11373" y="222104"/>
                        <a:pt x="26022" y="228200"/>
                        <a:pt x="44253" y="228200"/>
                      </a:cubicBezTo>
                      <a:cubicBezTo>
                        <a:pt x="72828" y="228200"/>
                        <a:pt x="77133" y="209255"/>
                        <a:pt x="77133" y="182442"/>
                      </a:cubicBezTo>
                      <a:lnTo>
                        <a:pt x="77133" y="7144"/>
                      </a:lnTo>
                      <a:lnTo>
                        <a:pt x="123930" y="7144"/>
                      </a:lnTo>
                      <a:lnTo>
                        <a:pt x="123930" y="178146"/>
                      </a:lnTo>
                      <a:close/>
                    </a:path>
                  </a:pathLst>
                </a:custGeom>
                <a:solidFill>
                  <a:schemeClr val="bg1"/>
                </a:solidFill>
                <a:ln w="9525" cap="flat">
                  <a:noFill/>
                  <a:prstDash val="solid"/>
                  <a:miter/>
                </a:ln>
              </p:spPr>
              <p:txBody>
                <a:bodyPr rtlCol="0" anchor="ctr"/>
                <a:lstStyle/>
                <a:p>
                  <a:endParaRPr lang="ja-JP" altLang="en-US"/>
                </a:p>
              </p:txBody>
            </p:sp>
            <p:sp>
              <p:nvSpPr>
                <p:cNvPr id="1069" name="フリーフォーム: 図形 7"/>
                <p:cNvSpPr/>
                <p:nvPr/>
              </p:nvSpPr>
              <p:spPr>
                <a:xfrm>
                  <a:off x="567591" y="5565644"/>
                  <a:ext cx="152400" cy="190500"/>
                </a:xfrm>
                <a:custGeom>
                  <a:avLst/>
                  <a:gdLst>
                    <a:gd name="connsiteX0" fmla="*/ 103641 w 152400"/>
                    <a:gd name="connsiteY0" fmla="*/ 158667 h 190500"/>
                    <a:gd name="connsiteX1" fmla="*/ 102918 w 152400"/>
                    <a:gd name="connsiteY1" fmla="*/ 158667 h 190500"/>
                    <a:gd name="connsiteX2" fmla="*/ 54693 w 152400"/>
                    <a:gd name="connsiteY2" fmla="*/ 185080 h 190500"/>
                    <a:gd name="connsiteX3" fmla="*/ 7144 w 152400"/>
                    <a:gd name="connsiteY3" fmla="*/ 142608 h 190500"/>
                    <a:gd name="connsiteX4" fmla="*/ 103641 w 152400"/>
                    <a:gd name="connsiteY4" fmla="*/ 85735 h 190500"/>
                    <a:gd name="connsiteX5" fmla="*/ 103641 w 152400"/>
                    <a:gd name="connsiteY5" fmla="*/ 57188 h 190500"/>
                    <a:gd name="connsiteX6" fmla="*/ 82210 w 152400"/>
                    <a:gd name="connsiteY6" fmla="*/ 23946 h 190500"/>
                    <a:gd name="connsiteX7" fmla="*/ 59331 w 152400"/>
                    <a:gd name="connsiteY7" fmla="*/ 61817 h 190500"/>
                    <a:gd name="connsiteX8" fmla="*/ 13211 w 152400"/>
                    <a:gd name="connsiteY8" fmla="*/ 61817 h 190500"/>
                    <a:gd name="connsiteX9" fmla="*/ 82544 w 152400"/>
                    <a:gd name="connsiteY9" fmla="*/ 7144 h 190500"/>
                    <a:gd name="connsiteX10" fmla="*/ 146856 w 152400"/>
                    <a:gd name="connsiteY10" fmla="*/ 66104 h 190500"/>
                    <a:gd name="connsiteX11" fmla="*/ 146856 w 152400"/>
                    <a:gd name="connsiteY11" fmla="*/ 181165 h 190500"/>
                    <a:gd name="connsiteX12" fmla="*/ 103641 w 152400"/>
                    <a:gd name="connsiteY12" fmla="*/ 181165 h 190500"/>
                    <a:gd name="connsiteX13" fmla="*/ 103641 w 152400"/>
                    <a:gd name="connsiteY13" fmla="*/ 158667 h 190500"/>
                    <a:gd name="connsiteX14" fmla="*/ 103641 w 152400"/>
                    <a:gd name="connsiteY14" fmla="*/ 102565 h 190500"/>
                    <a:gd name="connsiteX15" fmla="*/ 51825 w 152400"/>
                    <a:gd name="connsiteY15" fmla="*/ 136522 h 190500"/>
                    <a:gd name="connsiteX16" fmla="*/ 71485 w 152400"/>
                    <a:gd name="connsiteY16" fmla="*/ 160458 h 190500"/>
                    <a:gd name="connsiteX17" fmla="*/ 103641 w 152400"/>
                    <a:gd name="connsiteY17" fmla="*/ 115053 h 190500"/>
                    <a:gd name="connsiteX18" fmla="*/ 103641 w 152400"/>
                    <a:gd name="connsiteY18" fmla="*/ 1025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90500">
                      <a:moveTo>
                        <a:pt x="103641" y="158667"/>
                      </a:moveTo>
                      <a:lnTo>
                        <a:pt x="102918" y="158667"/>
                      </a:lnTo>
                      <a:cubicBezTo>
                        <a:pt x="98308" y="166878"/>
                        <a:pt x="81505" y="185080"/>
                        <a:pt x="54693" y="185080"/>
                      </a:cubicBezTo>
                      <a:cubicBezTo>
                        <a:pt x="27861" y="185080"/>
                        <a:pt x="7144" y="167230"/>
                        <a:pt x="7144" y="142608"/>
                      </a:cubicBezTo>
                      <a:cubicBezTo>
                        <a:pt x="7144" y="90049"/>
                        <a:pt x="79324" y="86878"/>
                        <a:pt x="103641" y="85735"/>
                      </a:cubicBezTo>
                      <a:lnTo>
                        <a:pt x="103641" y="57188"/>
                      </a:lnTo>
                      <a:cubicBezTo>
                        <a:pt x="103641" y="32166"/>
                        <a:pt x="96155" y="23946"/>
                        <a:pt x="82210" y="23946"/>
                      </a:cubicBezTo>
                      <a:cubicBezTo>
                        <a:pt x="59684" y="23946"/>
                        <a:pt x="60046" y="50740"/>
                        <a:pt x="59331" y="61817"/>
                      </a:cubicBezTo>
                      <a:lnTo>
                        <a:pt x="13211" y="61817"/>
                      </a:lnTo>
                      <a:cubicBezTo>
                        <a:pt x="13211" y="26118"/>
                        <a:pt x="37167" y="7144"/>
                        <a:pt x="82544" y="7144"/>
                      </a:cubicBezTo>
                      <a:cubicBezTo>
                        <a:pt x="136141" y="7144"/>
                        <a:pt x="146856" y="32176"/>
                        <a:pt x="146856" y="66104"/>
                      </a:cubicBezTo>
                      <a:lnTo>
                        <a:pt x="146856" y="181165"/>
                      </a:lnTo>
                      <a:lnTo>
                        <a:pt x="103641" y="181165"/>
                      </a:lnTo>
                      <a:lnTo>
                        <a:pt x="103641" y="158667"/>
                      </a:lnTo>
                      <a:close/>
                      <a:moveTo>
                        <a:pt x="103641" y="102565"/>
                      </a:moveTo>
                      <a:cubicBezTo>
                        <a:pt x="88963" y="103984"/>
                        <a:pt x="51825" y="108652"/>
                        <a:pt x="51825" y="136522"/>
                      </a:cubicBezTo>
                      <a:cubicBezTo>
                        <a:pt x="51825" y="150819"/>
                        <a:pt x="58988" y="160458"/>
                        <a:pt x="71485" y="160458"/>
                      </a:cubicBezTo>
                      <a:cubicBezTo>
                        <a:pt x="91840" y="160458"/>
                        <a:pt x="103641" y="138989"/>
                        <a:pt x="103641" y="115053"/>
                      </a:cubicBezTo>
                      <a:lnTo>
                        <a:pt x="103641" y="102565"/>
                      </a:lnTo>
                      <a:close/>
                    </a:path>
                  </a:pathLst>
                </a:custGeom>
                <a:solidFill>
                  <a:schemeClr val="bg1"/>
                </a:solidFill>
                <a:ln w="9525" cap="flat">
                  <a:noFill/>
                  <a:prstDash val="solid"/>
                  <a:miter/>
                </a:ln>
              </p:spPr>
              <p:txBody>
                <a:bodyPr rtlCol="0" anchor="ctr"/>
                <a:lstStyle/>
                <a:p>
                  <a:endParaRPr lang="ja-JP" altLang="en-US"/>
                </a:p>
              </p:txBody>
            </p:sp>
            <p:sp>
              <p:nvSpPr>
                <p:cNvPr id="1070" name="フリーフォーム: 図形 22"/>
                <p:cNvSpPr/>
                <p:nvPr/>
              </p:nvSpPr>
              <p:spPr>
                <a:xfrm>
                  <a:off x="751271" y="5565635"/>
                  <a:ext cx="152400" cy="257175"/>
                </a:xfrm>
                <a:custGeom>
                  <a:avLst/>
                  <a:gdLst>
                    <a:gd name="connsiteX0" fmla="*/ 7144 w 152400"/>
                    <a:gd name="connsiteY0" fmla="*/ 11116 h 257175"/>
                    <a:gd name="connsiteX1" fmla="*/ 50387 w 152400"/>
                    <a:gd name="connsiteY1" fmla="*/ 11116 h 257175"/>
                    <a:gd name="connsiteX2" fmla="*/ 50387 w 152400"/>
                    <a:gd name="connsiteY2" fmla="*/ 39719 h 257175"/>
                    <a:gd name="connsiteX3" fmla="*/ 51102 w 152400"/>
                    <a:gd name="connsiteY3" fmla="*/ 39719 h 257175"/>
                    <a:gd name="connsiteX4" fmla="*/ 97203 w 152400"/>
                    <a:gd name="connsiteY4" fmla="*/ 7144 h 257175"/>
                    <a:gd name="connsiteX5" fmla="*/ 154010 w 152400"/>
                    <a:gd name="connsiteY5" fmla="*/ 95040 h 257175"/>
                    <a:gd name="connsiteX6" fmla="*/ 91840 w 152400"/>
                    <a:gd name="connsiteY6" fmla="*/ 185099 h 257175"/>
                    <a:gd name="connsiteX7" fmla="*/ 51111 w 152400"/>
                    <a:gd name="connsiteY7" fmla="*/ 158286 h 257175"/>
                    <a:gd name="connsiteX8" fmla="*/ 50397 w 152400"/>
                    <a:gd name="connsiteY8" fmla="*/ 158286 h 257175"/>
                    <a:gd name="connsiteX9" fmla="*/ 50397 w 152400"/>
                    <a:gd name="connsiteY9" fmla="*/ 257670 h 257175"/>
                    <a:gd name="connsiteX10" fmla="*/ 7153 w 152400"/>
                    <a:gd name="connsiteY10" fmla="*/ 257670 h 257175"/>
                    <a:gd name="connsiteX11" fmla="*/ 7153 w 152400"/>
                    <a:gd name="connsiteY11" fmla="*/ 11116 h 257175"/>
                    <a:gd name="connsiteX12" fmla="*/ 78972 w 152400"/>
                    <a:gd name="connsiteY12" fmla="*/ 160468 h 257175"/>
                    <a:gd name="connsiteX13" fmla="*/ 107213 w 152400"/>
                    <a:gd name="connsiteY13" fmla="*/ 95040 h 257175"/>
                    <a:gd name="connsiteX14" fmla="*/ 77895 w 152400"/>
                    <a:gd name="connsiteY14" fmla="*/ 33957 h 257175"/>
                    <a:gd name="connsiteX15" fmla="*/ 52502 w 152400"/>
                    <a:gd name="connsiteY15" fmla="*/ 95040 h 257175"/>
                    <a:gd name="connsiteX16" fmla="*/ 78972 w 152400"/>
                    <a:gd name="connsiteY16" fmla="*/ 16046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00" h="257175">
                      <a:moveTo>
                        <a:pt x="7144" y="11116"/>
                      </a:moveTo>
                      <a:lnTo>
                        <a:pt x="50387" y="11116"/>
                      </a:lnTo>
                      <a:lnTo>
                        <a:pt x="50387" y="39719"/>
                      </a:lnTo>
                      <a:lnTo>
                        <a:pt x="51102" y="39719"/>
                      </a:lnTo>
                      <a:cubicBezTo>
                        <a:pt x="56464" y="28918"/>
                        <a:pt x="69647" y="7144"/>
                        <a:pt x="97203" y="7144"/>
                      </a:cubicBezTo>
                      <a:cubicBezTo>
                        <a:pt x="139713" y="7144"/>
                        <a:pt x="154010" y="47187"/>
                        <a:pt x="154010" y="95040"/>
                      </a:cubicBezTo>
                      <a:cubicBezTo>
                        <a:pt x="154010" y="152267"/>
                        <a:pt x="135807" y="185099"/>
                        <a:pt x="91840" y="185099"/>
                      </a:cubicBezTo>
                      <a:cubicBezTo>
                        <a:pt x="65046" y="185099"/>
                        <a:pt x="56093" y="168335"/>
                        <a:pt x="51111" y="158286"/>
                      </a:cubicBezTo>
                      <a:lnTo>
                        <a:pt x="50397" y="158286"/>
                      </a:lnTo>
                      <a:lnTo>
                        <a:pt x="50397" y="257670"/>
                      </a:lnTo>
                      <a:lnTo>
                        <a:pt x="7153" y="257670"/>
                      </a:lnTo>
                      <a:lnTo>
                        <a:pt x="7153" y="11116"/>
                      </a:lnTo>
                      <a:close/>
                      <a:moveTo>
                        <a:pt x="78972" y="160468"/>
                      </a:moveTo>
                      <a:cubicBezTo>
                        <a:pt x="103956" y="160468"/>
                        <a:pt x="107213" y="121510"/>
                        <a:pt x="107213" y="95040"/>
                      </a:cubicBezTo>
                      <a:cubicBezTo>
                        <a:pt x="107213" y="72190"/>
                        <a:pt x="103956" y="33957"/>
                        <a:pt x="77895" y="33957"/>
                      </a:cubicBezTo>
                      <a:cubicBezTo>
                        <a:pt x="53607" y="33957"/>
                        <a:pt x="52502" y="72190"/>
                        <a:pt x="52502" y="95040"/>
                      </a:cubicBezTo>
                      <a:cubicBezTo>
                        <a:pt x="52502" y="121510"/>
                        <a:pt x="53607" y="160468"/>
                        <a:pt x="78972" y="160468"/>
                      </a:cubicBezTo>
                      <a:close/>
                    </a:path>
                  </a:pathLst>
                </a:custGeom>
                <a:solidFill>
                  <a:schemeClr val="bg1"/>
                </a:solidFill>
                <a:ln w="9525" cap="flat">
                  <a:noFill/>
                  <a:prstDash val="solid"/>
                  <a:miter/>
                </a:ln>
              </p:spPr>
              <p:txBody>
                <a:bodyPr rtlCol="0" anchor="ctr"/>
                <a:lstStyle/>
                <a:p>
                  <a:endParaRPr lang="ja-JP" altLang="en-US"/>
                </a:p>
              </p:txBody>
            </p:sp>
            <p:sp>
              <p:nvSpPr>
                <p:cNvPr id="1071" name="フリーフォーム: 図形 23"/>
                <p:cNvSpPr/>
                <p:nvPr/>
              </p:nvSpPr>
              <p:spPr>
                <a:xfrm>
                  <a:off x="924597" y="5565644"/>
                  <a:ext cx="152400" cy="190500"/>
                </a:xfrm>
                <a:custGeom>
                  <a:avLst/>
                  <a:gdLst>
                    <a:gd name="connsiteX0" fmla="*/ 103603 w 152400"/>
                    <a:gd name="connsiteY0" fmla="*/ 158667 h 190500"/>
                    <a:gd name="connsiteX1" fmla="*/ 102889 w 152400"/>
                    <a:gd name="connsiteY1" fmla="*/ 158667 h 190500"/>
                    <a:gd name="connsiteX2" fmla="*/ 54655 w 152400"/>
                    <a:gd name="connsiteY2" fmla="*/ 185080 h 190500"/>
                    <a:gd name="connsiteX3" fmla="*/ 7144 w 152400"/>
                    <a:gd name="connsiteY3" fmla="*/ 142608 h 190500"/>
                    <a:gd name="connsiteX4" fmla="*/ 103613 w 152400"/>
                    <a:gd name="connsiteY4" fmla="*/ 85735 h 190500"/>
                    <a:gd name="connsiteX5" fmla="*/ 103613 w 152400"/>
                    <a:gd name="connsiteY5" fmla="*/ 57188 h 190500"/>
                    <a:gd name="connsiteX6" fmla="*/ 82182 w 152400"/>
                    <a:gd name="connsiteY6" fmla="*/ 23946 h 190500"/>
                    <a:gd name="connsiteX7" fmla="*/ 59303 w 152400"/>
                    <a:gd name="connsiteY7" fmla="*/ 61817 h 190500"/>
                    <a:gd name="connsiteX8" fmla="*/ 13221 w 152400"/>
                    <a:gd name="connsiteY8" fmla="*/ 61817 h 190500"/>
                    <a:gd name="connsiteX9" fmla="*/ 82505 w 152400"/>
                    <a:gd name="connsiteY9" fmla="*/ 7144 h 190500"/>
                    <a:gd name="connsiteX10" fmla="*/ 146856 w 152400"/>
                    <a:gd name="connsiteY10" fmla="*/ 66104 h 190500"/>
                    <a:gd name="connsiteX11" fmla="*/ 146856 w 152400"/>
                    <a:gd name="connsiteY11" fmla="*/ 181165 h 190500"/>
                    <a:gd name="connsiteX12" fmla="*/ 103613 w 152400"/>
                    <a:gd name="connsiteY12" fmla="*/ 181165 h 190500"/>
                    <a:gd name="connsiteX13" fmla="*/ 103613 w 152400"/>
                    <a:gd name="connsiteY13" fmla="*/ 158667 h 190500"/>
                    <a:gd name="connsiteX14" fmla="*/ 103603 w 152400"/>
                    <a:gd name="connsiteY14" fmla="*/ 102565 h 190500"/>
                    <a:gd name="connsiteX15" fmla="*/ 51788 w 152400"/>
                    <a:gd name="connsiteY15" fmla="*/ 136522 h 190500"/>
                    <a:gd name="connsiteX16" fmla="*/ 71466 w 152400"/>
                    <a:gd name="connsiteY16" fmla="*/ 160458 h 190500"/>
                    <a:gd name="connsiteX17" fmla="*/ 103603 w 152400"/>
                    <a:gd name="connsiteY17" fmla="*/ 115053 h 190500"/>
                    <a:gd name="connsiteX18" fmla="*/ 103603 w 152400"/>
                    <a:gd name="connsiteY18" fmla="*/ 1025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90500">
                      <a:moveTo>
                        <a:pt x="103603" y="158667"/>
                      </a:moveTo>
                      <a:lnTo>
                        <a:pt x="102889" y="158667"/>
                      </a:lnTo>
                      <a:cubicBezTo>
                        <a:pt x="98222" y="166878"/>
                        <a:pt x="81458" y="185080"/>
                        <a:pt x="54655" y="185080"/>
                      </a:cubicBezTo>
                      <a:cubicBezTo>
                        <a:pt x="27851" y="185080"/>
                        <a:pt x="7144" y="167230"/>
                        <a:pt x="7144" y="142608"/>
                      </a:cubicBezTo>
                      <a:cubicBezTo>
                        <a:pt x="7144" y="90049"/>
                        <a:pt x="79305" y="86878"/>
                        <a:pt x="103613" y="85735"/>
                      </a:cubicBezTo>
                      <a:lnTo>
                        <a:pt x="103613" y="57188"/>
                      </a:lnTo>
                      <a:cubicBezTo>
                        <a:pt x="103613" y="32166"/>
                        <a:pt x="96126" y="23946"/>
                        <a:pt x="82182" y="23946"/>
                      </a:cubicBezTo>
                      <a:cubicBezTo>
                        <a:pt x="59665" y="23946"/>
                        <a:pt x="60017" y="50740"/>
                        <a:pt x="59303" y="61817"/>
                      </a:cubicBezTo>
                      <a:lnTo>
                        <a:pt x="13221" y="61817"/>
                      </a:lnTo>
                      <a:cubicBezTo>
                        <a:pt x="13221" y="26118"/>
                        <a:pt x="37147" y="7144"/>
                        <a:pt x="82505" y="7144"/>
                      </a:cubicBezTo>
                      <a:cubicBezTo>
                        <a:pt x="136150" y="7144"/>
                        <a:pt x="146856" y="32176"/>
                        <a:pt x="146856" y="66104"/>
                      </a:cubicBezTo>
                      <a:lnTo>
                        <a:pt x="146856" y="181165"/>
                      </a:lnTo>
                      <a:lnTo>
                        <a:pt x="103613" y="181165"/>
                      </a:lnTo>
                      <a:lnTo>
                        <a:pt x="103613" y="158667"/>
                      </a:lnTo>
                      <a:close/>
                      <a:moveTo>
                        <a:pt x="103603" y="102565"/>
                      </a:moveTo>
                      <a:cubicBezTo>
                        <a:pt x="88963" y="103984"/>
                        <a:pt x="51788" y="108652"/>
                        <a:pt x="51788" y="136522"/>
                      </a:cubicBezTo>
                      <a:cubicBezTo>
                        <a:pt x="51788" y="150819"/>
                        <a:pt x="58941" y="160458"/>
                        <a:pt x="71466" y="160458"/>
                      </a:cubicBezTo>
                      <a:cubicBezTo>
                        <a:pt x="91821" y="160458"/>
                        <a:pt x="103603" y="138989"/>
                        <a:pt x="103603" y="115053"/>
                      </a:cubicBezTo>
                      <a:lnTo>
                        <a:pt x="103603" y="102565"/>
                      </a:lnTo>
                      <a:close/>
                    </a:path>
                  </a:pathLst>
                </a:custGeom>
                <a:solidFill>
                  <a:schemeClr val="bg1"/>
                </a:solidFill>
                <a:ln w="9525" cap="flat">
                  <a:noFill/>
                  <a:prstDash val="solid"/>
                  <a:miter/>
                </a:ln>
              </p:spPr>
              <p:txBody>
                <a:bodyPr rtlCol="0" anchor="ctr"/>
                <a:lstStyle/>
                <a:p>
                  <a:endParaRPr lang="ja-JP" altLang="en-US"/>
                </a:p>
              </p:txBody>
            </p:sp>
            <p:sp>
              <p:nvSpPr>
                <p:cNvPr id="1072" name="フリーフォーム: 図形 24"/>
                <p:cNvSpPr/>
                <p:nvPr/>
              </p:nvSpPr>
              <p:spPr>
                <a:xfrm>
                  <a:off x="1108249" y="5565635"/>
                  <a:ext cx="152400" cy="180975"/>
                </a:xfrm>
                <a:custGeom>
                  <a:avLst/>
                  <a:gdLst>
                    <a:gd name="connsiteX0" fmla="*/ 7144 w 152400"/>
                    <a:gd name="connsiteY0" fmla="*/ 11116 h 180975"/>
                    <a:gd name="connsiteX1" fmla="*/ 50387 w 152400"/>
                    <a:gd name="connsiteY1" fmla="*/ 11116 h 180975"/>
                    <a:gd name="connsiteX2" fmla="*/ 50387 w 152400"/>
                    <a:gd name="connsiteY2" fmla="*/ 49330 h 180975"/>
                    <a:gd name="connsiteX3" fmla="*/ 51092 w 152400"/>
                    <a:gd name="connsiteY3" fmla="*/ 49330 h 180975"/>
                    <a:gd name="connsiteX4" fmla="*/ 106842 w 152400"/>
                    <a:gd name="connsiteY4" fmla="*/ 7144 h 180975"/>
                    <a:gd name="connsiteX5" fmla="*/ 149742 w 152400"/>
                    <a:gd name="connsiteY5" fmla="*/ 63951 h 180975"/>
                    <a:gd name="connsiteX6" fmla="*/ 149742 w 152400"/>
                    <a:gd name="connsiteY6" fmla="*/ 181175 h 180975"/>
                    <a:gd name="connsiteX7" fmla="*/ 106470 w 152400"/>
                    <a:gd name="connsiteY7" fmla="*/ 181175 h 180975"/>
                    <a:gd name="connsiteX8" fmla="*/ 106470 w 152400"/>
                    <a:gd name="connsiteY8" fmla="*/ 75047 h 180975"/>
                    <a:gd name="connsiteX9" fmla="*/ 87925 w 152400"/>
                    <a:gd name="connsiteY9" fmla="*/ 38214 h 180975"/>
                    <a:gd name="connsiteX10" fmla="*/ 50397 w 152400"/>
                    <a:gd name="connsiteY10" fmla="*/ 114376 h 180975"/>
                    <a:gd name="connsiteX11" fmla="*/ 50397 w 152400"/>
                    <a:gd name="connsiteY11" fmla="*/ 181175 h 180975"/>
                    <a:gd name="connsiteX12" fmla="*/ 7153 w 152400"/>
                    <a:gd name="connsiteY12" fmla="*/ 181175 h 180975"/>
                    <a:gd name="connsiteX13" fmla="*/ 7153 w 152400"/>
                    <a:gd name="connsiteY13"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7144" y="11116"/>
                      </a:moveTo>
                      <a:lnTo>
                        <a:pt x="50387" y="11116"/>
                      </a:lnTo>
                      <a:lnTo>
                        <a:pt x="50387" y="49330"/>
                      </a:lnTo>
                      <a:lnTo>
                        <a:pt x="51092" y="49330"/>
                      </a:lnTo>
                      <a:cubicBezTo>
                        <a:pt x="57893" y="35433"/>
                        <a:pt x="71847" y="7144"/>
                        <a:pt x="106842" y="7144"/>
                      </a:cubicBezTo>
                      <a:cubicBezTo>
                        <a:pt x="138655" y="7144"/>
                        <a:pt x="149742" y="27889"/>
                        <a:pt x="149742" y="63951"/>
                      </a:cubicBezTo>
                      <a:lnTo>
                        <a:pt x="149742" y="181175"/>
                      </a:lnTo>
                      <a:lnTo>
                        <a:pt x="106470" y="181175"/>
                      </a:lnTo>
                      <a:lnTo>
                        <a:pt x="106470" y="75047"/>
                      </a:lnTo>
                      <a:cubicBezTo>
                        <a:pt x="106470" y="53940"/>
                        <a:pt x="104708" y="38214"/>
                        <a:pt x="87925" y="38214"/>
                      </a:cubicBezTo>
                      <a:cubicBezTo>
                        <a:pt x="57560" y="38214"/>
                        <a:pt x="50397" y="87182"/>
                        <a:pt x="50397" y="114376"/>
                      </a:cubicBezTo>
                      <a:lnTo>
                        <a:pt x="50397" y="181175"/>
                      </a:lnTo>
                      <a:lnTo>
                        <a:pt x="7153" y="181175"/>
                      </a:lnTo>
                      <a:lnTo>
                        <a:pt x="7153" y="11116"/>
                      </a:lnTo>
                      <a:close/>
                    </a:path>
                  </a:pathLst>
                </a:custGeom>
                <a:solidFill>
                  <a:schemeClr val="bg1"/>
                </a:solidFill>
                <a:ln w="9525" cap="flat">
                  <a:noFill/>
                  <a:prstDash val="solid"/>
                  <a:miter/>
                </a:ln>
              </p:spPr>
              <p:txBody>
                <a:bodyPr rtlCol="0" anchor="ctr"/>
                <a:lstStyle/>
                <a:p>
                  <a:endParaRPr lang="ja-JP" altLang="en-US"/>
                </a:p>
              </p:txBody>
            </p:sp>
            <p:sp>
              <p:nvSpPr>
                <p:cNvPr id="1073" name="フリーフォーム: 図形 25"/>
                <p:cNvSpPr/>
                <p:nvPr/>
              </p:nvSpPr>
              <p:spPr>
                <a:xfrm>
                  <a:off x="1348364" y="5492921"/>
                  <a:ext cx="171450" cy="257175"/>
                </a:xfrm>
                <a:custGeom>
                  <a:avLst/>
                  <a:gdLst>
                    <a:gd name="connsiteX0" fmla="*/ 66475 w 171450"/>
                    <a:gd name="connsiteY0" fmla="*/ 35585 h 257175"/>
                    <a:gd name="connsiteX1" fmla="*/ 7144 w 171450"/>
                    <a:gd name="connsiteY1" fmla="*/ 35585 h 257175"/>
                    <a:gd name="connsiteX2" fmla="*/ 7144 w 171450"/>
                    <a:gd name="connsiteY2" fmla="*/ 7144 h 257175"/>
                    <a:gd name="connsiteX3" fmla="*/ 172603 w 171450"/>
                    <a:gd name="connsiteY3" fmla="*/ 7144 h 257175"/>
                    <a:gd name="connsiteX4" fmla="*/ 172603 w 171450"/>
                    <a:gd name="connsiteY4" fmla="*/ 35585 h 257175"/>
                    <a:gd name="connsiteX5" fmla="*/ 113271 w 171450"/>
                    <a:gd name="connsiteY5" fmla="*/ 35585 h 257175"/>
                    <a:gd name="connsiteX6" fmla="*/ 113271 w 171450"/>
                    <a:gd name="connsiteY6" fmla="*/ 253889 h 257175"/>
                    <a:gd name="connsiteX7" fmla="*/ 66465 w 171450"/>
                    <a:gd name="connsiteY7" fmla="*/ 253889 h 257175"/>
                    <a:gd name="connsiteX8" fmla="*/ 66465 w 171450"/>
                    <a:gd name="connsiteY8" fmla="*/ 3558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57175">
                      <a:moveTo>
                        <a:pt x="66475" y="35585"/>
                      </a:moveTo>
                      <a:lnTo>
                        <a:pt x="7144" y="35585"/>
                      </a:lnTo>
                      <a:lnTo>
                        <a:pt x="7144" y="7144"/>
                      </a:lnTo>
                      <a:lnTo>
                        <a:pt x="172603" y="7144"/>
                      </a:lnTo>
                      <a:lnTo>
                        <a:pt x="172603" y="35585"/>
                      </a:lnTo>
                      <a:lnTo>
                        <a:pt x="113271" y="35585"/>
                      </a:lnTo>
                      <a:lnTo>
                        <a:pt x="113271" y="253889"/>
                      </a:lnTo>
                      <a:lnTo>
                        <a:pt x="66465" y="253889"/>
                      </a:lnTo>
                      <a:lnTo>
                        <a:pt x="66465" y="35585"/>
                      </a:lnTo>
                      <a:close/>
                    </a:path>
                  </a:pathLst>
                </a:custGeom>
                <a:solidFill>
                  <a:schemeClr val="bg1"/>
                </a:solidFill>
                <a:ln w="9525" cap="flat">
                  <a:noFill/>
                  <a:prstDash val="solid"/>
                  <a:miter/>
                </a:ln>
              </p:spPr>
              <p:txBody>
                <a:bodyPr rtlCol="0" anchor="ctr"/>
                <a:lstStyle/>
                <a:p>
                  <a:endParaRPr lang="ja-JP" altLang="en-US"/>
                </a:p>
              </p:txBody>
            </p:sp>
            <p:sp>
              <p:nvSpPr>
                <p:cNvPr id="1074" name="フリーフォーム: 図形 26"/>
                <p:cNvSpPr/>
                <p:nvPr/>
              </p:nvSpPr>
              <p:spPr>
                <a:xfrm>
                  <a:off x="1517833" y="5565635"/>
                  <a:ext cx="161925" cy="190500"/>
                </a:xfrm>
                <a:custGeom>
                  <a:avLst/>
                  <a:gdLst>
                    <a:gd name="connsiteX0" fmla="*/ 7144 w 161925"/>
                    <a:gd name="connsiteY0" fmla="*/ 96155 h 190500"/>
                    <a:gd name="connsiteX1" fmla="*/ 85753 w 161925"/>
                    <a:gd name="connsiteY1" fmla="*/ 7144 h 190500"/>
                    <a:gd name="connsiteX2" fmla="*/ 164020 w 161925"/>
                    <a:gd name="connsiteY2" fmla="*/ 96155 h 190500"/>
                    <a:gd name="connsiteX3" fmla="*/ 85753 w 161925"/>
                    <a:gd name="connsiteY3" fmla="*/ 185090 h 190500"/>
                    <a:gd name="connsiteX4" fmla="*/ 7144 w 161925"/>
                    <a:gd name="connsiteY4" fmla="*/ 96155 h 190500"/>
                    <a:gd name="connsiteX5" fmla="*/ 85753 w 161925"/>
                    <a:gd name="connsiteY5" fmla="*/ 168326 h 190500"/>
                    <a:gd name="connsiteX6" fmla="*/ 117205 w 161925"/>
                    <a:gd name="connsiteY6" fmla="*/ 96155 h 190500"/>
                    <a:gd name="connsiteX7" fmla="*/ 85753 w 161925"/>
                    <a:gd name="connsiteY7" fmla="*/ 23955 h 190500"/>
                    <a:gd name="connsiteX8" fmla="*/ 53940 w 161925"/>
                    <a:gd name="connsiteY8" fmla="*/ 96155 h 190500"/>
                    <a:gd name="connsiteX9" fmla="*/ 85753 w 161925"/>
                    <a:gd name="connsiteY9" fmla="*/ 16832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90500">
                      <a:moveTo>
                        <a:pt x="7144" y="96155"/>
                      </a:moveTo>
                      <a:cubicBezTo>
                        <a:pt x="7144" y="31451"/>
                        <a:pt x="37547" y="7144"/>
                        <a:pt x="85753" y="7144"/>
                      </a:cubicBezTo>
                      <a:cubicBezTo>
                        <a:pt x="133988" y="7144"/>
                        <a:pt x="164020" y="31451"/>
                        <a:pt x="164020" y="96155"/>
                      </a:cubicBezTo>
                      <a:cubicBezTo>
                        <a:pt x="164020" y="160810"/>
                        <a:pt x="133998" y="185090"/>
                        <a:pt x="85753" y="185090"/>
                      </a:cubicBezTo>
                      <a:cubicBezTo>
                        <a:pt x="37547" y="185090"/>
                        <a:pt x="7144" y="160810"/>
                        <a:pt x="7144" y="96155"/>
                      </a:cubicBezTo>
                      <a:close/>
                      <a:moveTo>
                        <a:pt x="85753" y="168326"/>
                      </a:moveTo>
                      <a:cubicBezTo>
                        <a:pt x="115424" y="168326"/>
                        <a:pt x="117205" y="133674"/>
                        <a:pt x="117205" y="96155"/>
                      </a:cubicBezTo>
                      <a:cubicBezTo>
                        <a:pt x="117205" y="58598"/>
                        <a:pt x="115424" y="23955"/>
                        <a:pt x="85753" y="23955"/>
                      </a:cubicBezTo>
                      <a:cubicBezTo>
                        <a:pt x="56454" y="23955"/>
                        <a:pt x="53940" y="58598"/>
                        <a:pt x="53940" y="96155"/>
                      </a:cubicBezTo>
                      <a:cubicBezTo>
                        <a:pt x="53940" y="133674"/>
                        <a:pt x="56445" y="168326"/>
                        <a:pt x="85753" y="168326"/>
                      </a:cubicBezTo>
                      <a:close/>
                    </a:path>
                  </a:pathLst>
                </a:custGeom>
                <a:solidFill>
                  <a:schemeClr val="bg1"/>
                </a:solidFill>
                <a:ln w="9525" cap="flat">
                  <a:noFill/>
                  <a:prstDash val="solid"/>
                  <a:miter/>
                </a:ln>
              </p:spPr>
              <p:txBody>
                <a:bodyPr rtlCol="0" anchor="ctr"/>
                <a:lstStyle/>
                <a:p>
                  <a:endParaRPr lang="ja-JP" altLang="en-US"/>
                </a:p>
              </p:txBody>
            </p:sp>
            <p:sp>
              <p:nvSpPr>
                <p:cNvPr id="1075" name="フリーフォーム: 図形 27"/>
                <p:cNvSpPr/>
                <p:nvPr/>
              </p:nvSpPr>
              <p:spPr>
                <a:xfrm>
                  <a:off x="1708276" y="5569606"/>
                  <a:ext cx="152400" cy="180975"/>
                </a:xfrm>
                <a:custGeom>
                  <a:avLst/>
                  <a:gdLst>
                    <a:gd name="connsiteX0" fmla="*/ 106509 w 152400"/>
                    <a:gd name="connsiteY0" fmla="*/ 138989 h 180975"/>
                    <a:gd name="connsiteX1" fmla="*/ 105775 w 152400"/>
                    <a:gd name="connsiteY1" fmla="*/ 138989 h 180975"/>
                    <a:gd name="connsiteX2" fmla="*/ 53607 w 152400"/>
                    <a:gd name="connsiteY2" fmla="*/ 181118 h 180975"/>
                    <a:gd name="connsiteX3" fmla="*/ 7144 w 152400"/>
                    <a:gd name="connsiteY3" fmla="*/ 124301 h 180975"/>
                    <a:gd name="connsiteX4" fmla="*/ 7144 w 152400"/>
                    <a:gd name="connsiteY4" fmla="*/ 7144 h 180975"/>
                    <a:gd name="connsiteX5" fmla="*/ 50406 w 152400"/>
                    <a:gd name="connsiteY5" fmla="*/ 7144 h 180975"/>
                    <a:gd name="connsiteX6" fmla="*/ 50406 w 152400"/>
                    <a:gd name="connsiteY6" fmla="*/ 113252 h 180975"/>
                    <a:gd name="connsiteX7" fmla="*/ 72180 w 152400"/>
                    <a:gd name="connsiteY7" fmla="*/ 150038 h 180975"/>
                    <a:gd name="connsiteX8" fmla="*/ 106509 w 152400"/>
                    <a:gd name="connsiteY8" fmla="*/ 73933 h 180975"/>
                    <a:gd name="connsiteX9" fmla="*/ 106509 w 152400"/>
                    <a:gd name="connsiteY9" fmla="*/ 7144 h 180975"/>
                    <a:gd name="connsiteX10" fmla="*/ 149733 w 152400"/>
                    <a:gd name="connsiteY10" fmla="*/ 7144 h 180975"/>
                    <a:gd name="connsiteX11" fmla="*/ 149733 w 152400"/>
                    <a:gd name="connsiteY11" fmla="*/ 177203 h 180975"/>
                    <a:gd name="connsiteX12" fmla="*/ 106509 w 152400"/>
                    <a:gd name="connsiteY12" fmla="*/ 177203 h 180975"/>
                    <a:gd name="connsiteX13" fmla="*/ 106509 w 152400"/>
                    <a:gd name="connsiteY13" fmla="*/ 13898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106509" y="138989"/>
                      </a:moveTo>
                      <a:lnTo>
                        <a:pt x="105775" y="138989"/>
                      </a:lnTo>
                      <a:cubicBezTo>
                        <a:pt x="99336" y="152876"/>
                        <a:pt x="86125" y="181118"/>
                        <a:pt x="53607" y="181118"/>
                      </a:cubicBezTo>
                      <a:cubicBezTo>
                        <a:pt x="20746" y="181118"/>
                        <a:pt x="7144" y="160420"/>
                        <a:pt x="7144" y="124301"/>
                      </a:cubicBezTo>
                      <a:lnTo>
                        <a:pt x="7144" y="7144"/>
                      </a:lnTo>
                      <a:lnTo>
                        <a:pt x="50406" y="7144"/>
                      </a:lnTo>
                      <a:lnTo>
                        <a:pt x="50406" y="113252"/>
                      </a:lnTo>
                      <a:cubicBezTo>
                        <a:pt x="50406" y="134340"/>
                        <a:pt x="56102" y="150038"/>
                        <a:pt x="72180" y="150038"/>
                      </a:cubicBezTo>
                      <a:cubicBezTo>
                        <a:pt x="100070" y="150038"/>
                        <a:pt x="106509" y="101060"/>
                        <a:pt x="106509" y="73933"/>
                      </a:cubicBezTo>
                      <a:lnTo>
                        <a:pt x="106509" y="7144"/>
                      </a:lnTo>
                      <a:lnTo>
                        <a:pt x="149733" y="7144"/>
                      </a:lnTo>
                      <a:lnTo>
                        <a:pt x="149733" y="177203"/>
                      </a:lnTo>
                      <a:lnTo>
                        <a:pt x="106509" y="177203"/>
                      </a:lnTo>
                      <a:lnTo>
                        <a:pt x="106509" y="138989"/>
                      </a:lnTo>
                      <a:close/>
                    </a:path>
                  </a:pathLst>
                </a:custGeom>
                <a:solidFill>
                  <a:schemeClr val="bg1"/>
                </a:solidFill>
                <a:ln w="9525" cap="flat">
                  <a:noFill/>
                  <a:prstDash val="solid"/>
                  <a:miter/>
                </a:ln>
              </p:spPr>
              <p:txBody>
                <a:bodyPr rtlCol="0" anchor="ctr"/>
                <a:lstStyle/>
                <a:p>
                  <a:endParaRPr lang="ja-JP" altLang="en-US"/>
                </a:p>
              </p:txBody>
            </p:sp>
            <p:sp>
              <p:nvSpPr>
                <p:cNvPr id="1076" name="フリーフォーム: 図形 28"/>
                <p:cNvSpPr/>
                <p:nvPr/>
              </p:nvSpPr>
              <p:spPr>
                <a:xfrm>
                  <a:off x="1898376" y="5565635"/>
                  <a:ext cx="114300" cy="180975"/>
                </a:xfrm>
                <a:custGeom>
                  <a:avLst/>
                  <a:gdLst>
                    <a:gd name="connsiteX0" fmla="*/ 7144 w 114300"/>
                    <a:gd name="connsiteY0" fmla="*/ 11116 h 180975"/>
                    <a:gd name="connsiteX1" fmla="*/ 50378 w 114300"/>
                    <a:gd name="connsiteY1" fmla="*/ 11116 h 180975"/>
                    <a:gd name="connsiteX2" fmla="*/ 50378 w 114300"/>
                    <a:gd name="connsiteY2" fmla="*/ 53654 h 180975"/>
                    <a:gd name="connsiteX3" fmla="*/ 51121 w 114300"/>
                    <a:gd name="connsiteY3" fmla="*/ 53654 h 180975"/>
                    <a:gd name="connsiteX4" fmla="*/ 108623 w 114300"/>
                    <a:gd name="connsiteY4" fmla="*/ 7144 h 180975"/>
                    <a:gd name="connsiteX5" fmla="*/ 108623 w 114300"/>
                    <a:gd name="connsiteY5" fmla="*/ 51854 h 180975"/>
                    <a:gd name="connsiteX6" fmla="*/ 50378 w 114300"/>
                    <a:gd name="connsiteY6" fmla="*/ 105032 h 180975"/>
                    <a:gd name="connsiteX7" fmla="*/ 50378 w 114300"/>
                    <a:gd name="connsiteY7" fmla="*/ 181166 h 180975"/>
                    <a:gd name="connsiteX8" fmla="*/ 7144 w 114300"/>
                    <a:gd name="connsiteY8" fmla="*/ 181166 h 180975"/>
                    <a:gd name="connsiteX9" fmla="*/ 7144 w 114300"/>
                    <a:gd name="connsiteY9"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80975">
                      <a:moveTo>
                        <a:pt x="7144" y="11116"/>
                      </a:moveTo>
                      <a:lnTo>
                        <a:pt x="50378" y="11116"/>
                      </a:lnTo>
                      <a:lnTo>
                        <a:pt x="50378" y="53654"/>
                      </a:lnTo>
                      <a:lnTo>
                        <a:pt x="51121" y="53654"/>
                      </a:lnTo>
                      <a:cubicBezTo>
                        <a:pt x="62912" y="31451"/>
                        <a:pt x="76457" y="9306"/>
                        <a:pt x="108623" y="7144"/>
                      </a:cubicBezTo>
                      <a:lnTo>
                        <a:pt x="108623" y="51854"/>
                      </a:lnTo>
                      <a:cubicBezTo>
                        <a:pt x="65427" y="51854"/>
                        <a:pt x="50378" y="67170"/>
                        <a:pt x="50378" y="105032"/>
                      </a:cubicBezTo>
                      <a:lnTo>
                        <a:pt x="50378" y="181166"/>
                      </a:lnTo>
                      <a:lnTo>
                        <a:pt x="7144" y="181166"/>
                      </a:lnTo>
                      <a:lnTo>
                        <a:pt x="7144" y="11116"/>
                      </a:lnTo>
                      <a:close/>
                    </a:path>
                  </a:pathLst>
                </a:custGeom>
                <a:solidFill>
                  <a:schemeClr val="bg1"/>
                </a:solidFill>
                <a:ln w="9525" cap="flat">
                  <a:noFill/>
                  <a:prstDash val="solid"/>
                  <a:miter/>
                </a:ln>
              </p:spPr>
              <p:txBody>
                <a:bodyPr rtlCol="0" anchor="ctr"/>
                <a:lstStyle/>
                <a:p>
                  <a:endParaRPr lang="ja-JP" altLang="en-US"/>
                </a:p>
              </p:txBody>
            </p:sp>
            <p:sp>
              <p:nvSpPr>
                <p:cNvPr id="1077" name="フリーフォーム: 図形 29"/>
                <p:cNvSpPr/>
                <p:nvPr/>
              </p:nvSpPr>
              <p:spPr>
                <a:xfrm>
                  <a:off x="2027763" y="5492911"/>
                  <a:ext cx="57150" cy="257175"/>
                </a:xfrm>
                <a:custGeom>
                  <a:avLst/>
                  <a:gdLst>
                    <a:gd name="connsiteX0" fmla="*/ 7144 w 57150"/>
                    <a:gd name="connsiteY0" fmla="*/ 7144 h 257175"/>
                    <a:gd name="connsiteX1" fmla="*/ 50378 w 57150"/>
                    <a:gd name="connsiteY1" fmla="*/ 7144 h 257175"/>
                    <a:gd name="connsiteX2" fmla="*/ 50378 w 57150"/>
                    <a:gd name="connsiteY2" fmla="*/ 46653 h 257175"/>
                    <a:gd name="connsiteX3" fmla="*/ 7144 w 57150"/>
                    <a:gd name="connsiteY3" fmla="*/ 46653 h 257175"/>
                    <a:gd name="connsiteX4" fmla="*/ 7144 w 57150"/>
                    <a:gd name="connsiteY4" fmla="*/ 7144 h 257175"/>
                    <a:gd name="connsiteX5" fmla="*/ 7144 w 57150"/>
                    <a:gd name="connsiteY5" fmla="*/ 83839 h 257175"/>
                    <a:gd name="connsiteX6" fmla="*/ 50378 w 57150"/>
                    <a:gd name="connsiteY6" fmla="*/ 83839 h 257175"/>
                    <a:gd name="connsiteX7" fmla="*/ 50378 w 57150"/>
                    <a:gd name="connsiteY7" fmla="*/ 253898 h 257175"/>
                    <a:gd name="connsiteX8" fmla="*/ 7144 w 57150"/>
                    <a:gd name="connsiteY8" fmla="*/ 253898 h 257175"/>
                    <a:gd name="connsiteX9" fmla="*/ 7144 w 57150"/>
                    <a:gd name="connsiteY9" fmla="*/ 83839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257175">
                      <a:moveTo>
                        <a:pt x="7144" y="7144"/>
                      </a:moveTo>
                      <a:lnTo>
                        <a:pt x="50378" y="7144"/>
                      </a:lnTo>
                      <a:lnTo>
                        <a:pt x="50378" y="46653"/>
                      </a:lnTo>
                      <a:lnTo>
                        <a:pt x="7144" y="46653"/>
                      </a:lnTo>
                      <a:lnTo>
                        <a:pt x="7144" y="7144"/>
                      </a:lnTo>
                      <a:close/>
                      <a:moveTo>
                        <a:pt x="7144" y="83839"/>
                      </a:moveTo>
                      <a:lnTo>
                        <a:pt x="50378" y="83839"/>
                      </a:lnTo>
                      <a:lnTo>
                        <a:pt x="50378" y="253898"/>
                      </a:lnTo>
                      <a:lnTo>
                        <a:pt x="7144" y="253898"/>
                      </a:lnTo>
                      <a:lnTo>
                        <a:pt x="7144" y="83839"/>
                      </a:lnTo>
                      <a:close/>
                    </a:path>
                  </a:pathLst>
                </a:custGeom>
                <a:solidFill>
                  <a:schemeClr val="bg1"/>
                </a:solidFill>
                <a:ln w="9525" cap="flat">
                  <a:noFill/>
                  <a:prstDash val="solid"/>
                  <a:miter/>
                </a:ln>
              </p:spPr>
              <p:txBody>
                <a:bodyPr rtlCol="0" anchor="ctr"/>
                <a:lstStyle/>
                <a:p>
                  <a:endParaRPr lang="ja-JP" altLang="en-US"/>
                </a:p>
              </p:txBody>
            </p:sp>
            <p:sp>
              <p:nvSpPr>
                <p:cNvPr id="1078" name="フリーフォーム: 図形 30"/>
                <p:cNvSpPr/>
                <p:nvPr/>
              </p:nvSpPr>
              <p:spPr>
                <a:xfrm>
                  <a:off x="2104583" y="5565654"/>
                  <a:ext cx="123825" cy="190500"/>
                </a:xfrm>
                <a:custGeom>
                  <a:avLst/>
                  <a:gdLst>
                    <a:gd name="connsiteX0" fmla="*/ 107556 w 123825"/>
                    <a:gd name="connsiteY0" fmla="*/ 48968 h 190500"/>
                    <a:gd name="connsiteX1" fmla="*/ 66084 w 123825"/>
                    <a:gd name="connsiteY1" fmla="*/ 29299 h 190500"/>
                    <a:gd name="connsiteX2" fmla="*/ 45053 w 123825"/>
                    <a:gd name="connsiteY2" fmla="*/ 45348 h 190500"/>
                    <a:gd name="connsiteX3" fmla="*/ 93240 w 123825"/>
                    <a:gd name="connsiteY3" fmla="*/ 88249 h 190500"/>
                    <a:gd name="connsiteX4" fmla="*/ 118634 w 123825"/>
                    <a:gd name="connsiteY4" fmla="*/ 134026 h 190500"/>
                    <a:gd name="connsiteX5" fmla="*/ 53254 w 123825"/>
                    <a:gd name="connsiteY5" fmla="*/ 185090 h 190500"/>
                    <a:gd name="connsiteX6" fmla="*/ 8572 w 123825"/>
                    <a:gd name="connsiteY6" fmla="*/ 178298 h 190500"/>
                    <a:gd name="connsiteX7" fmla="*/ 8572 w 123825"/>
                    <a:gd name="connsiteY7" fmla="*/ 139694 h 190500"/>
                    <a:gd name="connsiteX8" fmla="*/ 53978 w 123825"/>
                    <a:gd name="connsiteY8" fmla="*/ 160468 h 190500"/>
                    <a:gd name="connsiteX9" fmla="*/ 79324 w 123825"/>
                    <a:gd name="connsiteY9" fmla="*/ 143313 h 190500"/>
                    <a:gd name="connsiteX10" fmla="*/ 30356 w 123825"/>
                    <a:gd name="connsiteY10" fmla="*/ 99346 h 190500"/>
                    <a:gd name="connsiteX11" fmla="*/ 7144 w 123825"/>
                    <a:gd name="connsiteY11" fmla="*/ 57531 h 190500"/>
                    <a:gd name="connsiteX12" fmla="*/ 67847 w 123825"/>
                    <a:gd name="connsiteY12" fmla="*/ 7144 h 190500"/>
                    <a:gd name="connsiteX13" fmla="*/ 107556 w 123825"/>
                    <a:gd name="connsiteY13" fmla="*/ 13611 h 190500"/>
                    <a:gd name="connsiteX14" fmla="*/ 107556 w 123825"/>
                    <a:gd name="connsiteY14" fmla="*/ 4896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825" h="190500">
                      <a:moveTo>
                        <a:pt x="107556" y="48968"/>
                      </a:moveTo>
                      <a:cubicBezTo>
                        <a:pt x="97546" y="40396"/>
                        <a:pt x="83248" y="29299"/>
                        <a:pt x="66084" y="29299"/>
                      </a:cubicBezTo>
                      <a:cubicBezTo>
                        <a:pt x="57131" y="29299"/>
                        <a:pt x="45053" y="33547"/>
                        <a:pt x="45053" y="45348"/>
                      </a:cubicBezTo>
                      <a:cubicBezTo>
                        <a:pt x="45053" y="61817"/>
                        <a:pt x="76438" y="73981"/>
                        <a:pt x="93240" y="88249"/>
                      </a:cubicBezTo>
                      <a:cubicBezTo>
                        <a:pt x="111833" y="103679"/>
                        <a:pt x="118634" y="114367"/>
                        <a:pt x="118634" y="134026"/>
                      </a:cubicBezTo>
                      <a:cubicBezTo>
                        <a:pt x="118634" y="171174"/>
                        <a:pt x="88297" y="185090"/>
                        <a:pt x="53254" y="185090"/>
                      </a:cubicBezTo>
                      <a:cubicBezTo>
                        <a:pt x="32499" y="185090"/>
                        <a:pt x="16069" y="180451"/>
                        <a:pt x="8572" y="178298"/>
                      </a:cubicBezTo>
                      <a:lnTo>
                        <a:pt x="8572" y="139694"/>
                      </a:lnTo>
                      <a:cubicBezTo>
                        <a:pt x="16459" y="146504"/>
                        <a:pt x="33642" y="160468"/>
                        <a:pt x="53978" y="160468"/>
                      </a:cubicBezTo>
                      <a:cubicBezTo>
                        <a:pt x="69647" y="160468"/>
                        <a:pt x="79324" y="153686"/>
                        <a:pt x="79324" y="143313"/>
                      </a:cubicBezTo>
                      <a:cubicBezTo>
                        <a:pt x="79324" y="126168"/>
                        <a:pt x="47501" y="113614"/>
                        <a:pt x="30356" y="99346"/>
                      </a:cubicBezTo>
                      <a:cubicBezTo>
                        <a:pt x="11725" y="83591"/>
                        <a:pt x="7144" y="73990"/>
                        <a:pt x="7144" y="57531"/>
                      </a:cubicBezTo>
                      <a:cubicBezTo>
                        <a:pt x="7144" y="31804"/>
                        <a:pt x="24632" y="7144"/>
                        <a:pt x="67847" y="7144"/>
                      </a:cubicBezTo>
                      <a:cubicBezTo>
                        <a:pt x="86449" y="7144"/>
                        <a:pt x="101479" y="12173"/>
                        <a:pt x="107556" y="13611"/>
                      </a:cubicBezTo>
                      <a:lnTo>
                        <a:pt x="107556" y="48968"/>
                      </a:lnTo>
                      <a:close/>
                    </a:path>
                  </a:pathLst>
                </a:custGeom>
                <a:solidFill>
                  <a:schemeClr val="bg1"/>
                </a:solidFill>
                <a:ln w="9525" cap="flat">
                  <a:noFill/>
                  <a:prstDash val="solid"/>
                  <a:miter/>
                </a:ln>
              </p:spPr>
              <p:txBody>
                <a:bodyPr rtlCol="0" anchor="ctr"/>
                <a:lstStyle/>
                <a:p>
                  <a:endParaRPr lang="ja-JP" altLang="en-US"/>
                </a:p>
              </p:txBody>
            </p:sp>
            <p:sp>
              <p:nvSpPr>
                <p:cNvPr id="1079" name="フリーフォーム: 図形 31"/>
                <p:cNvSpPr/>
                <p:nvPr/>
              </p:nvSpPr>
              <p:spPr>
                <a:xfrm>
                  <a:off x="2245724" y="5565635"/>
                  <a:ext cx="238125" cy="180975"/>
                </a:xfrm>
                <a:custGeom>
                  <a:avLst/>
                  <a:gdLst>
                    <a:gd name="connsiteX0" fmla="*/ 7144 w 238125"/>
                    <a:gd name="connsiteY0" fmla="*/ 11116 h 180975"/>
                    <a:gd name="connsiteX1" fmla="*/ 50387 w 238125"/>
                    <a:gd name="connsiteY1" fmla="*/ 11116 h 180975"/>
                    <a:gd name="connsiteX2" fmla="*/ 50387 w 238125"/>
                    <a:gd name="connsiteY2" fmla="*/ 49330 h 180975"/>
                    <a:gd name="connsiteX3" fmla="*/ 51111 w 238125"/>
                    <a:gd name="connsiteY3" fmla="*/ 49330 h 180975"/>
                    <a:gd name="connsiteX4" fmla="*/ 99956 w 238125"/>
                    <a:gd name="connsiteY4" fmla="*/ 7144 h 180975"/>
                    <a:gd name="connsiteX5" fmla="*/ 142894 w 238125"/>
                    <a:gd name="connsiteY5" fmla="*/ 47501 h 180975"/>
                    <a:gd name="connsiteX6" fmla="*/ 143637 w 238125"/>
                    <a:gd name="connsiteY6" fmla="*/ 47501 h 180975"/>
                    <a:gd name="connsiteX7" fmla="*/ 192881 w 238125"/>
                    <a:gd name="connsiteY7" fmla="*/ 7144 h 180975"/>
                    <a:gd name="connsiteX8" fmla="*/ 236153 w 238125"/>
                    <a:gd name="connsiteY8" fmla="*/ 67523 h 180975"/>
                    <a:gd name="connsiteX9" fmla="*/ 236153 w 238125"/>
                    <a:gd name="connsiteY9" fmla="*/ 181175 h 180975"/>
                    <a:gd name="connsiteX10" fmla="*/ 192881 w 238125"/>
                    <a:gd name="connsiteY10" fmla="*/ 181175 h 180975"/>
                    <a:gd name="connsiteX11" fmla="*/ 192881 w 238125"/>
                    <a:gd name="connsiteY11" fmla="*/ 70771 h 180975"/>
                    <a:gd name="connsiteX12" fmla="*/ 174688 w 238125"/>
                    <a:gd name="connsiteY12" fmla="*/ 38214 h 180975"/>
                    <a:gd name="connsiteX13" fmla="*/ 143285 w 238125"/>
                    <a:gd name="connsiteY13" fmla="*/ 104699 h 180975"/>
                    <a:gd name="connsiteX14" fmla="*/ 143285 w 238125"/>
                    <a:gd name="connsiteY14" fmla="*/ 181166 h 180975"/>
                    <a:gd name="connsiteX15" fmla="*/ 99956 w 238125"/>
                    <a:gd name="connsiteY15" fmla="*/ 181166 h 180975"/>
                    <a:gd name="connsiteX16" fmla="*/ 99956 w 238125"/>
                    <a:gd name="connsiteY16" fmla="*/ 75038 h 180975"/>
                    <a:gd name="connsiteX17" fmla="*/ 81467 w 238125"/>
                    <a:gd name="connsiteY17" fmla="*/ 38205 h 180975"/>
                    <a:gd name="connsiteX18" fmla="*/ 50387 w 238125"/>
                    <a:gd name="connsiteY18" fmla="*/ 114367 h 180975"/>
                    <a:gd name="connsiteX19" fmla="*/ 50387 w 238125"/>
                    <a:gd name="connsiteY19" fmla="*/ 181166 h 180975"/>
                    <a:gd name="connsiteX20" fmla="*/ 7144 w 238125"/>
                    <a:gd name="connsiteY20" fmla="*/ 181166 h 180975"/>
                    <a:gd name="connsiteX21" fmla="*/ 7144 w 238125"/>
                    <a:gd name="connsiteY21"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180975">
                      <a:moveTo>
                        <a:pt x="7144" y="11116"/>
                      </a:moveTo>
                      <a:lnTo>
                        <a:pt x="50387" y="11116"/>
                      </a:lnTo>
                      <a:lnTo>
                        <a:pt x="50387" y="49330"/>
                      </a:lnTo>
                      <a:lnTo>
                        <a:pt x="51111" y="49330"/>
                      </a:lnTo>
                      <a:cubicBezTo>
                        <a:pt x="55683" y="34300"/>
                        <a:pt x="69713" y="7144"/>
                        <a:pt x="99956" y="7144"/>
                      </a:cubicBezTo>
                      <a:cubicBezTo>
                        <a:pt x="131845" y="7144"/>
                        <a:pt x="140846" y="32518"/>
                        <a:pt x="142894" y="47501"/>
                      </a:cubicBezTo>
                      <a:lnTo>
                        <a:pt x="143637" y="47501"/>
                      </a:lnTo>
                      <a:cubicBezTo>
                        <a:pt x="150076" y="34290"/>
                        <a:pt x="160754" y="7144"/>
                        <a:pt x="192881" y="7144"/>
                      </a:cubicBezTo>
                      <a:cubicBezTo>
                        <a:pt x="229324" y="7144"/>
                        <a:pt x="236153" y="38576"/>
                        <a:pt x="236153" y="67523"/>
                      </a:cubicBezTo>
                      <a:lnTo>
                        <a:pt x="236153" y="181175"/>
                      </a:lnTo>
                      <a:lnTo>
                        <a:pt x="192881" y="181175"/>
                      </a:lnTo>
                      <a:lnTo>
                        <a:pt x="192881" y="70771"/>
                      </a:lnTo>
                      <a:cubicBezTo>
                        <a:pt x="192881" y="57921"/>
                        <a:pt x="190795" y="38214"/>
                        <a:pt x="174688" y="38214"/>
                      </a:cubicBezTo>
                      <a:cubicBezTo>
                        <a:pt x="145390" y="38214"/>
                        <a:pt x="143285" y="89354"/>
                        <a:pt x="143285" y="104699"/>
                      </a:cubicBezTo>
                      <a:lnTo>
                        <a:pt x="143285" y="181166"/>
                      </a:lnTo>
                      <a:lnTo>
                        <a:pt x="99956" y="181166"/>
                      </a:lnTo>
                      <a:lnTo>
                        <a:pt x="99956" y="75038"/>
                      </a:lnTo>
                      <a:cubicBezTo>
                        <a:pt x="99956" y="53931"/>
                        <a:pt x="98279" y="38205"/>
                        <a:pt x="81467" y="38205"/>
                      </a:cubicBezTo>
                      <a:cubicBezTo>
                        <a:pt x="50730" y="38205"/>
                        <a:pt x="50387" y="96812"/>
                        <a:pt x="50387" y="114367"/>
                      </a:cubicBezTo>
                      <a:lnTo>
                        <a:pt x="50387" y="181166"/>
                      </a:lnTo>
                      <a:lnTo>
                        <a:pt x="7144" y="181166"/>
                      </a:lnTo>
                      <a:lnTo>
                        <a:pt x="7144" y="11116"/>
                      </a:lnTo>
                      <a:close/>
                    </a:path>
                  </a:pathLst>
                </a:custGeom>
                <a:solidFill>
                  <a:schemeClr val="bg1"/>
                </a:solidFill>
                <a:ln w="9525" cap="flat">
                  <a:noFill/>
                  <a:prstDash val="solid"/>
                  <a:miter/>
                </a:ln>
              </p:spPr>
              <p:txBody>
                <a:bodyPr rtlCol="0" anchor="ctr"/>
                <a:lstStyle/>
                <a:p>
                  <a:endParaRPr lang="ja-JP" altLang="en-US"/>
                </a:p>
              </p:txBody>
            </p:sp>
            <p:sp>
              <p:nvSpPr>
                <p:cNvPr id="1080" name="フリーフォーム: 図形 32"/>
                <p:cNvSpPr/>
                <p:nvPr/>
              </p:nvSpPr>
              <p:spPr>
                <a:xfrm>
                  <a:off x="2571898" y="5492911"/>
                  <a:ext cx="228600" cy="257175"/>
                </a:xfrm>
                <a:custGeom>
                  <a:avLst/>
                  <a:gdLst>
                    <a:gd name="connsiteX0" fmla="*/ 92212 w 228600"/>
                    <a:gd name="connsiteY0" fmla="*/ 7144 h 257175"/>
                    <a:gd name="connsiteX1" fmla="*/ 140113 w 228600"/>
                    <a:gd name="connsiteY1" fmla="*/ 7144 h 257175"/>
                    <a:gd name="connsiteX2" fmla="*/ 225857 w 228600"/>
                    <a:gd name="connsiteY2" fmla="*/ 253889 h 257175"/>
                    <a:gd name="connsiteX3" fmla="*/ 176203 w 228600"/>
                    <a:gd name="connsiteY3" fmla="*/ 253889 h 257175"/>
                    <a:gd name="connsiteX4" fmla="*/ 154752 w 228600"/>
                    <a:gd name="connsiteY4" fmla="*/ 183842 h 257175"/>
                    <a:gd name="connsiteX5" fmla="*/ 70809 w 228600"/>
                    <a:gd name="connsiteY5" fmla="*/ 183842 h 257175"/>
                    <a:gd name="connsiteX6" fmla="*/ 48616 w 228600"/>
                    <a:gd name="connsiteY6" fmla="*/ 253889 h 257175"/>
                    <a:gd name="connsiteX7" fmla="*/ 7144 w 228600"/>
                    <a:gd name="connsiteY7" fmla="*/ 253889 h 257175"/>
                    <a:gd name="connsiteX8" fmla="*/ 92212 w 228600"/>
                    <a:gd name="connsiteY8" fmla="*/ 7144 h 257175"/>
                    <a:gd name="connsiteX9" fmla="*/ 79010 w 228600"/>
                    <a:gd name="connsiteY9" fmla="*/ 157734 h 257175"/>
                    <a:gd name="connsiteX10" fmla="*/ 146952 w 228600"/>
                    <a:gd name="connsiteY10" fmla="*/ 157734 h 257175"/>
                    <a:gd name="connsiteX11" fmla="*/ 113690 w 228600"/>
                    <a:gd name="connsiteY11" fmla="*/ 48816 h 257175"/>
                    <a:gd name="connsiteX12" fmla="*/ 112966 w 228600"/>
                    <a:gd name="connsiteY12" fmla="*/ 48816 h 257175"/>
                    <a:gd name="connsiteX13" fmla="*/ 79010 w 228600"/>
                    <a:gd name="connsiteY13" fmla="*/ 157734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257175">
                      <a:moveTo>
                        <a:pt x="92212" y="7144"/>
                      </a:moveTo>
                      <a:lnTo>
                        <a:pt x="140113" y="7144"/>
                      </a:lnTo>
                      <a:lnTo>
                        <a:pt x="225857" y="253889"/>
                      </a:lnTo>
                      <a:lnTo>
                        <a:pt x="176203" y="253889"/>
                      </a:lnTo>
                      <a:lnTo>
                        <a:pt x="154752" y="183842"/>
                      </a:lnTo>
                      <a:lnTo>
                        <a:pt x="70809" y="183842"/>
                      </a:lnTo>
                      <a:lnTo>
                        <a:pt x="48616" y="253889"/>
                      </a:lnTo>
                      <a:lnTo>
                        <a:pt x="7144" y="253889"/>
                      </a:lnTo>
                      <a:lnTo>
                        <a:pt x="92212" y="7144"/>
                      </a:lnTo>
                      <a:close/>
                      <a:moveTo>
                        <a:pt x="79010" y="157734"/>
                      </a:moveTo>
                      <a:lnTo>
                        <a:pt x="146952" y="157734"/>
                      </a:lnTo>
                      <a:lnTo>
                        <a:pt x="113690" y="48816"/>
                      </a:lnTo>
                      <a:lnTo>
                        <a:pt x="112966" y="48816"/>
                      </a:lnTo>
                      <a:lnTo>
                        <a:pt x="79010" y="157734"/>
                      </a:lnTo>
                      <a:close/>
                    </a:path>
                  </a:pathLst>
                </a:custGeom>
                <a:solidFill>
                  <a:schemeClr val="bg1"/>
                </a:solidFill>
                <a:ln w="9525" cap="flat">
                  <a:noFill/>
                  <a:prstDash val="solid"/>
                  <a:miter/>
                </a:ln>
              </p:spPr>
              <p:txBody>
                <a:bodyPr rtlCol="0" anchor="ctr"/>
                <a:lstStyle/>
                <a:p>
                  <a:endParaRPr lang="ja-JP" altLang="en-US"/>
                </a:p>
              </p:txBody>
            </p:sp>
            <p:sp>
              <p:nvSpPr>
                <p:cNvPr id="1081" name="フリーフォーム: 図形 33"/>
                <p:cNvSpPr/>
                <p:nvPr/>
              </p:nvSpPr>
              <p:spPr>
                <a:xfrm>
                  <a:off x="2801365" y="5565625"/>
                  <a:ext cx="152400" cy="266700"/>
                </a:xfrm>
                <a:custGeom>
                  <a:avLst/>
                  <a:gdLst>
                    <a:gd name="connsiteX0" fmla="*/ 154381 w 152400"/>
                    <a:gd name="connsiteY0" fmla="*/ 186852 h 266700"/>
                    <a:gd name="connsiteX1" fmla="*/ 70409 w 152400"/>
                    <a:gd name="connsiteY1" fmla="*/ 261642 h 266700"/>
                    <a:gd name="connsiteX2" fmla="*/ 19698 w 152400"/>
                    <a:gd name="connsiteY2" fmla="*/ 254441 h 266700"/>
                    <a:gd name="connsiteX3" fmla="*/ 19698 w 152400"/>
                    <a:gd name="connsiteY3" fmla="*/ 214036 h 266700"/>
                    <a:gd name="connsiteX4" fmla="*/ 74314 w 152400"/>
                    <a:gd name="connsiteY4" fmla="*/ 237268 h 266700"/>
                    <a:gd name="connsiteX5" fmla="*/ 111109 w 152400"/>
                    <a:gd name="connsiteY5" fmla="*/ 181899 h 266700"/>
                    <a:gd name="connsiteX6" fmla="*/ 111109 w 152400"/>
                    <a:gd name="connsiteY6" fmla="*/ 156496 h 266700"/>
                    <a:gd name="connsiteX7" fmla="*/ 110442 w 152400"/>
                    <a:gd name="connsiteY7" fmla="*/ 156496 h 266700"/>
                    <a:gd name="connsiteX8" fmla="*/ 69723 w 152400"/>
                    <a:gd name="connsiteY8" fmla="*/ 181175 h 266700"/>
                    <a:gd name="connsiteX9" fmla="*/ 7144 w 152400"/>
                    <a:gd name="connsiteY9" fmla="*/ 92945 h 266700"/>
                    <a:gd name="connsiteX10" fmla="*/ 65408 w 152400"/>
                    <a:gd name="connsiteY10" fmla="*/ 7144 h 266700"/>
                    <a:gd name="connsiteX11" fmla="*/ 110452 w 152400"/>
                    <a:gd name="connsiteY11" fmla="*/ 38576 h 266700"/>
                    <a:gd name="connsiteX12" fmla="*/ 111119 w 152400"/>
                    <a:gd name="connsiteY12" fmla="*/ 38576 h 266700"/>
                    <a:gd name="connsiteX13" fmla="*/ 111119 w 152400"/>
                    <a:gd name="connsiteY13" fmla="*/ 11116 h 266700"/>
                    <a:gd name="connsiteX14" fmla="*/ 154391 w 152400"/>
                    <a:gd name="connsiteY14" fmla="*/ 11116 h 266700"/>
                    <a:gd name="connsiteX15" fmla="*/ 154391 w 152400"/>
                    <a:gd name="connsiteY15" fmla="*/ 186852 h 266700"/>
                    <a:gd name="connsiteX16" fmla="*/ 82905 w 152400"/>
                    <a:gd name="connsiteY16" fmla="*/ 156505 h 266700"/>
                    <a:gd name="connsiteX17" fmla="*/ 109004 w 152400"/>
                    <a:gd name="connsiteY17" fmla="*/ 96831 h 266700"/>
                    <a:gd name="connsiteX18" fmla="*/ 82572 w 152400"/>
                    <a:gd name="connsiteY18" fmla="*/ 33957 h 266700"/>
                    <a:gd name="connsiteX19" fmla="*/ 53940 w 152400"/>
                    <a:gd name="connsiteY19" fmla="*/ 95764 h 266700"/>
                    <a:gd name="connsiteX20" fmla="*/ 82905 w 152400"/>
                    <a:gd name="connsiteY20" fmla="*/ 15650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400" h="266700">
                      <a:moveTo>
                        <a:pt x="154381" y="186852"/>
                      </a:moveTo>
                      <a:cubicBezTo>
                        <a:pt x="154381" y="229134"/>
                        <a:pt x="137246" y="261642"/>
                        <a:pt x="70409" y="261642"/>
                      </a:cubicBezTo>
                      <a:cubicBezTo>
                        <a:pt x="45739" y="261642"/>
                        <a:pt x="30413" y="257289"/>
                        <a:pt x="19698" y="254441"/>
                      </a:cubicBezTo>
                      <a:lnTo>
                        <a:pt x="19698" y="214036"/>
                      </a:lnTo>
                      <a:cubicBezTo>
                        <a:pt x="28632" y="220828"/>
                        <a:pt x="51120" y="237268"/>
                        <a:pt x="74314" y="237268"/>
                      </a:cubicBezTo>
                      <a:cubicBezTo>
                        <a:pt x="107575" y="237268"/>
                        <a:pt x="111109" y="213360"/>
                        <a:pt x="111109" y="181899"/>
                      </a:cubicBezTo>
                      <a:lnTo>
                        <a:pt x="111109" y="156496"/>
                      </a:lnTo>
                      <a:lnTo>
                        <a:pt x="110442" y="156496"/>
                      </a:lnTo>
                      <a:cubicBezTo>
                        <a:pt x="104299" y="167631"/>
                        <a:pt x="96469" y="181175"/>
                        <a:pt x="69723" y="181175"/>
                      </a:cubicBezTo>
                      <a:cubicBezTo>
                        <a:pt x="23565" y="181175"/>
                        <a:pt x="7144" y="145094"/>
                        <a:pt x="7144" y="92945"/>
                      </a:cubicBezTo>
                      <a:cubicBezTo>
                        <a:pt x="7144" y="49663"/>
                        <a:pt x="21822" y="7144"/>
                        <a:pt x="65408" y="7144"/>
                      </a:cubicBezTo>
                      <a:cubicBezTo>
                        <a:pt x="92183" y="7144"/>
                        <a:pt x="103679" y="26460"/>
                        <a:pt x="110452" y="38576"/>
                      </a:cubicBezTo>
                      <a:lnTo>
                        <a:pt x="111119" y="38576"/>
                      </a:lnTo>
                      <a:lnTo>
                        <a:pt x="111119" y="11116"/>
                      </a:lnTo>
                      <a:lnTo>
                        <a:pt x="154391" y="11116"/>
                      </a:lnTo>
                      <a:lnTo>
                        <a:pt x="154391" y="186852"/>
                      </a:lnTo>
                      <a:close/>
                      <a:moveTo>
                        <a:pt x="82905" y="156505"/>
                      </a:moveTo>
                      <a:cubicBezTo>
                        <a:pt x="109004" y="156505"/>
                        <a:pt x="109004" y="119015"/>
                        <a:pt x="109004" y="96831"/>
                      </a:cubicBezTo>
                      <a:cubicBezTo>
                        <a:pt x="109004" y="71095"/>
                        <a:pt x="107870" y="33957"/>
                        <a:pt x="82572" y="33957"/>
                      </a:cubicBezTo>
                      <a:cubicBezTo>
                        <a:pt x="57140" y="33957"/>
                        <a:pt x="53940" y="70771"/>
                        <a:pt x="53940" y="95764"/>
                      </a:cubicBezTo>
                      <a:cubicBezTo>
                        <a:pt x="53940" y="119329"/>
                        <a:pt x="57140" y="156505"/>
                        <a:pt x="82905" y="156505"/>
                      </a:cubicBezTo>
                      <a:close/>
                    </a:path>
                  </a:pathLst>
                </a:custGeom>
                <a:solidFill>
                  <a:schemeClr val="bg1"/>
                </a:solidFill>
                <a:ln w="9525" cap="flat">
                  <a:noFill/>
                  <a:prstDash val="solid"/>
                  <a:miter/>
                </a:ln>
              </p:spPr>
              <p:txBody>
                <a:bodyPr rtlCol="0" anchor="ctr"/>
                <a:lstStyle/>
                <a:p>
                  <a:endParaRPr lang="ja-JP" altLang="en-US"/>
                </a:p>
              </p:txBody>
            </p:sp>
            <p:sp>
              <p:nvSpPr>
                <p:cNvPr id="1082" name="フリーフォーム: 図形 34"/>
                <p:cNvSpPr/>
                <p:nvPr/>
              </p:nvSpPr>
              <p:spPr>
                <a:xfrm>
                  <a:off x="2982530" y="5565625"/>
                  <a:ext cx="152400" cy="190500"/>
                </a:xfrm>
                <a:custGeom>
                  <a:avLst/>
                  <a:gdLst>
                    <a:gd name="connsiteX0" fmla="*/ 148685 w 152400"/>
                    <a:gd name="connsiteY0" fmla="*/ 173345 h 190500"/>
                    <a:gd name="connsiteX1" fmla="*/ 93659 w 152400"/>
                    <a:gd name="connsiteY1" fmla="*/ 185099 h 190500"/>
                    <a:gd name="connsiteX2" fmla="*/ 7144 w 152400"/>
                    <a:gd name="connsiteY2" fmla="*/ 88259 h 190500"/>
                    <a:gd name="connsiteX3" fmla="*/ 82887 w 152400"/>
                    <a:gd name="connsiteY3" fmla="*/ 7144 h 190500"/>
                    <a:gd name="connsiteX4" fmla="*/ 151847 w 152400"/>
                    <a:gd name="connsiteY4" fmla="*/ 71085 h 190500"/>
                    <a:gd name="connsiteX5" fmla="*/ 151847 w 152400"/>
                    <a:gd name="connsiteY5" fmla="*/ 77581 h 190500"/>
                    <a:gd name="connsiteX6" fmla="*/ 50387 w 152400"/>
                    <a:gd name="connsiteY6" fmla="*/ 77581 h 190500"/>
                    <a:gd name="connsiteX7" fmla="*/ 115462 w 152400"/>
                    <a:gd name="connsiteY7" fmla="*/ 162973 h 190500"/>
                    <a:gd name="connsiteX8" fmla="*/ 148685 w 152400"/>
                    <a:gd name="connsiteY8" fmla="*/ 155486 h 190500"/>
                    <a:gd name="connsiteX9" fmla="*/ 148685 w 152400"/>
                    <a:gd name="connsiteY9" fmla="*/ 173345 h 190500"/>
                    <a:gd name="connsiteX10" fmla="*/ 110128 w 152400"/>
                    <a:gd name="connsiteY10" fmla="*/ 59684 h 190500"/>
                    <a:gd name="connsiteX11" fmla="*/ 81534 w 152400"/>
                    <a:gd name="connsiteY11" fmla="*/ 23965 h 190500"/>
                    <a:gd name="connsiteX12" fmla="*/ 50387 w 152400"/>
                    <a:gd name="connsiteY12" fmla="*/ 59684 h 190500"/>
                    <a:gd name="connsiteX13" fmla="*/ 110128 w 152400"/>
                    <a:gd name="connsiteY13" fmla="*/ 5968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90500">
                      <a:moveTo>
                        <a:pt x="148685" y="173345"/>
                      </a:moveTo>
                      <a:cubicBezTo>
                        <a:pt x="129359" y="181527"/>
                        <a:pt x="118681" y="185099"/>
                        <a:pt x="93659" y="185099"/>
                      </a:cubicBezTo>
                      <a:cubicBezTo>
                        <a:pt x="48920" y="185099"/>
                        <a:pt x="7144" y="159420"/>
                        <a:pt x="7144" y="88259"/>
                      </a:cubicBezTo>
                      <a:cubicBezTo>
                        <a:pt x="7144" y="41424"/>
                        <a:pt x="26794" y="7144"/>
                        <a:pt x="82887" y="7144"/>
                      </a:cubicBezTo>
                      <a:cubicBezTo>
                        <a:pt x="130083" y="7144"/>
                        <a:pt x="151847" y="32176"/>
                        <a:pt x="151847" y="71085"/>
                      </a:cubicBezTo>
                      <a:lnTo>
                        <a:pt x="151847" y="77581"/>
                      </a:lnTo>
                      <a:lnTo>
                        <a:pt x="50387" y="77581"/>
                      </a:lnTo>
                      <a:cubicBezTo>
                        <a:pt x="50387" y="106499"/>
                        <a:pt x="66856" y="162973"/>
                        <a:pt x="115462" y="162973"/>
                      </a:cubicBezTo>
                      <a:cubicBezTo>
                        <a:pt x="126844" y="162973"/>
                        <a:pt x="138322" y="159420"/>
                        <a:pt x="148685" y="155486"/>
                      </a:cubicBezTo>
                      <a:lnTo>
                        <a:pt x="148685" y="173345"/>
                      </a:lnTo>
                      <a:close/>
                      <a:moveTo>
                        <a:pt x="110128" y="59684"/>
                      </a:moveTo>
                      <a:cubicBezTo>
                        <a:pt x="110128" y="47520"/>
                        <a:pt x="105070" y="23965"/>
                        <a:pt x="81534" y="23965"/>
                      </a:cubicBezTo>
                      <a:cubicBezTo>
                        <a:pt x="56512" y="23965"/>
                        <a:pt x="51473" y="51873"/>
                        <a:pt x="50387" y="59684"/>
                      </a:cubicBezTo>
                      <a:lnTo>
                        <a:pt x="110128" y="59684"/>
                      </a:lnTo>
                      <a:close/>
                    </a:path>
                  </a:pathLst>
                </a:custGeom>
                <a:solidFill>
                  <a:schemeClr val="bg1"/>
                </a:solidFill>
                <a:ln w="9525" cap="flat">
                  <a:noFill/>
                  <a:prstDash val="solid"/>
                  <a:miter/>
                </a:ln>
              </p:spPr>
              <p:txBody>
                <a:bodyPr rtlCol="0" anchor="ctr"/>
                <a:lstStyle/>
                <a:p>
                  <a:endParaRPr lang="ja-JP" altLang="en-US"/>
                </a:p>
              </p:txBody>
            </p:sp>
            <p:sp>
              <p:nvSpPr>
                <p:cNvPr id="1083" name="フリーフォーム: 図形 35"/>
                <p:cNvSpPr/>
                <p:nvPr/>
              </p:nvSpPr>
              <p:spPr>
                <a:xfrm>
                  <a:off x="3161905" y="5565635"/>
                  <a:ext cx="152400" cy="180975"/>
                </a:xfrm>
                <a:custGeom>
                  <a:avLst/>
                  <a:gdLst>
                    <a:gd name="connsiteX0" fmla="*/ 7153 w 152400"/>
                    <a:gd name="connsiteY0" fmla="*/ 11116 h 180975"/>
                    <a:gd name="connsiteX1" fmla="*/ 50444 w 152400"/>
                    <a:gd name="connsiteY1" fmla="*/ 11116 h 180975"/>
                    <a:gd name="connsiteX2" fmla="*/ 50444 w 152400"/>
                    <a:gd name="connsiteY2" fmla="*/ 49330 h 180975"/>
                    <a:gd name="connsiteX3" fmla="*/ 51054 w 152400"/>
                    <a:gd name="connsiteY3" fmla="*/ 49330 h 180975"/>
                    <a:gd name="connsiteX4" fmla="*/ 106880 w 152400"/>
                    <a:gd name="connsiteY4" fmla="*/ 7144 h 180975"/>
                    <a:gd name="connsiteX5" fmla="*/ 149742 w 152400"/>
                    <a:gd name="connsiteY5" fmla="*/ 63951 h 180975"/>
                    <a:gd name="connsiteX6" fmla="*/ 149742 w 152400"/>
                    <a:gd name="connsiteY6" fmla="*/ 181175 h 180975"/>
                    <a:gd name="connsiteX7" fmla="*/ 106490 w 152400"/>
                    <a:gd name="connsiteY7" fmla="*/ 181175 h 180975"/>
                    <a:gd name="connsiteX8" fmla="*/ 106490 w 152400"/>
                    <a:gd name="connsiteY8" fmla="*/ 75047 h 180975"/>
                    <a:gd name="connsiteX9" fmla="*/ 87887 w 152400"/>
                    <a:gd name="connsiteY9" fmla="*/ 38214 h 180975"/>
                    <a:gd name="connsiteX10" fmla="*/ 50435 w 152400"/>
                    <a:gd name="connsiteY10" fmla="*/ 114376 h 180975"/>
                    <a:gd name="connsiteX11" fmla="*/ 50435 w 152400"/>
                    <a:gd name="connsiteY11" fmla="*/ 181175 h 180975"/>
                    <a:gd name="connsiteX12" fmla="*/ 7144 w 152400"/>
                    <a:gd name="connsiteY12" fmla="*/ 181175 h 180975"/>
                    <a:gd name="connsiteX13" fmla="*/ 7144 w 152400"/>
                    <a:gd name="connsiteY13"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7153" y="11116"/>
                      </a:moveTo>
                      <a:lnTo>
                        <a:pt x="50444" y="11116"/>
                      </a:lnTo>
                      <a:lnTo>
                        <a:pt x="50444" y="49330"/>
                      </a:lnTo>
                      <a:lnTo>
                        <a:pt x="51054" y="49330"/>
                      </a:lnTo>
                      <a:cubicBezTo>
                        <a:pt x="57922" y="35433"/>
                        <a:pt x="71799" y="7144"/>
                        <a:pt x="106880" y="7144"/>
                      </a:cubicBezTo>
                      <a:cubicBezTo>
                        <a:pt x="138674" y="7144"/>
                        <a:pt x="149742" y="27889"/>
                        <a:pt x="149742" y="63951"/>
                      </a:cubicBezTo>
                      <a:lnTo>
                        <a:pt x="149742" y="181175"/>
                      </a:lnTo>
                      <a:lnTo>
                        <a:pt x="106490" y="181175"/>
                      </a:lnTo>
                      <a:lnTo>
                        <a:pt x="106490" y="75047"/>
                      </a:lnTo>
                      <a:cubicBezTo>
                        <a:pt x="106490" y="53940"/>
                        <a:pt x="104718" y="38214"/>
                        <a:pt x="87887" y="38214"/>
                      </a:cubicBezTo>
                      <a:cubicBezTo>
                        <a:pt x="57560" y="38214"/>
                        <a:pt x="50435" y="87182"/>
                        <a:pt x="50435" y="114376"/>
                      </a:cubicBezTo>
                      <a:lnTo>
                        <a:pt x="50435" y="181175"/>
                      </a:lnTo>
                      <a:lnTo>
                        <a:pt x="7144" y="181175"/>
                      </a:lnTo>
                      <a:lnTo>
                        <a:pt x="7144" y="11116"/>
                      </a:lnTo>
                      <a:close/>
                    </a:path>
                  </a:pathLst>
                </a:custGeom>
                <a:solidFill>
                  <a:schemeClr val="bg1"/>
                </a:solidFill>
                <a:ln w="9525" cap="flat">
                  <a:noFill/>
                  <a:prstDash val="solid"/>
                  <a:miter/>
                </a:ln>
              </p:spPr>
              <p:txBody>
                <a:bodyPr rtlCol="0" anchor="ctr"/>
                <a:lstStyle/>
                <a:p>
                  <a:endParaRPr lang="ja-JP" altLang="en-US"/>
                </a:p>
              </p:txBody>
            </p:sp>
            <p:sp>
              <p:nvSpPr>
                <p:cNvPr id="1084" name="フリーフォーム: 図形 36"/>
                <p:cNvSpPr/>
                <p:nvPr/>
              </p:nvSpPr>
              <p:spPr>
                <a:xfrm>
                  <a:off x="3339851" y="5565635"/>
                  <a:ext cx="152400" cy="190500"/>
                </a:xfrm>
                <a:custGeom>
                  <a:avLst/>
                  <a:gdLst>
                    <a:gd name="connsiteX0" fmla="*/ 148686 w 152400"/>
                    <a:gd name="connsiteY0" fmla="*/ 174765 h 190500"/>
                    <a:gd name="connsiteX1" fmla="*/ 95774 w 152400"/>
                    <a:gd name="connsiteY1" fmla="*/ 185090 h 190500"/>
                    <a:gd name="connsiteX2" fmla="*/ 7144 w 152400"/>
                    <a:gd name="connsiteY2" fmla="*/ 89354 h 190500"/>
                    <a:gd name="connsiteX3" fmla="*/ 83991 w 152400"/>
                    <a:gd name="connsiteY3" fmla="*/ 7144 h 190500"/>
                    <a:gd name="connsiteX4" fmla="*/ 149771 w 152400"/>
                    <a:gd name="connsiteY4" fmla="*/ 68637 h 190500"/>
                    <a:gd name="connsiteX5" fmla="*/ 103613 w 152400"/>
                    <a:gd name="connsiteY5" fmla="*/ 68637 h 190500"/>
                    <a:gd name="connsiteX6" fmla="*/ 82182 w 152400"/>
                    <a:gd name="connsiteY6" fmla="*/ 23955 h 190500"/>
                    <a:gd name="connsiteX7" fmla="*/ 53921 w 152400"/>
                    <a:gd name="connsiteY7" fmla="*/ 74705 h 190500"/>
                    <a:gd name="connsiteX8" fmla="*/ 115110 w 152400"/>
                    <a:gd name="connsiteY8" fmla="*/ 162973 h 190500"/>
                    <a:gd name="connsiteX9" fmla="*/ 148667 w 152400"/>
                    <a:gd name="connsiteY9" fmla="*/ 156496 h 190500"/>
                    <a:gd name="connsiteX10" fmla="*/ 148667 w 152400"/>
                    <a:gd name="connsiteY10" fmla="*/ 1747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400" h="190500">
                      <a:moveTo>
                        <a:pt x="148686" y="174765"/>
                      </a:moveTo>
                      <a:cubicBezTo>
                        <a:pt x="131179" y="181175"/>
                        <a:pt x="117596" y="185090"/>
                        <a:pt x="95774" y="185090"/>
                      </a:cubicBezTo>
                      <a:cubicBezTo>
                        <a:pt x="46063" y="185090"/>
                        <a:pt x="7144" y="157572"/>
                        <a:pt x="7144" y="89354"/>
                      </a:cubicBezTo>
                      <a:cubicBezTo>
                        <a:pt x="7144" y="40405"/>
                        <a:pt x="30785" y="7144"/>
                        <a:pt x="83991" y="7144"/>
                      </a:cubicBezTo>
                      <a:cubicBezTo>
                        <a:pt x="134351" y="7144"/>
                        <a:pt x="149771" y="30004"/>
                        <a:pt x="149771" y="68637"/>
                      </a:cubicBezTo>
                      <a:lnTo>
                        <a:pt x="103613" y="68637"/>
                      </a:lnTo>
                      <a:cubicBezTo>
                        <a:pt x="103613" y="38576"/>
                        <a:pt x="100784" y="23955"/>
                        <a:pt x="82182" y="23955"/>
                      </a:cubicBezTo>
                      <a:cubicBezTo>
                        <a:pt x="62551" y="23955"/>
                        <a:pt x="53921" y="50349"/>
                        <a:pt x="53921" y="74705"/>
                      </a:cubicBezTo>
                      <a:cubicBezTo>
                        <a:pt x="53921" y="119005"/>
                        <a:pt x="76115" y="162973"/>
                        <a:pt x="115110" y="162973"/>
                      </a:cubicBezTo>
                      <a:cubicBezTo>
                        <a:pt x="128264" y="162973"/>
                        <a:pt x="138256" y="160096"/>
                        <a:pt x="148667" y="156496"/>
                      </a:cubicBezTo>
                      <a:lnTo>
                        <a:pt x="148667" y="174765"/>
                      </a:lnTo>
                      <a:close/>
                    </a:path>
                  </a:pathLst>
                </a:custGeom>
                <a:solidFill>
                  <a:schemeClr val="bg1"/>
                </a:solidFill>
                <a:ln w="9525" cap="flat">
                  <a:noFill/>
                  <a:prstDash val="solid"/>
                  <a:miter/>
                </a:ln>
              </p:spPr>
              <p:txBody>
                <a:bodyPr rtlCol="0" anchor="ctr"/>
                <a:lstStyle/>
                <a:p>
                  <a:endParaRPr lang="ja-JP" altLang="en-US"/>
                </a:p>
              </p:txBody>
            </p:sp>
            <p:sp>
              <p:nvSpPr>
                <p:cNvPr id="1085" name="フリーフォーム: 図形 37"/>
                <p:cNvSpPr/>
                <p:nvPr/>
              </p:nvSpPr>
              <p:spPr>
                <a:xfrm>
                  <a:off x="3499938" y="5569606"/>
                  <a:ext cx="171450" cy="257175"/>
                </a:xfrm>
                <a:custGeom>
                  <a:avLst/>
                  <a:gdLst>
                    <a:gd name="connsiteX0" fmla="*/ 70809 w 171450"/>
                    <a:gd name="connsiteY0" fmla="*/ 179727 h 257175"/>
                    <a:gd name="connsiteX1" fmla="*/ 7144 w 171450"/>
                    <a:gd name="connsiteY1" fmla="*/ 7144 h 257175"/>
                    <a:gd name="connsiteX2" fmla="*/ 51454 w 171450"/>
                    <a:gd name="connsiteY2" fmla="*/ 7144 h 257175"/>
                    <a:gd name="connsiteX3" fmla="*/ 90097 w 171450"/>
                    <a:gd name="connsiteY3" fmla="*/ 123225 h 257175"/>
                    <a:gd name="connsiteX4" fmla="*/ 90726 w 171450"/>
                    <a:gd name="connsiteY4" fmla="*/ 123225 h 257175"/>
                    <a:gd name="connsiteX5" fmla="*/ 130445 w 171450"/>
                    <a:gd name="connsiteY5" fmla="*/ 7144 h 257175"/>
                    <a:gd name="connsiteX6" fmla="*/ 165497 w 171450"/>
                    <a:gd name="connsiteY6" fmla="*/ 7144 h 257175"/>
                    <a:gd name="connsiteX7" fmla="*/ 80363 w 171450"/>
                    <a:gd name="connsiteY7" fmla="*/ 253689 h 257175"/>
                    <a:gd name="connsiteX8" fmla="*/ 45387 w 171450"/>
                    <a:gd name="connsiteY8" fmla="*/ 253689 h 257175"/>
                    <a:gd name="connsiteX9" fmla="*/ 70809 w 171450"/>
                    <a:gd name="connsiteY9" fmla="*/ 17972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257175">
                      <a:moveTo>
                        <a:pt x="70809" y="179727"/>
                      </a:moveTo>
                      <a:lnTo>
                        <a:pt x="7144" y="7144"/>
                      </a:lnTo>
                      <a:lnTo>
                        <a:pt x="51454" y="7144"/>
                      </a:lnTo>
                      <a:lnTo>
                        <a:pt x="90097" y="123225"/>
                      </a:lnTo>
                      <a:lnTo>
                        <a:pt x="90726" y="123225"/>
                      </a:lnTo>
                      <a:lnTo>
                        <a:pt x="130445" y="7144"/>
                      </a:lnTo>
                      <a:lnTo>
                        <a:pt x="165497" y="7144"/>
                      </a:lnTo>
                      <a:lnTo>
                        <a:pt x="80363" y="253689"/>
                      </a:lnTo>
                      <a:lnTo>
                        <a:pt x="45387" y="253689"/>
                      </a:lnTo>
                      <a:lnTo>
                        <a:pt x="70809" y="179727"/>
                      </a:lnTo>
                      <a:close/>
                    </a:path>
                  </a:pathLst>
                </a:custGeom>
                <a:solidFill>
                  <a:schemeClr val="bg1"/>
                </a:solidFill>
                <a:ln w="9525" cap="flat">
                  <a:noFill/>
                  <a:prstDash val="solid"/>
                  <a:miter/>
                </a:ln>
              </p:spPr>
              <p:txBody>
                <a:bodyPr rtlCol="0" anchor="ctr"/>
                <a:lstStyle/>
                <a:p>
                  <a:endParaRPr lang="ja-JP" altLang="en-US"/>
                </a:p>
              </p:txBody>
            </p:sp>
          </p:grpSp>
          <p:grpSp>
            <p:nvGrpSpPr>
              <p:cNvPr id="1086" name="グループ化 111"/>
              <p:cNvGrpSpPr>
                <a:grpSpLocks noChangeAspect="1"/>
              </p:cNvGrpSpPr>
              <p:nvPr userDrawn="1"/>
            </p:nvGrpSpPr>
            <p:grpSpPr>
              <a:xfrm>
                <a:off x="2534400" y="6660000"/>
                <a:ext cx="3564000" cy="150760"/>
                <a:chOff x="427811" y="5856214"/>
                <a:chExt cx="3229242" cy="136598"/>
              </a:xfrm>
            </p:grpSpPr>
            <p:sp>
              <p:nvSpPr>
                <p:cNvPr id="1087" name="フリーフォーム: 図形 38"/>
                <p:cNvSpPr/>
                <p:nvPr/>
              </p:nvSpPr>
              <p:spPr>
                <a:xfrm>
                  <a:off x="427811" y="5857776"/>
                  <a:ext cx="104775" cy="104775"/>
                </a:xfrm>
                <a:custGeom>
                  <a:avLst/>
                  <a:gdLst>
                    <a:gd name="connsiteX0" fmla="*/ 7144 w 104775"/>
                    <a:gd name="connsiteY0" fmla="*/ 7144 h 104775"/>
                    <a:gd name="connsiteX1" fmla="*/ 27946 w 104775"/>
                    <a:gd name="connsiteY1" fmla="*/ 7144 h 104775"/>
                    <a:gd name="connsiteX2" fmla="*/ 54959 w 104775"/>
                    <a:gd name="connsiteY2" fmla="*/ 86487 h 104775"/>
                    <a:gd name="connsiteX3" fmla="*/ 55236 w 104775"/>
                    <a:gd name="connsiteY3" fmla="*/ 86487 h 104775"/>
                    <a:gd name="connsiteX4" fmla="*/ 82401 w 104775"/>
                    <a:gd name="connsiteY4" fmla="*/ 7144 h 104775"/>
                    <a:gd name="connsiteX5" fmla="*/ 102480 w 104775"/>
                    <a:gd name="connsiteY5" fmla="*/ 7144 h 104775"/>
                    <a:gd name="connsiteX6" fmla="*/ 102480 w 104775"/>
                    <a:gd name="connsiteY6" fmla="*/ 104737 h 104775"/>
                    <a:gd name="connsiteX7" fmla="*/ 88478 w 104775"/>
                    <a:gd name="connsiteY7" fmla="*/ 104737 h 104775"/>
                    <a:gd name="connsiteX8" fmla="*/ 88478 w 104775"/>
                    <a:gd name="connsiteY8" fmla="*/ 20421 h 104775"/>
                    <a:gd name="connsiteX9" fmla="*/ 88192 w 104775"/>
                    <a:gd name="connsiteY9" fmla="*/ 20421 h 104775"/>
                    <a:gd name="connsiteX10" fmla="*/ 59627 w 104775"/>
                    <a:gd name="connsiteY10" fmla="*/ 104737 h 104775"/>
                    <a:gd name="connsiteX11" fmla="*/ 47730 w 104775"/>
                    <a:gd name="connsiteY11" fmla="*/ 104737 h 104775"/>
                    <a:gd name="connsiteX12" fmla="*/ 19164 w 104775"/>
                    <a:gd name="connsiteY12" fmla="*/ 20421 h 104775"/>
                    <a:gd name="connsiteX13" fmla="*/ 18879 w 104775"/>
                    <a:gd name="connsiteY13" fmla="*/ 20421 h 104775"/>
                    <a:gd name="connsiteX14" fmla="*/ 18879 w 104775"/>
                    <a:gd name="connsiteY14" fmla="*/ 104737 h 104775"/>
                    <a:gd name="connsiteX15" fmla="*/ 7144 w 104775"/>
                    <a:gd name="connsiteY15" fmla="*/ 104737 h 104775"/>
                    <a:gd name="connsiteX16" fmla="*/ 7144 w 104775"/>
                    <a:gd name="connsiteY16"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7144" y="7144"/>
                      </a:moveTo>
                      <a:lnTo>
                        <a:pt x="27946" y="7144"/>
                      </a:lnTo>
                      <a:lnTo>
                        <a:pt x="54959" y="86487"/>
                      </a:lnTo>
                      <a:lnTo>
                        <a:pt x="55236" y="86487"/>
                      </a:lnTo>
                      <a:lnTo>
                        <a:pt x="82401" y="7144"/>
                      </a:lnTo>
                      <a:lnTo>
                        <a:pt x="102480" y="7144"/>
                      </a:lnTo>
                      <a:lnTo>
                        <a:pt x="102480" y="104737"/>
                      </a:lnTo>
                      <a:lnTo>
                        <a:pt x="88478" y="104737"/>
                      </a:lnTo>
                      <a:lnTo>
                        <a:pt x="88478" y="20421"/>
                      </a:lnTo>
                      <a:lnTo>
                        <a:pt x="88192" y="20421"/>
                      </a:lnTo>
                      <a:lnTo>
                        <a:pt x="59627" y="104737"/>
                      </a:lnTo>
                      <a:lnTo>
                        <a:pt x="47730" y="104737"/>
                      </a:lnTo>
                      <a:lnTo>
                        <a:pt x="19164" y="20421"/>
                      </a:lnTo>
                      <a:lnTo>
                        <a:pt x="18879" y="20421"/>
                      </a:lnTo>
                      <a:lnTo>
                        <a:pt x="18879" y="104737"/>
                      </a:lnTo>
                      <a:lnTo>
                        <a:pt x="7144" y="104737"/>
                      </a:lnTo>
                      <a:lnTo>
                        <a:pt x="7144" y="7144"/>
                      </a:lnTo>
                      <a:close/>
                    </a:path>
                  </a:pathLst>
                </a:custGeom>
                <a:solidFill>
                  <a:schemeClr val="bg1"/>
                </a:solidFill>
                <a:ln w="9525" cap="flat">
                  <a:noFill/>
                  <a:prstDash val="solid"/>
                  <a:miter/>
                </a:ln>
              </p:spPr>
              <p:txBody>
                <a:bodyPr rtlCol="0" anchor="ctr"/>
                <a:lstStyle/>
                <a:p>
                  <a:endParaRPr lang="ja-JP" altLang="en-US"/>
                </a:p>
              </p:txBody>
            </p:sp>
            <p:sp>
              <p:nvSpPr>
                <p:cNvPr id="1088" name="フリーフォーム: 図形 39"/>
                <p:cNvSpPr/>
                <p:nvPr/>
              </p:nvSpPr>
              <p:spPr>
                <a:xfrm>
                  <a:off x="545073" y="5857776"/>
                  <a:ext cx="28575" cy="104775"/>
                </a:xfrm>
                <a:custGeom>
                  <a:avLst/>
                  <a:gdLst>
                    <a:gd name="connsiteX0" fmla="*/ 7144 w 28575"/>
                    <a:gd name="connsiteY0" fmla="*/ 7144 h 104775"/>
                    <a:gd name="connsiteX1" fmla="*/ 22565 w 28575"/>
                    <a:gd name="connsiteY1" fmla="*/ 7144 h 104775"/>
                    <a:gd name="connsiteX2" fmla="*/ 22565 w 28575"/>
                    <a:gd name="connsiteY2" fmla="*/ 21279 h 104775"/>
                    <a:gd name="connsiteX3" fmla="*/ 7144 w 28575"/>
                    <a:gd name="connsiteY3" fmla="*/ 21279 h 104775"/>
                    <a:gd name="connsiteX4" fmla="*/ 7144 w 28575"/>
                    <a:gd name="connsiteY4" fmla="*/ 7144 h 104775"/>
                    <a:gd name="connsiteX5" fmla="*/ 7706 w 28575"/>
                    <a:gd name="connsiteY5" fmla="*/ 37405 h 104775"/>
                    <a:gd name="connsiteX6" fmla="*/ 21993 w 28575"/>
                    <a:gd name="connsiteY6" fmla="*/ 37405 h 104775"/>
                    <a:gd name="connsiteX7" fmla="*/ 21993 w 28575"/>
                    <a:gd name="connsiteY7" fmla="*/ 104727 h 104775"/>
                    <a:gd name="connsiteX8" fmla="*/ 7706 w 28575"/>
                    <a:gd name="connsiteY8" fmla="*/ 104727 h 104775"/>
                    <a:gd name="connsiteX9" fmla="*/ 7706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65" y="7144"/>
                      </a:lnTo>
                      <a:lnTo>
                        <a:pt x="22565" y="21279"/>
                      </a:lnTo>
                      <a:lnTo>
                        <a:pt x="7144" y="21279"/>
                      </a:lnTo>
                      <a:lnTo>
                        <a:pt x="7144" y="7144"/>
                      </a:lnTo>
                      <a:close/>
                      <a:moveTo>
                        <a:pt x="7706" y="37405"/>
                      </a:moveTo>
                      <a:lnTo>
                        <a:pt x="21993" y="37405"/>
                      </a:lnTo>
                      <a:lnTo>
                        <a:pt x="21993" y="104727"/>
                      </a:lnTo>
                      <a:lnTo>
                        <a:pt x="7706" y="104727"/>
                      </a:lnTo>
                      <a:lnTo>
                        <a:pt x="7706" y="37405"/>
                      </a:lnTo>
                      <a:close/>
                    </a:path>
                  </a:pathLst>
                </a:custGeom>
                <a:solidFill>
                  <a:schemeClr val="bg1"/>
                </a:solidFill>
                <a:ln w="9525" cap="flat">
                  <a:noFill/>
                  <a:prstDash val="solid"/>
                  <a:miter/>
                </a:ln>
              </p:spPr>
              <p:txBody>
                <a:bodyPr rtlCol="0" anchor="ctr"/>
                <a:lstStyle/>
                <a:p>
                  <a:endParaRPr lang="ja-JP" altLang="en-US"/>
                </a:p>
              </p:txBody>
            </p:sp>
            <p:sp>
              <p:nvSpPr>
                <p:cNvPr id="1089" name="フリーフォーム: 図形 40"/>
                <p:cNvSpPr/>
                <p:nvPr/>
              </p:nvSpPr>
              <p:spPr>
                <a:xfrm>
                  <a:off x="581697"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0 w 66675"/>
                    <a:gd name="connsiteY4" fmla="*/ 7144 h 76200"/>
                    <a:gd name="connsiteX5" fmla="*/ 62303 w 66675"/>
                    <a:gd name="connsiteY5" fmla="*/ 26803 h 76200"/>
                    <a:gd name="connsiteX6" fmla="*/ 62303 w 66675"/>
                    <a:gd name="connsiteY6" fmla="*/ 76029 h 76200"/>
                    <a:gd name="connsiteX7" fmla="*/ 48016 w 66675"/>
                    <a:gd name="connsiteY7" fmla="*/ 76029 h 76200"/>
                    <a:gd name="connsiteX8" fmla="*/ 48016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74" y="19736"/>
                        <a:pt x="30490" y="7144"/>
                        <a:pt x="45330" y="7144"/>
                      </a:cubicBezTo>
                      <a:cubicBezTo>
                        <a:pt x="57217" y="7144"/>
                        <a:pt x="62303" y="17040"/>
                        <a:pt x="62303" y="26803"/>
                      </a:cubicBezTo>
                      <a:lnTo>
                        <a:pt x="62303" y="76029"/>
                      </a:lnTo>
                      <a:lnTo>
                        <a:pt x="48016" y="76029"/>
                      </a:lnTo>
                      <a:lnTo>
                        <a:pt x="48016" y="33871"/>
                      </a:lnTo>
                      <a:cubicBezTo>
                        <a:pt x="48016" y="25384"/>
                        <a:pt x="46739" y="17745"/>
                        <a:pt x="39529" y="17745"/>
                      </a:cubicBezTo>
                      <a:cubicBezTo>
                        <a:pt x="2538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090" name="フリーフォーム: 図形 41"/>
                <p:cNvSpPr/>
                <p:nvPr/>
              </p:nvSpPr>
              <p:spPr>
                <a:xfrm>
                  <a:off x="657945" y="5857776"/>
                  <a:ext cx="28575" cy="104775"/>
                </a:xfrm>
                <a:custGeom>
                  <a:avLst/>
                  <a:gdLst>
                    <a:gd name="connsiteX0" fmla="*/ 7144 w 28575"/>
                    <a:gd name="connsiteY0" fmla="*/ 7144 h 104775"/>
                    <a:gd name="connsiteX1" fmla="*/ 22555 w 28575"/>
                    <a:gd name="connsiteY1" fmla="*/ 7144 h 104775"/>
                    <a:gd name="connsiteX2" fmla="*/ 22555 w 28575"/>
                    <a:gd name="connsiteY2" fmla="*/ 21279 h 104775"/>
                    <a:gd name="connsiteX3" fmla="*/ 7144 w 28575"/>
                    <a:gd name="connsiteY3" fmla="*/ 21279 h 104775"/>
                    <a:gd name="connsiteX4" fmla="*/ 7144 w 28575"/>
                    <a:gd name="connsiteY4" fmla="*/ 7144 h 104775"/>
                    <a:gd name="connsiteX5" fmla="*/ 7715 w 28575"/>
                    <a:gd name="connsiteY5" fmla="*/ 37405 h 104775"/>
                    <a:gd name="connsiteX6" fmla="*/ 22003 w 28575"/>
                    <a:gd name="connsiteY6" fmla="*/ 37405 h 104775"/>
                    <a:gd name="connsiteX7" fmla="*/ 22003 w 28575"/>
                    <a:gd name="connsiteY7" fmla="*/ 104727 h 104775"/>
                    <a:gd name="connsiteX8" fmla="*/ 7715 w 28575"/>
                    <a:gd name="connsiteY8" fmla="*/ 104727 h 104775"/>
                    <a:gd name="connsiteX9" fmla="*/ 7715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55" y="7144"/>
                      </a:lnTo>
                      <a:lnTo>
                        <a:pt x="22555" y="21279"/>
                      </a:lnTo>
                      <a:lnTo>
                        <a:pt x="7144" y="21279"/>
                      </a:lnTo>
                      <a:lnTo>
                        <a:pt x="7144" y="7144"/>
                      </a:lnTo>
                      <a:close/>
                      <a:moveTo>
                        <a:pt x="7715" y="37405"/>
                      </a:moveTo>
                      <a:lnTo>
                        <a:pt x="22003" y="37405"/>
                      </a:lnTo>
                      <a:lnTo>
                        <a:pt x="22003" y="104727"/>
                      </a:lnTo>
                      <a:lnTo>
                        <a:pt x="7715" y="104727"/>
                      </a:lnTo>
                      <a:lnTo>
                        <a:pt x="7715" y="37405"/>
                      </a:lnTo>
                      <a:close/>
                    </a:path>
                  </a:pathLst>
                </a:custGeom>
                <a:solidFill>
                  <a:schemeClr val="bg1"/>
                </a:solidFill>
                <a:ln w="9525" cap="flat">
                  <a:noFill/>
                  <a:prstDash val="solid"/>
                  <a:miter/>
                </a:ln>
              </p:spPr>
              <p:txBody>
                <a:bodyPr rtlCol="0" anchor="ctr"/>
                <a:lstStyle/>
                <a:p>
                  <a:endParaRPr lang="ja-JP" altLang="en-US"/>
                </a:p>
              </p:txBody>
            </p:sp>
            <p:sp>
              <p:nvSpPr>
                <p:cNvPr id="1091" name="フリーフォーム: 図形 42"/>
                <p:cNvSpPr/>
                <p:nvPr/>
              </p:nvSpPr>
              <p:spPr>
                <a:xfrm>
                  <a:off x="691606" y="5886465"/>
                  <a:ext cx="57150" cy="76200"/>
                </a:xfrm>
                <a:custGeom>
                  <a:avLst/>
                  <a:gdLst>
                    <a:gd name="connsiteX0" fmla="*/ 46606 w 57150"/>
                    <a:gd name="connsiteY0" fmla="*/ 22003 h 76200"/>
                    <a:gd name="connsiteX1" fmla="*/ 29642 w 57150"/>
                    <a:gd name="connsiteY1" fmla="*/ 15364 h 76200"/>
                    <a:gd name="connsiteX2" fmla="*/ 20021 w 57150"/>
                    <a:gd name="connsiteY2" fmla="*/ 22431 h 76200"/>
                    <a:gd name="connsiteX3" fmla="*/ 50854 w 57150"/>
                    <a:gd name="connsiteY3" fmla="*/ 57236 h 76200"/>
                    <a:gd name="connsiteX4" fmla="*/ 25251 w 57150"/>
                    <a:gd name="connsiteY4" fmla="*/ 77591 h 76200"/>
                    <a:gd name="connsiteX5" fmla="*/ 7277 w 57150"/>
                    <a:gd name="connsiteY5" fmla="*/ 74628 h 76200"/>
                    <a:gd name="connsiteX6" fmla="*/ 7277 w 57150"/>
                    <a:gd name="connsiteY6" fmla="*/ 61474 h 76200"/>
                    <a:gd name="connsiteX7" fmla="*/ 25946 w 57150"/>
                    <a:gd name="connsiteY7" fmla="*/ 68542 h 76200"/>
                    <a:gd name="connsiteX8" fmla="*/ 37548 w 57150"/>
                    <a:gd name="connsiteY8" fmla="*/ 60055 h 76200"/>
                    <a:gd name="connsiteX9" fmla="*/ 7144 w 57150"/>
                    <a:gd name="connsiteY9" fmla="*/ 26527 h 76200"/>
                    <a:gd name="connsiteX10" fmla="*/ 30756 w 57150"/>
                    <a:gd name="connsiteY10" fmla="*/ 7144 h 76200"/>
                    <a:gd name="connsiteX11" fmla="*/ 46596 w 57150"/>
                    <a:gd name="connsiteY11" fmla="*/ 9820 h 76200"/>
                    <a:gd name="connsiteX12" fmla="*/ 4659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06" y="22003"/>
                      </a:moveTo>
                      <a:cubicBezTo>
                        <a:pt x="41796" y="18745"/>
                        <a:pt x="36433" y="15364"/>
                        <a:pt x="29642" y="15364"/>
                      </a:cubicBezTo>
                      <a:cubicBezTo>
                        <a:pt x="25108" y="15364"/>
                        <a:pt x="20021" y="17336"/>
                        <a:pt x="20021" y="22431"/>
                      </a:cubicBezTo>
                      <a:cubicBezTo>
                        <a:pt x="20021" y="34595"/>
                        <a:pt x="50854" y="35728"/>
                        <a:pt x="50854" y="57236"/>
                      </a:cubicBezTo>
                      <a:cubicBezTo>
                        <a:pt x="50854" y="71656"/>
                        <a:pt x="39538" y="77591"/>
                        <a:pt x="25251" y="77591"/>
                      </a:cubicBezTo>
                      <a:cubicBezTo>
                        <a:pt x="16621" y="77591"/>
                        <a:pt x="10678" y="75771"/>
                        <a:pt x="7277" y="74628"/>
                      </a:cubicBezTo>
                      <a:lnTo>
                        <a:pt x="7277" y="61474"/>
                      </a:lnTo>
                      <a:cubicBezTo>
                        <a:pt x="11382" y="64303"/>
                        <a:pt x="18031" y="68542"/>
                        <a:pt x="25946" y="68542"/>
                      </a:cubicBezTo>
                      <a:cubicBezTo>
                        <a:pt x="34147" y="68542"/>
                        <a:pt x="37548" y="64303"/>
                        <a:pt x="37548" y="60055"/>
                      </a:cubicBezTo>
                      <a:cubicBezTo>
                        <a:pt x="37548" y="48168"/>
                        <a:pt x="7144" y="45768"/>
                        <a:pt x="7144" y="26527"/>
                      </a:cubicBezTo>
                      <a:cubicBezTo>
                        <a:pt x="7144" y="16335"/>
                        <a:pt x="13935" y="7144"/>
                        <a:pt x="30756" y="7144"/>
                      </a:cubicBezTo>
                      <a:cubicBezTo>
                        <a:pt x="37976" y="7144"/>
                        <a:pt x="44196" y="9115"/>
                        <a:pt x="46596" y="9820"/>
                      </a:cubicBezTo>
                      <a:lnTo>
                        <a:pt x="46596" y="22003"/>
                      </a:lnTo>
                      <a:close/>
                    </a:path>
                  </a:pathLst>
                </a:custGeom>
                <a:solidFill>
                  <a:schemeClr val="bg1"/>
                </a:solidFill>
                <a:ln w="9525" cap="flat">
                  <a:noFill/>
                  <a:prstDash val="solid"/>
                  <a:miter/>
                </a:ln>
              </p:spPr>
              <p:txBody>
                <a:bodyPr rtlCol="0" anchor="ctr"/>
                <a:lstStyle/>
                <a:p>
                  <a:endParaRPr lang="ja-JP" altLang="en-US"/>
                </a:p>
              </p:txBody>
            </p:sp>
            <p:sp>
              <p:nvSpPr>
                <p:cNvPr id="1092" name="フリーフォーム: 図形 43"/>
                <p:cNvSpPr/>
                <p:nvPr/>
              </p:nvSpPr>
              <p:spPr>
                <a:xfrm>
                  <a:off x="745356" y="5863567"/>
                  <a:ext cx="57150" cy="104775"/>
                </a:xfrm>
                <a:custGeom>
                  <a:avLst/>
                  <a:gdLst>
                    <a:gd name="connsiteX0" fmla="*/ 49016 w 57150"/>
                    <a:gd name="connsiteY0" fmla="*/ 99498 h 104775"/>
                    <a:gd name="connsiteX1" fmla="*/ 39119 w 57150"/>
                    <a:gd name="connsiteY1" fmla="*/ 100489 h 104775"/>
                    <a:gd name="connsiteX2" fmla="*/ 17897 w 57150"/>
                    <a:gd name="connsiteY2" fmla="*/ 83372 h 104775"/>
                    <a:gd name="connsiteX3" fmla="*/ 17897 w 57150"/>
                    <a:gd name="connsiteY3" fmla="*/ 38967 h 104775"/>
                    <a:gd name="connsiteX4" fmla="*/ 7144 w 57150"/>
                    <a:gd name="connsiteY4" fmla="*/ 38967 h 104775"/>
                    <a:gd name="connsiteX5" fmla="*/ 7144 w 57150"/>
                    <a:gd name="connsiteY5" fmla="*/ 31623 h 104775"/>
                    <a:gd name="connsiteX6" fmla="*/ 17897 w 57150"/>
                    <a:gd name="connsiteY6" fmla="*/ 31623 h 104775"/>
                    <a:gd name="connsiteX7" fmla="*/ 17897 w 57150"/>
                    <a:gd name="connsiteY7" fmla="*/ 15773 h 104775"/>
                    <a:gd name="connsiteX8" fmla="*/ 32185 w 57150"/>
                    <a:gd name="connsiteY8" fmla="*/ 7144 h 104775"/>
                    <a:gd name="connsiteX9" fmla="*/ 32185 w 57150"/>
                    <a:gd name="connsiteY9" fmla="*/ 31623 h 104775"/>
                    <a:gd name="connsiteX10" fmla="*/ 50568 w 57150"/>
                    <a:gd name="connsiteY10" fmla="*/ 31623 h 104775"/>
                    <a:gd name="connsiteX11" fmla="*/ 50568 w 57150"/>
                    <a:gd name="connsiteY11" fmla="*/ 38967 h 104775"/>
                    <a:gd name="connsiteX12" fmla="*/ 32185 w 57150"/>
                    <a:gd name="connsiteY12" fmla="*/ 38967 h 104775"/>
                    <a:gd name="connsiteX13" fmla="*/ 32185 w 57150"/>
                    <a:gd name="connsiteY13" fmla="*/ 77714 h 104775"/>
                    <a:gd name="connsiteX14" fmla="*/ 42367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77" y="100489"/>
                        <a:pt x="39119" y="100489"/>
                      </a:cubicBezTo>
                      <a:cubicBezTo>
                        <a:pt x="25679" y="100489"/>
                        <a:pt x="17897" y="96393"/>
                        <a:pt x="17897" y="83372"/>
                      </a:cubicBezTo>
                      <a:lnTo>
                        <a:pt x="17897" y="38967"/>
                      </a:lnTo>
                      <a:lnTo>
                        <a:pt x="7144" y="38967"/>
                      </a:lnTo>
                      <a:lnTo>
                        <a:pt x="7144" y="31623"/>
                      </a:lnTo>
                      <a:lnTo>
                        <a:pt x="17897" y="31623"/>
                      </a:lnTo>
                      <a:lnTo>
                        <a:pt x="17897" y="15773"/>
                      </a:lnTo>
                      <a:lnTo>
                        <a:pt x="32185" y="7144"/>
                      </a:lnTo>
                      <a:lnTo>
                        <a:pt x="32185" y="31623"/>
                      </a:lnTo>
                      <a:lnTo>
                        <a:pt x="50568" y="31623"/>
                      </a:lnTo>
                      <a:lnTo>
                        <a:pt x="50568" y="38967"/>
                      </a:lnTo>
                      <a:lnTo>
                        <a:pt x="32185" y="38967"/>
                      </a:lnTo>
                      <a:lnTo>
                        <a:pt x="32185" y="77714"/>
                      </a:lnTo>
                      <a:cubicBezTo>
                        <a:pt x="32185" y="87611"/>
                        <a:pt x="33176" y="92430"/>
                        <a:pt x="42367" y="92430"/>
                      </a:cubicBezTo>
                      <a:cubicBezTo>
                        <a:pt x="44625" y="92430"/>
                        <a:pt x="47034" y="92154"/>
                        <a:pt x="49006" y="91297"/>
                      </a:cubicBezTo>
                      <a:lnTo>
                        <a:pt x="49006" y="99498"/>
                      </a:lnTo>
                      <a:close/>
                    </a:path>
                  </a:pathLst>
                </a:custGeom>
                <a:solidFill>
                  <a:schemeClr val="bg1"/>
                </a:solidFill>
                <a:ln w="9525" cap="flat">
                  <a:noFill/>
                  <a:prstDash val="solid"/>
                  <a:miter/>
                </a:ln>
              </p:spPr>
              <p:txBody>
                <a:bodyPr rtlCol="0" anchor="ctr"/>
                <a:lstStyle/>
                <a:p>
                  <a:endParaRPr lang="ja-JP" altLang="en-US"/>
                </a:p>
              </p:txBody>
            </p:sp>
            <p:sp>
              <p:nvSpPr>
                <p:cNvPr id="1093" name="フリーフォーム: 図形 44"/>
                <p:cNvSpPr/>
                <p:nvPr/>
              </p:nvSpPr>
              <p:spPr>
                <a:xfrm>
                  <a:off x="801515"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094" name="フリーフォーム: 図形 45"/>
                <p:cNvSpPr/>
                <p:nvPr/>
              </p:nvSpPr>
              <p:spPr>
                <a:xfrm>
                  <a:off x="841253" y="5888037"/>
                  <a:ext cx="76200" cy="104775"/>
                </a:xfrm>
                <a:custGeom>
                  <a:avLst/>
                  <a:gdLst>
                    <a:gd name="connsiteX0" fmla="*/ 33033 w 76200"/>
                    <a:gd name="connsiteY0" fmla="*/ 75181 h 104775"/>
                    <a:gd name="connsiteX1" fmla="*/ 7144 w 76200"/>
                    <a:gd name="connsiteY1" fmla="*/ 7144 h 104775"/>
                    <a:gd name="connsiteX2" fmla="*/ 22003 w 76200"/>
                    <a:gd name="connsiteY2" fmla="*/ 7144 h 104775"/>
                    <a:gd name="connsiteX3" fmla="*/ 39681 w 76200"/>
                    <a:gd name="connsiteY3" fmla="*/ 55235 h 104775"/>
                    <a:gd name="connsiteX4" fmla="*/ 39957 w 76200"/>
                    <a:gd name="connsiteY4" fmla="*/ 55235 h 104775"/>
                    <a:gd name="connsiteX5" fmla="*/ 55797 w 76200"/>
                    <a:gd name="connsiteY5" fmla="*/ 7144 h 104775"/>
                    <a:gd name="connsiteX6" fmla="*/ 69237 w 76200"/>
                    <a:gd name="connsiteY6" fmla="*/ 7144 h 104775"/>
                    <a:gd name="connsiteX7" fmla="*/ 34576 w 76200"/>
                    <a:gd name="connsiteY7" fmla="*/ 104737 h 104775"/>
                    <a:gd name="connsiteX8" fmla="*/ 23117 w 76200"/>
                    <a:gd name="connsiteY8" fmla="*/ 104737 h 104775"/>
                    <a:gd name="connsiteX9" fmla="*/ 33033 w 76200"/>
                    <a:gd name="connsiteY9" fmla="*/ 7518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104775">
                      <a:moveTo>
                        <a:pt x="33033" y="75181"/>
                      </a:moveTo>
                      <a:lnTo>
                        <a:pt x="7144" y="7144"/>
                      </a:lnTo>
                      <a:lnTo>
                        <a:pt x="22003" y="7144"/>
                      </a:lnTo>
                      <a:lnTo>
                        <a:pt x="39681" y="55235"/>
                      </a:lnTo>
                      <a:lnTo>
                        <a:pt x="39957" y="55235"/>
                      </a:lnTo>
                      <a:lnTo>
                        <a:pt x="55797" y="7144"/>
                      </a:lnTo>
                      <a:lnTo>
                        <a:pt x="69237" y="7144"/>
                      </a:lnTo>
                      <a:lnTo>
                        <a:pt x="34576" y="104737"/>
                      </a:lnTo>
                      <a:lnTo>
                        <a:pt x="23117" y="104737"/>
                      </a:lnTo>
                      <a:lnTo>
                        <a:pt x="33033" y="75181"/>
                      </a:lnTo>
                      <a:close/>
                    </a:path>
                  </a:pathLst>
                </a:custGeom>
                <a:solidFill>
                  <a:schemeClr val="bg1"/>
                </a:solidFill>
                <a:ln w="9525" cap="flat">
                  <a:noFill/>
                  <a:prstDash val="solid"/>
                  <a:miter/>
                </a:ln>
              </p:spPr>
              <p:txBody>
                <a:bodyPr rtlCol="0" anchor="ctr"/>
                <a:lstStyle/>
                <a:p>
                  <a:endParaRPr lang="ja-JP" altLang="en-US"/>
                </a:p>
              </p:txBody>
            </p:sp>
            <p:sp>
              <p:nvSpPr>
                <p:cNvPr id="1095" name="フリーフォーム: 図形 46"/>
                <p:cNvSpPr/>
                <p:nvPr/>
              </p:nvSpPr>
              <p:spPr>
                <a:xfrm>
                  <a:off x="948762" y="5886475"/>
                  <a:ext cx="66675" cy="76200"/>
                </a:xfrm>
                <a:custGeom>
                  <a:avLst/>
                  <a:gdLst>
                    <a:gd name="connsiteX0" fmla="*/ 7144 w 66675"/>
                    <a:gd name="connsiteY0" fmla="*/ 42358 h 76200"/>
                    <a:gd name="connsiteX1" fmla="*/ 36843 w 66675"/>
                    <a:gd name="connsiteY1" fmla="*/ 7144 h 76200"/>
                    <a:gd name="connsiteX2" fmla="*/ 66694 w 66675"/>
                    <a:gd name="connsiteY2" fmla="*/ 42358 h 76200"/>
                    <a:gd name="connsiteX3" fmla="*/ 36843 w 66675"/>
                    <a:gd name="connsiteY3" fmla="*/ 77571 h 76200"/>
                    <a:gd name="connsiteX4" fmla="*/ 7144 w 66675"/>
                    <a:gd name="connsiteY4" fmla="*/ 42358 h 76200"/>
                    <a:gd name="connsiteX5" fmla="*/ 36843 w 66675"/>
                    <a:gd name="connsiteY5" fmla="*/ 71647 h 76200"/>
                    <a:gd name="connsiteX6" fmla="*/ 51130 w 66675"/>
                    <a:gd name="connsiteY6" fmla="*/ 42367 h 76200"/>
                    <a:gd name="connsiteX7" fmla="*/ 36843 w 66675"/>
                    <a:gd name="connsiteY7" fmla="*/ 13087 h 76200"/>
                    <a:gd name="connsiteX8" fmla="*/ 22708 w 66675"/>
                    <a:gd name="connsiteY8" fmla="*/ 42367 h 76200"/>
                    <a:gd name="connsiteX9" fmla="*/ 36843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40" y="7144"/>
                        <a:pt x="36843" y="7144"/>
                      </a:cubicBezTo>
                      <a:cubicBezTo>
                        <a:pt x="56645" y="7144"/>
                        <a:pt x="66694" y="19593"/>
                        <a:pt x="66694" y="42358"/>
                      </a:cubicBezTo>
                      <a:cubicBezTo>
                        <a:pt x="66694" y="65122"/>
                        <a:pt x="56645" y="77571"/>
                        <a:pt x="36843" y="77571"/>
                      </a:cubicBezTo>
                      <a:cubicBezTo>
                        <a:pt x="17040" y="77571"/>
                        <a:pt x="7144" y="65132"/>
                        <a:pt x="7144" y="42358"/>
                      </a:cubicBezTo>
                      <a:close/>
                      <a:moveTo>
                        <a:pt x="36843" y="71647"/>
                      </a:moveTo>
                      <a:cubicBezTo>
                        <a:pt x="49578" y="71647"/>
                        <a:pt x="51130" y="54683"/>
                        <a:pt x="51130" y="42367"/>
                      </a:cubicBezTo>
                      <a:cubicBezTo>
                        <a:pt x="51130" y="30070"/>
                        <a:pt x="49578" y="13087"/>
                        <a:pt x="36843" y="13087"/>
                      </a:cubicBezTo>
                      <a:cubicBezTo>
                        <a:pt x="24260" y="13087"/>
                        <a:pt x="22708" y="30070"/>
                        <a:pt x="22708" y="42367"/>
                      </a:cubicBezTo>
                      <a:cubicBezTo>
                        <a:pt x="22698" y="54673"/>
                        <a:pt x="24251" y="71647"/>
                        <a:pt x="36843" y="71647"/>
                      </a:cubicBezTo>
                      <a:close/>
                    </a:path>
                  </a:pathLst>
                </a:custGeom>
                <a:solidFill>
                  <a:schemeClr val="bg1"/>
                </a:solidFill>
                <a:ln w="9525" cap="flat">
                  <a:noFill/>
                  <a:prstDash val="solid"/>
                  <a:miter/>
                </a:ln>
              </p:spPr>
              <p:txBody>
                <a:bodyPr rtlCol="0" anchor="ctr"/>
                <a:lstStyle/>
                <a:p>
                  <a:endParaRPr lang="ja-JP" altLang="en-US"/>
                </a:p>
              </p:txBody>
            </p:sp>
            <p:sp>
              <p:nvSpPr>
                <p:cNvPr id="1096" name="フリーフォーム: 図形 47"/>
                <p:cNvSpPr/>
                <p:nvPr/>
              </p:nvSpPr>
              <p:spPr>
                <a:xfrm>
                  <a:off x="1017637" y="5856214"/>
                  <a:ext cx="57150" cy="104775"/>
                </a:xfrm>
                <a:custGeom>
                  <a:avLst/>
                  <a:gdLst>
                    <a:gd name="connsiteX0" fmla="*/ 18878 w 57150"/>
                    <a:gd name="connsiteY0" fmla="*/ 46320 h 104775"/>
                    <a:gd name="connsiteX1" fmla="*/ 7144 w 57150"/>
                    <a:gd name="connsiteY1" fmla="*/ 46320 h 104775"/>
                    <a:gd name="connsiteX2" fmla="*/ 7144 w 57150"/>
                    <a:gd name="connsiteY2" fmla="*/ 38976 h 104775"/>
                    <a:gd name="connsiteX3" fmla="*/ 18878 w 57150"/>
                    <a:gd name="connsiteY3" fmla="*/ 38976 h 104775"/>
                    <a:gd name="connsiteX4" fmla="*/ 18878 w 57150"/>
                    <a:gd name="connsiteY4" fmla="*/ 32613 h 104775"/>
                    <a:gd name="connsiteX5" fmla="*/ 44482 w 57150"/>
                    <a:gd name="connsiteY5" fmla="*/ 7144 h 104775"/>
                    <a:gd name="connsiteX6" fmla="*/ 58769 w 57150"/>
                    <a:gd name="connsiteY6" fmla="*/ 8706 h 104775"/>
                    <a:gd name="connsiteX7" fmla="*/ 58769 w 57150"/>
                    <a:gd name="connsiteY7" fmla="*/ 18450 h 104775"/>
                    <a:gd name="connsiteX8" fmla="*/ 46177 w 57150"/>
                    <a:gd name="connsiteY8" fmla="*/ 15345 h 104775"/>
                    <a:gd name="connsiteX9" fmla="*/ 33166 w 57150"/>
                    <a:gd name="connsiteY9" fmla="*/ 30899 h 104775"/>
                    <a:gd name="connsiteX10" fmla="*/ 33166 w 57150"/>
                    <a:gd name="connsiteY10" fmla="*/ 38976 h 104775"/>
                    <a:gd name="connsiteX11" fmla="*/ 52264 w 57150"/>
                    <a:gd name="connsiteY11" fmla="*/ 38976 h 104775"/>
                    <a:gd name="connsiteX12" fmla="*/ 52264 w 57150"/>
                    <a:gd name="connsiteY12" fmla="*/ 46320 h 104775"/>
                    <a:gd name="connsiteX13" fmla="*/ 33166 w 57150"/>
                    <a:gd name="connsiteY13" fmla="*/ 46320 h 104775"/>
                    <a:gd name="connsiteX14" fmla="*/ 33166 w 57150"/>
                    <a:gd name="connsiteY14" fmla="*/ 106299 h 104775"/>
                    <a:gd name="connsiteX15" fmla="*/ 18878 w 57150"/>
                    <a:gd name="connsiteY15" fmla="*/ 106299 h 104775"/>
                    <a:gd name="connsiteX16" fmla="*/ 18878 w 57150"/>
                    <a:gd name="connsiteY16" fmla="*/ 463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18878" y="46320"/>
                      </a:moveTo>
                      <a:lnTo>
                        <a:pt x="7144" y="46320"/>
                      </a:lnTo>
                      <a:lnTo>
                        <a:pt x="7144" y="38976"/>
                      </a:lnTo>
                      <a:lnTo>
                        <a:pt x="18878" y="38976"/>
                      </a:lnTo>
                      <a:lnTo>
                        <a:pt x="18878" y="32613"/>
                      </a:lnTo>
                      <a:cubicBezTo>
                        <a:pt x="18878" y="20145"/>
                        <a:pt x="21860" y="7144"/>
                        <a:pt x="44482" y="7144"/>
                      </a:cubicBezTo>
                      <a:cubicBezTo>
                        <a:pt x="50273" y="7144"/>
                        <a:pt x="55378" y="8001"/>
                        <a:pt x="58769" y="8706"/>
                      </a:cubicBezTo>
                      <a:lnTo>
                        <a:pt x="58769" y="18450"/>
                      </a:lnTo>
                      <a:cubicBezTo>
                        <a:pt x="55788" y="17183"/>
                        <a:pt x="51978" y="15345"/>
                        <a:pt x="46177" y="15345"/>
                      </a:cubicBezTo>
                      <a:cubicBezTo>
                        <a:pt x="34576" y="15345"/>
                        <a:pt x="33166" y="23698"/>
                        <a:pt x="33166" y="30899"/>
                      </a:cubicBezTo>
                      <a:lnTo>
                        <a:pt x="33166" y="38976"/>
                      </a:lnTo>
                      <a:lnTo>
                        <a:pt x="52264" y="38976"/>
                      </a:lnTo>
                      <a:lnTo>
                        <a:pt x="52264" y="46320"/>
                      </a:lnTo>
                      <a:lnTo>
                        <a:pt x="33166" y="46320"/>
                      </a:lnTo>
                      <a:lnTo>
                        <a:pt x="33166" y="106299"/>
                      </a:lnTo>
                      <a:lnTo>
                        <a:pt x="18878" y="106299"/>
                      </a:lnTo>
                      <a:lnTo>
                        <a:pt x="18878" y="46320"/>
                      </a:lnTo>
                      <a:close/>
                    </a:path>
                  </a:pathLst>
                </a:custGeom>
                <a:solidFill>
                  <a:schemeClr val="bg1"/>
                </a:solidFill>
                <a:ln w="9525" cap="flat">
                  <a:noFill/>
                  <a:prstDash val="solid"/>
                  <a:miter/>
                </a:ln>
              </p:spPr>
              <p:txBody>
                <a:bodyPr rtlCol="0" anchor="ctr"/>
                <a:lstStyle/>
                <a:p>
                  <a:endParaRPr lang="ja-JP" altLang="en-US"/>
                </a:p>
              </p:txBody>
            </p:sp>
            <p:sp>
              <p:nvSpPr>
                <p:cNvPr id="1097" name="フリーフォーム: 図形 48"/>
                <p:cNvSpPr/>
                <p:nvPr/>
              </p:nvSpPr>
              <p:spPr>
                <a:xfrm>
                  <a:off x="1114811" y="5857776"/>
                  <a:ext cx="57150" cy="104775"/>
                </a:xfrm>
                <a:custGeom>
                  <a:avLst/>
                  <a:gdLst>
                    <a:gd name="connsiteX0" fmla="*/ 7144 w 57150"/>
                    <a:gd name="connsiteY0" fmla="*/ 7144 h 104775"/>
                    <a:gd name="connsiteX1" fmla="*/ 22708 w 57150"/>
                    <a:gd name="connsiteY1" fmla="*/ 7144 h 104775"/>
                    <a:gd name="connsiteX2" fmla="*/ 22708 w 57150"/>
                    <a:gd name="connsiteY2" fmla="*/ 94545 h 104775"/>
                    <a:gd name="connsiteX3" fmla="*/ 58769 w 57150"/>
                    <a:gd name="connsiteY3" fmla="*/ 94545 h 104775"/>
                    <a:gd name="connsiteX4" fmla="*/ 58769 w 57150"/>
                    <a:gd name="connsiteY4" fmla="*/ 104737 h 104775"/>
                    <a:gd name="connsiteX5" fmla="*/ 7144 w 57150"/>
                    <a:gd name="connsiteY5" fmla="*/ 104737 h 104775"/>
                    <a:gd name="connsiteX6" fmla="*/ 7144 w 57150"/>
                    <a:gd name="connsiteY6"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04775">
                      <a:moveTo>
                        <a:pt x="7144" y="7144"/>
                      </a:moveTo>
                      <a:lnTo>
                        <a:pt x="22708" y="7144"/>
                      </a:lnTo>
                      <a:lnTo>
                        <a:pt x="22708" y="94545"/>
                      </a:lnTo>
                      <a:lnTo>
                        <a:pt x="58769" y="94545"/>
                      </a:lnTo>
                      <a:lnTo>
                        <a:pt x="58769" y="104737"/>
                      </a:lnTo>
                      <a:lnTo>
                        <a:pt x="7144" y="104737"/>
                      </a:lnTo>
                      <a:lnTo>
                        <a:pt x="7144" y="7144"/>
                      </a:lnTo>
                      <a:close/>
                    </a:path>
                  </a:pathLst>
                </a:custGeom>
                <a:solidFill>
                  <a:schemeClr val="bg1"/>
                </a:solidFill>
                <a:ln w="9525" cap="flat">
                  <a:noFill/>
                  <a:prstDash val="solid"/>
                  <a:miter/>
                </a:ln>
              </p:spPr>
              <p:txBody>
                <a:bodyPr rtlCol="0" anchor="ctr"/>
                <a:lstStyle/>
                <a:p>
                  <a:endParaRPr lang="ja-JP" altLang="en-US"/>
                </a:p>
              </p:txBody>
            </p:sp>
            <p:sp>
              <p:nvSpPr>
                <p:cNvPr id="1098" name="フリーフォーム: 図形 49"/>
                <p:cNvSpPr/>
                <p:nvPr/>
              </p:nvSpPr>
              <p:spPr>
                <a:xfrm>
                  <a:off x="1172523" y="5886475"/>
                  <a:ext cx="57150" cy="76200"/>
                </a:xfrm>
                <a:custGeom>
                  <a:avLst/>
                  <a:gdLst>
                    <a:gd name="connsiteX0" fmla="*/ 44768 w 57150"/>
                    <a:gd name="connsiteY0" fmla="*/ 66694 h 76200"/>
                    <a:gd name="connsiteX1" fmla="*/ 44491 w 57150"/>
                    <a:gd name="connsiteY1" fmla="*/ 66694 h 76200"/>
                    <a:gd name="connsiteX2" fmla="*/ 25537 w 57150"/>
                    <a:gd name="connsiteY2" fmla="*/ 77581 h 76200"/>
                    <a:gd name="connsiteX3" fmla="*/ 7144 w 57150"/>
                    <a:gd name="connsiteY3" fmla="*/ 60760 h 76200"/>
                    <a:gd name="connsiteX4" fmla="*/ 44768 w 57150"/>
                    <a:gd name="connsiteY4" fmla="*/ 38548 h 76200"/>
                    <a:gd name="connsiteX5" fmla="*/ 44768 w 57150"/>
                    <a:gd name="connsiteY5" fmla="*/ 32613 h 76200"/>
                    <a:gd name="connsiteX6" fmla="*/ 35290 w 57150"/>
                    <a:gd name="connsiteY6" fmla="*/ 13078 h 76200"/>
                    <a:gd name="connsiteX7" fmla="*/ 24394 w 57150"/>
                    <a:gd name="connsiteY7" fmla="*/ 27794 h 76200"/>
                    <a:gd name="connsiteX8" fmla="*/ 9401 w 57150"/>
                    <a:gd name="connsiteY8" fmla="*/ 27794 h 76200"/>
                    <a:gd name="connsiteX9" fmla="*/ 35290 w 57150"/>
                    <a:gd name="connsiteY9" fmla="*/ 7144 h 76200"/>
                    <a:gd name="connsiteX10" fmla="*/ 59055 w 57150"/>
                    <a:gd name="connsiteY10" fmla="*/ 32613 h 76200"/>
                    <a:gd name="connsiteX11" fmla="*/ 59055 w 57150"/>
                    <a:gd name="connsiteY11" fmla="*/ 76038 h 76200"/>
                    <a:gd name="connsiteX12" fmla="*/ 44768 w 57150"/>
                    <a:gd name="connsiteY12" fmla="*/ 76038 h 76200"/>
                    <a:gd name="connsiteX13" fmla="*/ 44768 w 57150"/>
                    <a:gd name="connsiteY13" fmla="*/ 66694 h 76200"/>
                    <a:gd name="connsiteX14" fmla="*/ 44768 w 57150"/>
                    <a:gd name="connsiteY14" fmla="*/ 44482 h 76200"/>
                    <a:gd name="connsiteX15" fmla="*/ 22708 w 57150"/>
                    <a:gd name="connsiteY15" fmla="*/ 58636 h 76200"/>
                    <a:gd name="connsiteX16" fmla="*/ 30909 w 57150"/>
                    <a:gd name="connsiteY16" fmla="*/ 68666 h 76200"/>
                    <a:gd name="connsiteX17" fmla="*/ 44768 w 57150"/>
                    <a:gd name="connsiteY17" fmla="*/ 52406 h 76200"/>
                    <a:gd name="connsiteX18" fmla="*/ 44768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68" y="66694"/>
                      </a:moveTo>
                      <a:lnTo>
                        <a:pt x="44491" y="66694"/>
                      </a:lnTo>
                      <a:cubicBezTo>
                        <a:pt x="42224" y="70656"/>
                        <a:pt x="36290" y="77581"/>
                        <a:pt x="25537" y="77581"/>
                      </a:cubicBezTo>
                      <a:cubicBezTo>
                        <a:pt x="14926" y="77581"/>
                        <a:pt x="7144" y="70085"/>
                        <a:pt x="7144" y="60760"/>
                      </a:cubicBezTo>
                      <a:cubicBezTo>
                        <a:pt x="7144" y="39957"/>
                        <a:pt x="35862" y="38976"/>
                        <a:pt x="44768" y="38548"/>
                      </a:cubicBezTo>
                      <a:lnTo>
                        <a:pt x="44768" y="32613"/>
                      </a:lnTo>
                      <a:cubicBezTo>
                        <a:pt x="44768" y="25251"/>
                        <a:pt x="44768" y="13078"/>
                        <a:pt x="35290" y="13078"/>
                      </a:cubicBezTo>
                      <a:cubicBezTo>
                        <a:pt x="26518" y="13078"/>
                        <a:pt x="24965" y="19869"/>
                        <a:pt x="24394" y="27794"/>
                      </a:cubicBezTo>
                      <a:lnTo>
                        <a:pt x="9401" y="27794"/>
                      </a:lnTo>
                      <a:cubicBezTo>
                        <a:pt x="10106" y="17745"/>
                        <a:pt x="14069" y="7144"/>
                        <a:pt x="35290" y="7144"/>
                      </a:cubicBezTo>
                      <a:cubicBezTo>
                        <a:pt x="57217" y="7144"/>
                        <a:pt x="59055" y="19440"/>
                        <a:pt x="59055" y="32613"/>
                      </a:cubicBezTo>
                      <a:lnTo>
                        <a:pt x="59055" y="76038"/>
                      </a:lnTo>
                      <a:lnTo>
                        <a:pt x="44768" y="76038"/>
                      </a:lnTo>
                      <a:lnTo>
                        <a:pt x="44768" y="66694"/>
                      </a:lnTo>
                      <a:close/>
                      <a:moveTo>
                        <a:pt x="44768" y="44482"/>
                      </a:moveTo>
                      <a:cubicBezTo>
                        <a:pt x="38824" y="44910"/>
                        <a:pt x="22708" y="46177"/>
                        <a:pt x="22708" y="58636"/>
                      </a:cubicBezTo>
                      <a:cubicBezTo>
                        <a:pt x="22708" y="64703"/>
                        <a:pt x="26241" y="68666"/>
                        <a:pt x="30909" y="68666"/>
                      </a:cubicBezTo>
                      <a:cubicBezTo>
                        <a:pt x="35862" y="68666"/>
                        <a:pt x="44768" y="63865"/>
                        <a:pt x="44768" y="52406"/>
                      </a:cubicBezTo>
                      <a:lnTo>
                        <a:pt x="44768" y="44482"/>
                      </a:lnTo>
                      <a:close/>
                    </a:path>
                  </a:pathLst>
                </a:custGeom>
                <a:solidFill>
                  <a:schemeClr val="bg1"/>
                </a:solidFill>
                <a:ln w="9525" cap="flat">
                  <a:noFill/>
                  <a:prstDash val="solid"/>
                  <a:miter/>
                </a:ln>
              </p:spPr>
              <p:txBody>
                <a:bodyPr rtlCol="0" anchor="ctr"/>
                <a:lstStyle/>
                <a:p>
                  <a:endParaRPr lang="ja-JP" altLang="en-US"/>
                </a:p>
              </p:txBody>
            </p:sp>
            <p:sp>
              <p:nvSpPr>
                <p:cNvPr id="1099" name="フリーフォーム: 図形 50"/>
                <p:cNvSpPr/>
                <p:nvPr/>
              </p:nvSpPr>
              <p:spPr>
                <a:xfrm>
                  <a:off x="1245075"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03 w 66675"/>
                    <a:gd name="connsiteY5" fmla="*/ 26803 h 76200"/>
                    <a:gd name="connsiteX6" fmla="*/ 62303 w 66675"/>
                    <a:gd name="connsiteY6" fmla="*/ 76029 h 76200"/>
                    <a:gd name="connsiteX7" fmla="*/ 48016 w 66675"/>
                    <a:gd name="connsiteY7" fmla="*/ 76029 h 76200"/>
                    <a:gd name="connsiteX8" fmla="*/ 48016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74" y="19736"/>
                        <a:pt x="30489" y="7144"/>
                        <a:pt x="45339" y="7144"/>
                      </a:cubicBezTo>
                      <a:cubicBezTo>
                        <a:pt x="57217" y="7144"/>
                        <a:pt x="62303" y="17040"/>
                        <a:pt x="62303" y="26803"/>
                      </a:cubicBezTo>
                      <a:lnTo>
                        <a:pt x="62303" y="76029"/>
                      </a:lnTo>
                      <a:lnTo>
                        <a:pt x="48016" y="76029"/>
                      </a:lnTo>
                      <a:lnTo>
                        <a:pt x="48016" y="33871"/>
                      </a:lnTo>
                      <a:cubicBezTo>
                        <a:pt x="48016" y="25384"/>
                        <a:pt x="46749" y="17745"/>
                        <a:pt x="39529" y="17745"/>
                      </a:cubicBezTo>
                      <a:cubicBezTo>
                        <a:pt x="2538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00" name="フリーフォーム: 図形 51"/>
                <p:cNvSpPr/>
                <p:nvPr/>
              </p:nvSpPr>
              <p:spPr>
                <a:xfrm>
                  <a:off x="1316379" y="5857776"/>
                  <a:ext cx="66675" cy="104775"/>
                </a:xfrm>
                <a:custGeom>
                  <a:avLst/>
                  <a:gdLst>
                    <a:gd name="connsiteX0" fmla="*/ 50283 w 66675"/>
                    <a:gd name="connsiteY0" fmla="*/ 93697 h 104775"/>
                    <a:gd name="connsiteX1" fmla="*/ 49997 w 66675"/>
                    <a:gd name="connsiteY1" fmla="*/ 93697 h 104775"/>
                    <a:gd name="connsiteX2" fmla="*/ 32461 w 66675"/>
                    <a:gd name="connsiteY2" fmla="*/ 106270 h 104775"/>
                    <a:gd name="connsiteX3" fmla="*/ 7144 w 66675"/>
                    <a:gd name="connsiteY3" fmla="*/ 71056 h 104775"/>
                    <a:gd name="connsiteX4" fmla="*/ 32461 w 66675"/>
                    <a:gd name="connsiteY4" fmla="*/ 35843 h 104775"/>
                    <a:gd name="connsiteX5" fmla="*/ 49997 w 66675"/>
                    <a:gd name="connsiteY5" fmla="*/ 46729 h 104775"/>
                    <a:gd name="connsiteX6" fmla="*/ 50283 w 66675"/>
                    <a:gd name="connsiteY6" fmla="*/ 46729 h 104775"/>
                    <a:gd name="connsiteX7" fmla="*/ 50283 w 66675"/>
                    <a:gd name="connsiteY7" fmla="*/ 7144 h 104775"/>
                    <a:gd name="connsiteX8" fmla="*/ 64570 w 66675"/>
                    <a:gd name="connsiteY8" fmla="*/ 7144 h 104775"/>
                    <a:gd name="connsiteX9" fmla="*/ 64570 w 66675"/>
                    <a:gd name="connsiteY9" fmla="*/ 104737 h 104775"/>
                    <a:gd name="connsiteX10" fmla="*/ 50283 w 66675"/>
                    <a:gd name="connsiteY10" fmla="*/ 104737 h 104775"/>
                    <a:gd name="connsiteX11" fmla="*/ 50283 w 66675"/>
                    <a:gd name="connsiteY11" fmla="*/ 93697 h 104775"/>
                    <a:gd name="connsiteX12" fmla="*/ 36271 w 66675"/>
                    <a:gd name="connsiteY12" fmla="*/ 97241 h 104775"/>
                    <a:gd name="connsiteX13" fmla="*/ 49711 w 66675"/>
                    <a:gd name="connsiteY13" fmla="*/ 71066 h 104775"/>
                    <a:gd name="connsiteX14" fmla="*/ 36271 w 66675"/>
                    <a:gd name="connsiteY14" fmla="*/ 44053 h 104775"/>
                    <a:gd name="connsiteX15" fmla="*/ 22689 w 66675"/>
                    <a:gd name="connsiteY15" fmla="*/ 71066 h 104775"/>
                    <a:gd name="connsiteX16" fmla="*/ 36271 w 66675"/>
                    <a:gd name="connsiteY16" fmla="*/ 9724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0283" y="93697"/>
                      </a:moveTo>
                      <a:lnTo>
                        <a:pt x="49997" y="93697"/>
                      </a:lnTo>
                      <a:cubicBezTo>
                        <a:pt x="48016" y="98222"/>
                        <a:pt x="43358" y="106270"/>
                        <a:pt x="32461" y="106270"/>
                      </a:cubicBezTo>
                      <a:cubicBezTo>
                        <a:pt x="13078" y="106270"/>
                        <a:pt x="7144" y="90440"/>
                        <a:pt x="7144" y="71056"/>
                      </a:cubicBezTo>
                      <a:cubicBezTo>
                        <a:pt x="7144" y="50835"/>
                        <a:pt x="14640" y="35843"/>
                        <a:pt x="32461" y="35843"/>
                      </a:cubicBezTo>
                      <a:cubicBezTo>
                        <a:pt x="43910" y="35843"/>
                        <a:pt x="48016" y="43062"/>
                        <a:pt x="49997" y="46729"/>
                      </a:cubicBezTo>
                      <a:lnTo>
                        <a:pt x="50283" y="46729"/>
                      </a:lnTo>
                      <a:lnTo>
                        <a:pt x="50283" y="7144"/>
                      </a:lnTo>
                      <a:lnTo>
                        <a:pt x="64570" y="7144"/>
                      </a:lnTo>
                      <a:lnTo>
                        <a:pt x="64570" y="104737"/>
                      </a:lnTo>
                      <a:lnTo>
                        <a:pt x="50283" y="104737"/>
                      </a:lnTo>
                      <a:lnTo>
                        <a:pt x="50283" y="93697"/>
                      </a:lnTo>
                      <a:close/>
                      <a:moveTo>
                        <a:pt x="36271" y="97241"/>
                      </a:moveTo>
                      <a:cubicBezTo>
                        <a:pt x="48006" y="97241"/>
                        <a:pt x="49711" y="82248"/>
                        <a:pt x="49711" y="71066"/>
                      </a:cubicBezTo>
                      <a:cubicBezTo>
                        <a:pt x="49711" y="59331"/>
                        <a:pt x="48578" y="44053"/>
                        <a:pt x="36271" y="44053"/>
                      </a:cubicBezTo>
                      <a:cubicBezTo>
                        <a:pt x="25098" y="44053"/>
                        <a:pt x="22689" y="59331"/>
                        <a:pt x="22689" y="71066"/>
                      </a:cubicBezTo>
                      <a:cubicBezTo>
                        <a:pt x="22689" y="82239"/>
                        <a:pt x="24822" y="97241"/>
                        <a:pt x="36271" y="97241"/>
                      </a:cubicBezTo>
                      <a:close/>
                    </a:path>
                  </a:pathLst>
                </a:custGeom>
                <a:solidFill>
                  <a:schemeClr val="bg1"/>
                </a:solidFill>
                <a:ln w="9525" cap="flat">
                  <a:noFill/>
                  <a:prstDash val="solid"/>
                  <a:miter/>
                </a:ln>
              </p:spPr>
              <p:txBody>
                <a:bodyPr rtlCol="0" anchor="ctr"/>
                <a:lstStyle/>
                <a:p>
                  <a:endParaRPr lang="ja-JP" altLang="en-US"/>
                </a:p>
              </p:txBody>
            </p:sp>
            <p:sp>
              <p:nvSpPr>
                <p:cNvPr id="1101" name="フリーフォーム: 図形 52"/>
                <p:cNvSpPr/>
                <p:nvPr/>
              </p:nvSpPr>
              <p:spPr>
                <a:xfrm>
                  <a:off x="1392189" y="5938252"/>
                  <a:ext cx="28575" cy="38100"/>
                </a:xfrm>
                <a:custGeom>
                  <a:avLst/>
                  <a:gdLst>
                    <a:gd name="connsiteX0" fmla="*/ 8411 w 28575"/>
                    <a:gd name="connsiteY0" fmla="*/ 7144 h 38100"/>
                    <a:gd name="connsiteX1" fmla="*/ 24822 w 28575"/>
                    <a:gd name="connsiteY1" fmla="*/ 7144 h 38100"/>
                    <a:gd name="connsiteX2" fmla="*/ 18459 w 28575"/>
                    <a:gd name="connsiteY2" fmla="*/ 39253 h 38100"/>
                    <a:gd name="connsiteX3" fmla="*/ 7144 w 28575"/>
                    <a:gd name="connsiteY3" fmla="*/ 39253 h 38100"/>
                    <a:gd name="connsiteX4" fmla="*/ 8411 w 28575"/>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8411" y="7144"/>
                      </a:moveTo>
                      <a:lnTo>
                        <a:pt x="24822" y="7144"/>
                      </a:lnTo>
                      <a:lnTo>
                        <a:pt x="18459" y="39253"/>
                      </a:lnTo>
                      <a:lnTo>
                        <a:pt x="7144" y="39253"/>
                      </a:lnTo>
                      <a:lnTo>
                        <a:pt x="8411" y="7144"/>
                      </a:lnTo>
                      <a:close/>
                    </a:path>
                  </a:pathLst>
                </a:custGeom>
                <a:solidFill>
                  <a:schemeClr val="bg1"/>
                </a:solidFill>
                <a:ln w="9525" cap="flat">
                  <a:noFill/>
                  <a:prstDash val="solid"/>
                  <a:miter/>
                </a:ln>
              </p:spPr>
              <p:txBody>
                <a:bodyPr rtlCol="0" anchor="ctr"/>
                <a:lstStyle/>
                <a:p>
                  <a:endParaRPr lang="ja-JP" altLang="en-US"/>
                </a:p>
              </p:txBody>
            </p:sp>
            <p:sp>
              <p:nvSpPr>
                <p:cNvPr id="1102" name="フリーフォーム: 図形 53"/>
                <p:cNvSpPr/>
                <p:nvPr/>
              </p:nvSpPr>
              <p:spPr>
                <a:xfrm>
                  <a:off x="1466722" y="5857776"/>
                  <a:ext cx="28575" cy="104775"/>
                </a:xfrm>
                <a:custGeom>
                  <a:avLst/>
                  <a:gdLst>
                    <a:gd name="connsiteX0" fmla="*/ 7144 w 28575"/>
                    <a:gd name="connsiteY0" fmla="*/ 7144 h 104775"/>
                    <a:gd name="connsiteX1" fmla="*/ 22708 w 28575"/>
                    <a:gd name="connsiteY1" fmla="*/ 7144 h 104775"/>
                    <a:gd name="connsiteX2" fmla="*/ 22708 w 28575"/>
                    <a:gd name="connsiteY2" fmla="*/ 104737 h 104775"/>
                    <a:gd name="connsiteX3" fmla="*/ 7144 w 28575"/>
                    <a:gd name="connsiteY3" fmla="*/ 104737 h 104775"/>
                    <a:gd name="connsiteX4" fmla="*/ 7144 w 28575"/>
                    <a:gd name="connsiteY4" fmla="*/ 714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104775">
                      <a:moveTo>
                        <a:pt x="7144" y="7144"/>
                      </a:moveTo>
                      <a:lnTo>
                        <a:pt x="22708" y="7144"/>
                      </a:lnTo>
                      <a:lnTo>
                        <a:pt x="22708" y="104737"/>
                      </a:lnTo>
                      <a:lnTo>
                        <a:pt x="7144" y="104737"/>
                      </a:lnTo>
                      <a:lnTo>
                        <a:pt x="7144" y="7144"/>
                      </a:lnTo>
                      <a:close/>
                    </a:path>
                  </a:pathLst>
                </a:custGeom>
                <a:solidFill>
                  <a:schemeClr val="bg1"/>
                </a:solidFill>
                <a:ln w="9525" cap="flat">
                  <a:noFill/>
                  <a:prstDash val="solid"/>
                  <a:miter/>
                </a:ln>
              </p:spPr>
              <p:txBody>
                <a:bodyPr rtlCol="0" anchor="ctr"/>
                <a:lstStyle/>
                <a:p>
                  <a:endParaRPr lang="ja-JP" altLang="en-US"/>
                </a:p>
              </p:txBody>
            </p:sp>
            <p:sp>
              <p:nvSpPr>
                <p:cNvPr id="1103" name="フリーフォーム: 図形 54"/>
                <p:cNvSpPr/>
                <p:nvPr/>
              </p:nvSpPr>
              <p:spPr>
                <a:xfrm>
                  <a:off x="1504622"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13 w 66675"/>
                    <a:gd name="connsiteY5" fmla="*/ 26803 h 76200"/>
                    <a:gd name="connsiteX6" fmla="*/ 62313 w 66675"/>
                    <a:gd name="connsiteY6" fmla="*/ 76029 h 76200"/>
                    <a:gd name="connsiteX7" fmla="*/ 48025 w 66675"/>
                    <a:gd name="connsiteY7" fmla="*/ 76029 h 76200"/>
                    <a:gd name="connsiteX8" fmla="*/ 48025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84" y="19736"/>
                        <a:pt x="30490" y="7144"/>
                        <a:pt x="45339" y="7144"/>
                      </a:cubicBezTo>
                      <a:cubicBezTo>
                        <a:pt x="57217" y="7144"/>
                        <a:pt x="62313" y="17040"/>
                        <a:pt x="62313" y="26803"/>
                      </a:cubicBezTo>
                      <a:lnTo>
                        <a:pt x="62313" y="76029"/>
                      </a:lnTo>
                      <a:lnTo>
                        <a:pt x="48025" y="76029"/>
                      </a:lnTo>
                      <a:lnTo>
                        <a:pt x="48025" y="33871"/>
                      </a:lnTo>
                      <a:cubicBezTo>
                        <a:pt x="48025" y="25384"/>
                        <a:pt x="46749" y="17745"/>
                        <a:pt x="39529" y="17745"/>
                      </a:cubicBezTo>
                      <a:cubicBezTo>
                        <a:pt x="2539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04" name="フリーフォーム: 図形 55"/>
                <p:cNvSpPr/>
                <p:nvPr/>
              </p:nvSpPr>
              <p:spPr>
                <a:xfrm>
                  <a:off x="1573945" y="5856214"/>
                  <a:ext cx="57150" cy="104775"/>
                </a:xfrm>
                <a:custGeom>
                  <a:avLst/>
                  <a:gdLst>
                    <a:gd name="connsiteX0" fmla="*/ 18878 w 57150"/>
                    <a:gd name="connsiteY0" fmla="*/ 46320 h 104775"/>
                    <a:gd name="connsiteX1" fmla="*/ 7144 w 57150"/>
                    <a:gd name="connsiteY1" fmla="*/ 46320 h 104775"/>
                    <a:gd name="connsiteX2" fmla="*/ 7144 w 57150"/>
                    <a:gd name="connsiteY2" fmla="*/ 38976 h 104775"/>
                    <a:gd name="connsiteX3" fmla="*/ 18878 w 57150"/>
                    <a:gd name="connsiteY3" fmla="*/ 38976 h 104775"/>
                    <a:gd name="connsiteX4" fmla="*/ 18878 w 57150"/>
                    <a:gd name="connsiteY4" fmla="*/ 32613 h 104775"/>
                    <a:gd name="connsiteX5" fmla="*/ 44482 w 57150"/>
                    <a:gd name="connsiteY5" fmla="*/ 7144 h 104775"/>
                    <a:gd name="connsiteX6" fmla="*/ 58769 w 57150"/>
                    <a:gd name="connsiteY6" fmla="*/ 8706 h 104775"/>
                    <a:gd name="connsiteX7" fmla="*/ 58769 w 57150"/>
                    <a:gd name="connsiteY7" fmla="*/ 18450 h 104775"/>
                    <a:gd name="connsiteX8" fmla="*/ 46177 w 57150"/>
                    <a:gd name="connsiteY8" fmla="*/ 15345 h 104775"/>
                    <a:gd name="connsiteX9" fmla="*/ 33166 w 57150"/>
                    <a:gd name="connsiteY9" fmla="*/ 30899 h 104775"/>
                    <a:gd name="connsiteX10" fmla="*/ 33166 w 57150"/>
                    <a:gd name="connsiteY10" fmla="*/ 38976 h 104775"/>
                    <a:gd name="connsiteX11" fmla="*/ 52264 w 57150"/>
                    <a:gd name="connsiteY11" fmla="*/ 38976 h 104775"/>
                    <a:gd name="connsiteX12" fmla="*/ 52264 w 57150"/>
                    <a:gd name="connsiteY12" fmla="*/ 46320 h 104775"/>
                    <a:gd name="connsiteX13" fmla="*/ 33166 w 57150"/>
                    <a:gd name="connsiteY13" fmla="*/ 46320 h 104775"/>
                    <a:gd name="connsiteX14" fmla="*/ 33166 w 57150"/>
                    <a:gd name="connsiteY14" fmla="*/ 106299 h 104775"/>
                    <a:gd name="connsiteX15" fmla="*/ 18878 w 57150"/>
                    <a:gd name="connsiteY15" fmla="*/ 106299 h 104775"/>
                    <a:gd name="connsiteX16" fmla="*/ 18878 w 57150"/>
                    <a:gd name="connsiteY16" fmla="*/ 463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18878" y="46320"/>
                      </a:moveTo>
                      <a:lnTo>
                        <a:pt x="7144" y="46320"/>
                      </a:lnTo>
                      <a:lnTo>
                        <a:pt x="7144" y="38976"/>
                      </a:lnTo>
                      <a:lnTo>
                        <a:pt x="18878" y="38976"/>
                      </a:lnTo>
                      <a:lnTo>
                        <a:pt x="18878" y="32613"/>
                      </a:lnTo>
                      <a:cubicBezTo>
                        <a:pt x="18878" y="20145"/>
                        <a:pt x="21860" y="7144"/>
                        <a:pt x="44482" y="7144"/>
                      </a:cubicBezTo>
                      <a:cubicBezTo>
                        <a:pt x="50273" y="7144"/>
                        <a:pt x="55378" y="8001"/>
                        <a:pt x="58769" y="8706"/>
                      </a:cubicBezTo>
                      <a:lnTo>
                        <a:pt x="58769" y="18450"/>
                      </a:lnTo>
                      <a:cubicBezTo>
                        <a:pt x="55788" y="17183"/>
                        <a:pt x="51978" y="15345"/>
                        <a:pt x="46177" y="15345"/>
                      </a:cubicBezTo>
                      <a:cubicBezTo>
                        <a:pt x="34576" y="15345"/>
                        <a:pt x="33166" y="23698"/>
                        <a:pt x="33166" y="30899"/>
                      </a:cubicBezTo>
                      <a:lnTo>
                        <a:pt x="33166" y="38976"/>
                      </a:lnTo>
                      <a:lnTo>
                        <a:pt x="52264" y="38976"/>
                      </a:lnTo>
                      <a:lnTo>
                        <a:pt x="52264" y="46320"/>
                      </a:lnTo>
                      <a:lnTo>
                        <a:pt x="33166" y="46320"/>
                      </a:lnTo>
                      <a:lnTo>
                        <a:pt x="33166" y="106299"/>
                      </a:lnTo>
                      <a:lnTo>
                        <a:pt x="18878" y="106299"/>
                      </a:lnTo>
                      <a:lnTo>
                        <a:pt x="18878" y="46320"/>
                      </a:lnTo>
                      <a:close/>
                    </a:path>
                  </a:pathLst>
                </a:custGeom>
                <a:solidFill>
                  <a:schemeClr val="bg1"/>
                </a:solidFill>
                <a:ln w="9525" cap="flat">
                  <a:noFill/>
                  <a:prstDash val="solid"/>
                  <a:miter/>
                </a:ln>
              </p:spPr>
              <p:txBody>
                <a:bodyPr rtlCol="0" anchor="ctr"/>
                <a:lstStyle/>
                <a:p>
                  <a:endParaRPr lang="ja-JP" altLang="en-US"/>
                </a:p>
              </p:txBody>
            </p:sp>
            <p:sp>
              <p:nvSpPr>
                <p:cNvPr id="1105" name="フリーフォーム: 図形 56"/>
                <p:cNvSpPr/>
                <p:nvPr/>
              </p:nvSpPr>
              <p:spPr>
                <a:xfrm>
                  <a:off x="1630943"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1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1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06" name="フリーフォーム: 図形 57"/>
                <p:cNvSpPr/>
                <p:nvPr/>
              </p:nvSpPr>
              <p:spPr>
                <a:xfrm>
                  <a:off x="1676348" y="5886475"/>
                  <a:ext cx="57150" cy="76200"/>
                </a:xfrm>
                <a:custGeom>
                  <a:avLst/>
                  <a:gdLst>
                    <a:gd name="connsiteX0" fmla="*/ 44758 w 57150"/>
                    <a:gd name="connsiteY0" fmla="*/ 66694 h 76200"/>
                    <a:gd name="connsiteX1" fmla="*/ 44482 w 57150"/>
                    <a:gd name="connsiteY1" fmla="*/ 66694 h 76200"/>
                    <a:gd name="connsiteX2" fmla="*/ 25527 w 57150"/>
                    <a:gd name="connsiteY2" fmla="*/ 77581 h 76200"/>
                    <a:gd name="connsiteX3" fmla="*/ 7144 w 57150"/>
                    <a:gd name="connsiteY3" fmla="*/ 60760 h 76200"/>
                    <a:gd name="connsiteX4" fmla="*/ 44758 w 57150"/>
                    <a:gd name="connsiteY4" fmla="*/ 38548 h 76200"/>
                    <a:gd name="connsiteX5" fmla="*/ 44758 w 57150"/>
                    <a:gd name="connsiteY5" fmla="*/ 32613 h 76200"/>
                    <a:gd name="connsiteX6" fmla="*/ 35290 w 57150"/>
                    <a:gd name="connsiteY6" fmla="*/ 13078 h 76200"/>
                    <a:gd name="connsiteX7" fmla="*/ 24393 w 57150"/>
                    <a:gd name="connsiteY7" fmla="*/ 27794 h 76200"/>
                    <a:gd name="connsiteX8" fmla="*/ 9401 w 57150"/>
                    <a:gd name="connsiteY8" fmla="*/ 27794 h 76200"/>
                    <a:gd name="connsiteX9" fmla="*/ 35290 w 57150"/>
                    <a:gd name="connsiteY9" fmla="*/ 7144 h 76200"/>
                    <a:gd name="connsiteX10" fmla="*/ 59045 w 57150"/>
                    <a:gd name="connsiteY10" fmla="*/ 32613 h 76200"/>
                    <a:gd name="connsiteX11" fmla="*/ 59045 w 57150"/>
                    <a:gd name="connsiteY11" fmla="*/ 76038 h 76200"/>
                    <a:gd name="connsiteX12" fmla="*/ 44758 w 57150"/>
                    <a:gd name="connsiteY12" fmla="*/ 76038 h 76200"/>
                    <a:gd name="connsiteX13" fmla="*/ 44758 w 57150"/>
                    <a:gd name="connsiteY13" fmla="*/ 66694 h 76200"/>
                    <a:gd name="connsiteX14" fmla="*/ 44758 w 57150"/>
                    <a:gd name="connsiteY14" fmla="*/ 44482 h 76200"/>
                    <a:gd name="connsiteX15" fmla="*/ 22698 w 57150"/>
                    <a:gd name="connsiteY15" fmla="*/ 58636 h 76200"/>
                    <a:gd name="connsiteX16" fmla="*/ 30899 w 57150"/>
                    <a:gd name="connsiteY16" fmla="*/ 68666 h 76200"/>
                    <a:gd name="connsiteX17" fmla="*/ 44758 w 57150"/>
                    <a:gd name="connsiteY17" fmla="*/ 52406 h 76200"/>
                    <a:gd name="connsiteX18" fmla="*/ 44758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58" y="66694"/>
                      </a:moveTo>
                      <a:lnTo>
                        <a:pt x="44482" y="66694"/>
                      </a:lnTo>
                      <a:cubicBezTo>
                        <a:pt x="42224" y="70656"/>
                        <a:pt x="36281" y="77581"/>
                        <a:pt x="25527" y="77581"/>
                      </a:cubicBezTo>
                      <a:cubicBezTo>
                        <a:pt x="14916" y="77581"/>
                        <a:pt x="7144" y="70085"/>
                        <a:pt x="7144" y="60760"/>
                      </a:cubicBezTo>
                      <a:cubicBezTo>
                        <a:pt x="7144" y="39957"/>
                        <a:pt x="35852" y="38976"/>
                        <a:pt x="44758" y="38548"/>
                      </a:cubicBezTo>
                      <a:lnTo>
                        <a:pt x="44758" y="32613"/>
                      </a:lnTo>
                      <a:cubicBezTo>
                        <a:pt x="44758" y="25251"/>
                        <a:pt x="44758" y="13078"/>
                        <a:pt x="35290" y="13078"/>
                      </a:cubicBezTo>
                      <a:cubicBezTo>
                        <a:pt x="26518" y="13078"/>
                        <a:pt x="24965" y="19869"/>
                        <a:pt x="24393" y="27794"/>
                      </a:cubicBezTo>
                      <a:lnTo>
                        <a:pt x="9401" y="27794"/>
                      </a:lnTo>
                      <a:cubicBezTo>
                        <a:pt x="10106" y="17745"/>
                        <a:pt x="14068" y="7144"/>
                        <a:pt x="35290" y="7144"/>
                      </a:cubicBezTo>
                      <a:cubicBezTo>
                        <a:pt x="57217" y="7144"/>
                        <a:pt x="59045" y="19440"/>
                        <a:pt x="59045" y="32613"/>
                      </a:cubicBezTo>
                      <a:lnTo>
                        <a:pt x="59045" y="76038"/>
                      </a:lnTo>
                      <a:lnTo>
                        <a:pt x="44758" y="76038"/>
                      </a:lnTo>
                      <a:lnTo>
                        <a:pt x="44758" y="66694"/>
                      </a:lnTo>
                      <a:close/>
                      <a:moveTo>
                        <a:pt x="44758" y="44482"/>
                      </a:moveTo>
                      <a:cubicBezTo>
                        <a:pt x="38824" y="44910"/>
                        <a:pt x="22698" y="46177"/>
                        <a:pt x="22698" y="58636"/>
                      </a:cubicBezTo>
                      <a:cubicBezTo>
                        <a:pt x="22698" y="64703"/>
                        <a:pt x="26232" y="68666"/>
                        <a:pt x="30899" y="68666"/>
                      </a:cubicBezTo>
                      <a:cubicBezTo>
                        <a:pt x="35852" y="68666"/>
                        <a:pt x="44758" y="63865"/>
                        <a:pt x="44758" y="52406"/>
                      </a:cubicBezTo>
                      <a:lnTo>
                        <a:pt x="44758" y="44482"/>
                      </a:lnTo>
                      <a:close/>
                    </a:path>
                  </a:pathLst>
                </a:custGeom>
                <a:solidFill>
                  <a:schemeClr val="bg1"/>
                </a:solidFill>
                <a:ln w="9525" cap="flat">
                  <a:noFill/>
                  <a:prstDash val="solid"/>
                  <a:miter/>
                </a:ln>
              </p:spPr>
              <p:txBody>
                <a:bodyPr rtlCol="0" anchor="ctr"/>
                <a:lstStyle/>
                <a:p>
                  <a:endParaRPr lang="ja-JP" altLang="en-US"/>
                </a:p>
              </p:txBody>
            </p:sp>
            <p:sp>
              <p:nvSpPr>
                <p:cNvPr id="1107" name="フリーフォーム: 図形 58"/>
                <p:cNvSpPr/>
                <p:nvPr/>
              </p:nvSpPr>
              <p:spPr>
                <a:xfrm>
                  <a:off x="1745938" y="5886465"/>
                  <a:ext cx="57150" cy="76200"/>
                </a:xfrm>
                <a:custGeom>
                  <a:avLst/>
                  <a:gdLst>
                    <a:gd name="connsiteX0" fmla="*/ 46606 w 57150"/>
                    <a:gd name="connsiteY0" fmla="*/ 22003 h 76200"/>
                    <a:gd name="connsiteX1" fmla="*/ 29632 w 57150"/>
                    <a:gd name="connsiteY1" fmla="*/ 15364 h 76200"/>
                    <a:gd name="connsiteX2" fmla="*/ 20021 w 57150"/>
                    <a:gd name="connsiteY2" fmla="*/ 22431 h 76200"/>
                    <a:gd name="connsiteX3" fmla="*/ 50844 w 57150"/>
                    <a:gd name="connsiteY3" fmla="*/ 57236 h 76200"/>
                    <a:gd name="connsiteX4" fmla="*/ 25241 w 57150"/>
                    <a:gd name="connsiteY4" fmla="*/ 77591 h 76200"/>
                    <a:gd name="connsiteX5" fmla="*/ 7277 w 57150"/>
                    <a:gd name="connsiteY5" fmla="*/ 74628 h 76200"/>
                    <a:gd name="connsiteX6" fmla="*/ 7277 w 57150"/>
                    <a:gd name="connsiteY6" fmla="*/ 61474 h 76200"/>
                    <a:gd name="connsiteX7" fmla="*/ 25946 w 57150"/>
                    <a:gd name="connsiteY7" fmla="*/ 68542 h 76200"/>
                    <a:gd name="connsiteX8" fmla="*/ 37547 w 57150"/>
                    <a:gd name="connsiteY8" fmla="*/ 60055 h 76200"/>
                    <a:gd name="connsiteX9" fmla="*/ 7144 w 57150"/>
                    <a:gd name="connsiteY9" fmla="*/ 26527 h 76200"/>
                    <a:gd name="connsiteX10" fmla="*/ 3075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06" y="22003"/>
                      </a:moveTo>
                      <a:cubicBezTo>
                        <a:pt x="41796" y="18745"/>
                        <a:pt x="36423" y="15364"/>
                        <a:pt x="29632" y="15364"/>
                      </a:cubicBezTo>
                      <a:cubicBezTo>
                        <a:pt x="25098" y="15364"/>
                        <a:pt x="20021" y="17336"/>
                        <a:pt x="20021" y="22431"/>
                      </a:cubicBezTo>
                      <a:cubicBezTo>
                        <a:pt x="20021" y="34595"/>
                        <a:pt x="50844" y="35728"/>
                        <a:pt x="50844" y="57236"/>
                      </a:cubicBezTo>
                      <a:cubicBezTo>
                        <a:pt x="50844" y="71656"/>
                        <a:pt x="39529" y="77591"/>
                        <a:pt x="25241" y="77591"/>
                      </a:cubicBezTo>
                      <a:cubicBezTo>
                        <a:pt x="16621" y="77591"/>
                        <a:pt x="10678" y="75771"/>
                        <a:pt x="7277" y="74628"/>
                      </a:cubicBezTo>
                      <a:lnTo>
                        <a:pt x="7277" y="61474"/>
                      </a:lnTo>
                      <a:cubicBezTo>
                        <a:pt x="11382" y="64303"/>
                        <a:pt x="18031" y="68542"/>
                        <a:pt x="25946" y="68542"/>
                      </a:cubicBezTo>
                      <a:cubicBezTo>
                        <a:pt x="34147" y="68542"/>
                        <a:pt x="37547" y="64303"/>
                        <a:pt x="37547" y="60055"/>
                      </a:cubicBezTo>
                      <a:cubicBezTo>
                        <a:pt x="37547" y="48168"/>
                        <a:pt x="7144" y="45768"/>
                        <a:pt x="7144" y="26527"/>
                      </a:cubicBezTo>
                      <a:cubicBezTo>
                        <a:pt x="7144" y="16335"/>
                        <a:pt x="13935" y="7144"/>
                        <a:pt x="30756" y="7144"/>
                      </a:cubicBezTo>
                      <a:cubicBezTo>
                        <a:pt x="37976" y="7144"/>
                        <a:pt x="44196" y="9115"/>
                        <a:pt x="46606" y="9820"/>
                      </a:cubicBezTo>
                      <a:lnTo>
                        <a:pt x="46606" y="22003"/>
                      </a:lnTo>
                      <a:close/>
                    </a:path>
                  </a:pathLst>
                </a:custGeom>
                <a:solidFill>
                  <a:schemeClr val="bg1"/>
                </a:solidFill>
                <a:ln w="9525" cap="flat">
                  <a:noFill/>
                  <a:prstDash val="solid"/>
                  <a:miter/>
                </a:ln>
              </p:spPr>
              <p:txBody>
                <a:bodyPr rtlCol="0" anchor="ctr"/>
                <a:lstStyle/>
                <a:p>
                  <a:endParaRPr lang="ja-JP" altLang="en-US"/>
                </a:p>
              </p:txBody>
            </p:sp>
            <p:sp>
              <p:nvSpPr>
                <p:cNvPr id="1108" name="フリーフォーム: 図形 59"/>
                <p:cNvSpPr/>
                <p:nvPr/>
              </p:nvSpPr>
              <p:spPr>
                <a:xfrm>
                  <a:off x="1799678" y="5863567"/>
                  <a:ext cx="57150" cy="104775"/>
                </a:xfrm>
                <a:custGeom>
                  <a:avLst/>
                  <a:gdLst>
                    <a:gd name="connsiteX0" fmla="*/ 49016 w 57150"/>
                    <a:gd name="connsiteY0" fmla="*/ 99498 h 104775"/>
                    <a:gd name="connsiteX1" fmla="*/ 39119 w 57150"/>
                    <a:gd name="connsiteY1" fmla="*/ 100489 h 104775"/>
                    <a:gd name="connsiteX2" fmla="*/ 17897 w 57150"/>
                    <a:gd name="connsiteY2" fmla="*/ 83372 h 104775"/>
                    <a:gd name="connsiteX3" fmla="*/ 17897 w 57150"/>
                    <a:gd name="connsiteY3" fmla="*/ 38967 h 104775"/>
                    <a:gd name="connsiteX4" fmla="*/ 7144 w 57150"/>
                    <a:gd name="connsiteY4" fmla="*/ 38967 h 104775"/>
                    <a:gd name="connsiteX5" fmla="*/ 7144 w 57150"/>
                    <a:gd name="connsiteY5" fmla="*/ 31623 h 104775"/>
                    <a:gd name="connsiteX6" fmla="*/ 17897 w 57150"/>
                    <a:gd name="connsiteY6" fmla="*/ 31623 h 104775"/>
                    <a:gd name="connsiteX7" fmla="*/ 17897 w 57150"/>
                    <a:gd name="connsiteY7" fmla="*/ 15773 h 104775"/>
                    <a:gd name="connsiteX8" fmla="*/ 32185 w 57150"/>
                    <a:gd name="connsiteY8" fmla="*/ 7144 h 104775"/>
                    <a:gd name="connsiteX9" fmla="*/ 32185 w 57150"/>
                    <a:gd name="connsiteY9" fmla="*/ 31623 h 104775"/>
                    <a:gd name="connsiteX10" fmla="*/ 50578 w 57150"/>
                    <a:gd name="connsiteY10" fmla="*/ 31623 h 104775"/>
                    <a:gd name="connsiteX11" fmla="*/ 50578 w 57150"/>
                    <a:gd name="connsiteY11" fmla="*/ 38967 h 104775"/>
                    <a:gd name="connsiteX12" fmla="*/ 32185 w 57150"/>
                    <a:gd name="connsiteY12" fmla="*/ 38967 h 104775"/>
                    <a:gd name="connsiteX13" fmla="*/ 32185 w 57150"/>
                    <a:gd name="connsiteY13" fmla="*/ 77714 h 104775"/>
                    <a:gd name="connsiteX14" fmla="*/ 42376 w 57150"/>
                    <a:gd name="connsiteY14" fmla="*/ 92430 h 104775"/>
                    <a:gd name="connsiteX15" fmla="*/ 49016 w 57150"/>
                    <a:gd name="connsiteY15" fmla="*/ 91297 h 104775"/>
                    <a:gd name="connsiteX16" fmla="*/ 4901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76" y="100489"/>
                        <a:pt x="39119" y="100489"/>
                      </a:cubicBezTo>
                      <a:cubicBezTo>
                        <a:pt x="25679" y="100489"/>
                        <a:pt x="17897" y="96393"/>
                        <a:pt x="17897" y="83372"/>
                      </a:cubicBezTo>
                      <a:lnTo>
                        <a:pt x="17897" y="38967"/>
                      </a:lnTo>
                      <a:lnTo>
                        <a:pt x="7144" y="38967"/>
                      </a:lnTo>
                      <a:lnTo>
                        <a:pt x="7144" y="31623"/>
                      </a:lnTo>
                      <a:lnTo>
                        <a:pt x="17897" y="31623"/>
                      </a:lnTo>
                      <a:lnTo>
                        <a:pt x="17897" y="15773"/>
                      </a:lnTo>
                      <a:lnTo>
                        <a:pt x="32185" y="7144"/>
                      </a:lnTo>
                      <a:lnTo>
                        <a:pt x="32185" y="31623"/>
                      </a:lnTo>
                      <a:lnTo>
                        <a:pt x="50578" y="31623"/>
                      </a:lnTo>
                      <a:lnTo>
                        <a:pt x="50578" y="38967"/>
                      </a:lnTo>
                      <a:lnTo>
                        <a:pt x="32185" y="38967"/>
                      </a:lnTo>
                      <a:lnTo>
                        <a:pt x="32185" y="77714"/>
                      </a:lnTo>
                      <a:cubicBezTo>
                        <a:pt x="32185" y="87611"/>
                        <a:pt x="33176" y="92430"/>
                        <a:pt x="42376" y="92430"/>
                      </a:cubicBezTo>
                      <a:cubicBezTo>
                        <a:pt x="44634" y="92430"/>
                        <a:pt x="47044" y="92154"/>
                        <a:pt x="49016" y="91297"/>
                      </a:cubicBezTo>
                      <a:lnTo>
                        <a:pt x="49016" y="99498"/>
                      </a:lnTo>
                      <a:close/>
                    </a:path>
                  </a:pathLst>
                </a:custGeom>
                <a:solidFill>
                  <a:schemeClr val="bg1"/>
                </a:solidFill>
                <a:ln w="9525" cap="flat">
                  <a:noFill/>
                  <a:prstDash val="solid"/>
                  <a:miter/>
                </a:ln>
              </p:spPr>
              <p:txBody>
                <a:bodyPr rtlCol="0" anchor="ctr"/>
                <a:lstStyle/>
                <a:p>
                  <a:endParaRPr lang="ja-JP" altLang="en-US"/>
                </a:p>
              </p:txBody>
            </p:sp>
            <p:sp>
              <p:nvSpPr>
                <p:cNvPr id="1109" name="フリーフォーム: 図形 60"/>
                <p:cNvSpPr/>
                <p:nvPr/>
              </p:nvSpPr>
              <p:spPr>
                <a:xfrm>
                  <a:off x="1855837"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1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1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10" name="フリーフォーム: 図形 61"/>
                <p:cNvSpPr/>
                <p:nvPr/>
              </p:nvSpPr>
              <p:spPr>
                <a:xfrm>
                  <a:off x="1905634" y="5888037"/>
                  <a:ext cx="66675" cy="76200"/>
                </a:xfrm>
                <a:custGeom>
                  <a:avLst/>
                  <a:gdLst>
                    <a:gd name="connsiteX0" fmla="*/ 47873 w 66675"/>
                    <a:gd name="connsiteY0" fmla="*/ 58493 h 76200"/>
                    <a:gd name="connsiteX1" fmla="*/ 47597 w 66675"/>
                    <a:gd name="connsiteY1" fmla="*/ 58493 h 76200"/>
                    <a:gd name="connsiteX2" fmla="*/ 24117 w 66675"/>
                    <a:gd name="connsiteY2" fmla="*/ 76019 h 76200"/>
                    <a:gd name="connsiteX3" fmla="*/ 7144 w 66675"/>
                    <a:gd name="connsiteY3" fmla="*/ 56369 h 76200"/>
                    <a:gd name="connsiteX4" fmla="*/ 7144 w 66675"/>
                    <a:gd name="connsiteY4" fmla="*/ 7144 h 76200"/>
                    <a:gd name="connsiteX5" fmla="*/ 21431 w 66675"/>
                    <a:gd name="connsiteY5" fmla="*/ 7144 h 76200"/>
                    <a:gd name="connsiteX6" fmla="*/ 21431 w 66675"/>
                    <a:gd name="connsiteY6" fmla="*/ 49282 h 76200"/>
                    <a:gd name="connsiteX7" fmla="*/ 29918 w 66675"/>
                    <a:gd name="connsiteY7" fmla="*/ 65408 h 76200"/>
                    <a:gd name="connsiteX8" fmla="*/ 48015 w 66675"/>
                    <a:gd name="connsiteY8" fmla="*/ 34995 h 76200"/>
                    <a:gd name="connsiteX9" fmla="*/ 48015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7" y="58493"/>
                      </a:lnTo>
                      <a:cubicBezTo>
                        <a:pt x="45339" y="63446"/>
                        <a:pt x="38967" y="76019"/>
                        <a:pt x="24117" y="76019"/>
                      </a:cubicBezTo>
                      <a:cubicBezTo>
                        <a:pt x="12230" y="76019"/>
                        <a:pt x="7144" y="66122"/>
                        <a:pt x="7144" y="56369"/>
                      </a:cubicBezTo>
                      <a:lnTo>
                        <a:pt x="7144" y="7144"/>
                      </a:lnTo>
                      <a:lnTo>
                        <a:pt x="21431" y="7144"/>
                      </a:lnTo>
                      <a:lnTo>
                        <a:pt x="21431" y="49282"/>
                      </a:lnTo>
                      <a:cubicBezTo>
                        <a:pt x="21431" y="57788"/>
                        <a:pt x="22708" y="65408"/>
                        <a:pt x="29918" y="65408"/>
                      </a:cubicBezTo>
                      <a:cubicBezTo>
                        <a:pt x="44063" y="65408"/>
                        <a:pt x="48015" y="43348"/>
                        <a:pt x="48015" y="34995"/>
                      </a:cubicBezTo>
                      <a:lnTo>
                        <a:pt x="48015" y="7144"/>
                      </a:lnTo>
                      <a:lnTo>
                        <a:pt x="62303" y="7144"/>
                      </a:lnTo>
                      <a:lnTo>
                        <a:pt x="62303" y="74466"/>
                      </a:lnTo>
                      <a:lnTo>
                        <a:pt x="47873" y="74466"/>
                      </a:lnTo>
                      <a:lnTo>
                        <a:pt x="47873" y="58493"/>
                      </a:lnTo>
                      <a:close/>
                    </a:path>
                  </a:pathLst>
                </a:custGeom>
                <a:solidFill>
                  <a:schemeClr val="bg1"/>
                </a:solidFill>
                <a:ln w="9525" cap="flat">
                  <a:noFill/>
                  <a:prstDash val="solid"/>
                  <a:miter/>
                </a:ln>
              </p:spPr>
              <p:txBody>
                <a:bodyPr rtlCol="0" anchor="ctr"/>
                <a:lstStyle/>
                <a:p>
                  <a:endParaRPr lang="ja-JP" altLang="en-US"/>
                </a:p>
              </p:txBody>
            </p:sp>
            <p:sp>
              <p:nvSpPr>
                <p:cNvPr id="1111" name="フリーフォーム: 図形 62"/>
                <p:cNvSpPr/>
                <p:nvPr/>
              </p:nvSpPr>
              <p:spPr>
                <a:xfrm>
                  <a:off x="1976776" y="5886465"/>
                  <a:ext cx="66675" cy="76200"/>
                </a:xfrm>
                <a:custGeom>
                  <a:avLst/>
                  <a:gdLst>
                    <a:gd name="connsiteX0" fmla="*/ 58912 w 66675"/>
                    <a:gd name="connsiteY0" fmla="*/ 74200 h 76200"/>
                    <a:gd name="connsiteX1" fmla="*/ 40948 w 66675"/>
                    <a:gd name="connsiteY1" fmla="*/ 77581 h 76200"/>
                    <a:gd name="connsiteX2" fmla="*/ 7144 w 66675"/>
                    <a:gd name="connsiteY2" fmla="*/ 39681 h 76200"/>
                    <a:gd name="connsiteX3" fmla="*/ 35709 w 66675"/>
                    <a:gd name="connsiteY3" fmla="*/ 7144 h 76200"/>
                    <a:gd name="connsiteX4" fmla="*/ 59893 w 66675"/>
                    <a:gd name="connsiteY4" fmla="*/ 30623 h 76200"/>
                    <a:gd name="connsiteX5" fmla="*/ 44910 w 66675"/>
                    <a:gd name="connsiteY5" fmla="*/ 30623 h 76200"/>
                    <a:gd name="connsiteX6" fmla="*/ 35147 w 66675"/>
                    <a:gd name="connsiteY6" fmla="*/ 13078 h 76200"/>
                    <a:gd name="connsiteX7" fmla="*/ 22698 w 66675"/>
                    <a:gd name="connsiteY7" fmla="*/ 34862 h 76200"/>
                    <a:gd name="connsiteX8" fmla="*/ 46892 w 66675"/>
                    <a:gd name="connsiteY8" fmla="*/ 70075 h 76200"/>
                    <a:gd name="connsiteX9" fmla="*/ 58912 w 66675"/>
                    <a:gd name="connsiteY9" fmla="*/ 67542 h 76200"/>
                    <a:gd name="connsiteX10" fmla="*/ 58912 w 66675"/>
                    <a:gd name="connsiteY10" fmla="*/ 74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 h="76200">
                      <a:moveTo>
                        <a:pt x="58912" y="74200"/>
                      </a:moveTo>
                      <a:cubicBezTo>
                        <a:pt x="53121" y="76324"/>
                        <a:pt x="47034" y="77581"/>
                        <a:pt x="40948" y="77581"/>
                      </a:cubicBezTo>
                      <a:cubicBezTo>
                        <a:pt x="19593" y="77581"/>
                        <a:pt x="7144" y="64703"/>
                        <a:pt x="7144" y="39681"/>
                      </a:cubicBezTo>
                      <a:cubicBezTo>
                        <a:pt x="7144" y="19593"/>
                        <a:pt x="16335" y="7144"/>
                        <a:pt x="35709" y="7144"/>
                      </a:cubicBezTo>
                      <a:cubicBezTo>
                        <a:pt x="53816" y="7144"/>
                        <a:pt x="59893" y="16764"/>
                        <a:pt x="59893" y="30623"/>
                      </a:cubicBezTo>
                      <a:lnTo>
                        <a:pt x="44910" y="30623"/>
                      </a:lnTo>
                      <a:cubicBezTo>
                        <a:pt x="44910" y="22565"/>
                        <a:pt x="44053" y="13078"/>
                        <a:pt x="35147" y="13078"/>
                      </a:cubicBezTo>
                      <a:cubicBezTo>
                        <a:pt x="26946" y="13078"/>
                        <a:pt x="22698" y="22698"/>
                        <a:pt x="22698" y="34862"/>
                      </a:cubicBezTo>
                      <a:cubicBezTo>
                        <a:pt x="22698" y="51273"/>
                        <a:pt x="29632" y="70075"/>
                        <a:pt x="46892" y="70075"/>
                      </a:cubicBezTo>
                      <a:cubicBezTo>
                        <a:pt x="50987" y="70075"/>
                        <a:pt x="54950" y="69085"/>
                        <a:pt x="58912" y="67542"/>
                      </a:cubicBezTo>
                      <a:lnTo>
                        <a:pt x="58912" y="74200"/>
                      </a:lnTo>
                      <a:close/>
                    </a:path>
                  </a:pathLst>
                </a:custGeom>
                <a:solidFill>
                  <a:schemeClr val="bg1"/>
                </a:solidFill>
                <a:ln w="9525" cap="flat">
                  <a:noFill/>
                  <a:prstDash val="solid"/>
                  <a:miter/>
                </a:ln>
              </p:spPr>
              <p:txBody>
                <a:bodyPr rtlCol="0" anchor="ctr"/>
                <a:lstStyle/>
                <a:p>
                  <a:endParaRPr lang="ja-JP" altLang="en-US"/>
                </a:p>
              </p:txBody>
            </p:sp>
            <p:sp>
              <p:nvSpPr>
                <p:cNvPr id="1112" name="フリーフォーム: 図形 63"/>
                <p:cNvSpPr/>
                <p:nvPr/>
              </p:nvSpPr>
              <p:spPr>
                <a:xfrm>
                  <a:off x="2035469" y="5863567"/>
                  <a:ext cx="57150" cy="104775"/>
                </a:xfrm>
                <a:custGeom>
                  <a:avLst/>
                  <a:gdLst>
                    <a:gd name="connsiteX0" fmla="*/ 49016 w 57150"/>
                    <a:gd name="connsiteY0" fmla="*/ 99498 h 104775"/>
                    <a:gd name="connsiteX1" fmla="*/ 39119 w 57150"/>
                    <a:gd name="connsiteY1" fmla="*/ 100489 h 104775"/>
                    <a:gd name="connsiteX2" fmla="*/ 17898 w 57150"/>
                    <a:gd name="connsiteY2" fmla="*/ 83372 h 104775"/>
                    <a:gd name="connsiteX3" fmla="*/ 17898 w 57150"/>
                    <a:gd name="connsiteY3" fmla="*/ 38967 h 104775"/>
                    <a:gd name="connsiteX4" fmla="*/ 7144 w 57150"/>
                    <a:gd name="connsiteY4" fmla="*/ 38967 h 104775"/>
                    <a:gd name="connsiteX5" fmla="*/ 7144 w 57150"/>
                    <a:gd name="connsiteY5" fmla="*/ 31623 h 104775"/>
                    <a:gd name="connsiteX6" fmla="*/ 17898 w 57150"/>
                    <a:gd name="connsiteY6" fmla="*/ 31623 h 104775"/>
                    <a:gd name="connsiteX7" fmla="*/ 17898 w 57150"/>
                    <a:gd name="connsiteY7" fmla="*/ 15773 h 104775"/>
                    <a:gd name="connsiteX8" fmla="*/ 32185 w 57150"/>
                    <a:gd name="connsiteY8" fmla="*/ 7144 h 104775"/>
                    <a:gd name="connsiteX9" fmla="*/ 32185 w 57150"/>
                    <a:gd name="connsiteY9" fmla="*/ 31623 h 104775"/>
                    <a:gd name="connsiteX10" fmla="*/ 50568 w 57150"/>
                    <a:gd name="connsiteY10" fmla="*/ 31623 h 104775"/>
                    <a:gd name="connsiteX11" fmla="*/ 50568 w 57150"/>
                    <a:gd name="connsiteY11" fmla="*/ 38967 h 104775"/>
                    <a:gd name="connsiteX12" fmla="*/ 32185 w 57150"/>
                    <a:gd name="connsiteY12" fmla="*/ 38967 h 104775"/>
                    <a:gd name="connsiteX13" fmla="*/ 32185 w 57150"/>
                    <a:gd name="connsiteY13" fmla="*/ 77714 h 104775"/>
                    <a:gd name="connsiteX14" fmla="*/ 42358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67" y="100489"/>
                        <a:pt x="39119" y="100489"/>
                      </a:cubicBezTo>
                      <a:cubicBezTo>
                        <a:pt x="25680" y="100489"/>
                        <a:pt x="17898" y="96393"/>
                        <a:pt x="17898" y="83372"/>
                      </a:cubicBezTo>
                      <a:lnTo>
                        <a:pt x="17898" y="38967"/>
                      </a:lnTo>
                      <a:lnTo>
                        <a:pt x="7144" y="38967"/>
                      </a:lnTo>
                      <a:lnTo>
                        <a:pt x="7144" y="31623"/>
                      </a:lnTo>
                      <a:lnTo>
                        <a:pt x="17898" y="31623"/>
                      </a:lnTo>
                      <a:lnTo>
                        <a:pt x="17898" y="15773"/>
                      </a:lnTo>
                      <a:lnTo>
                        <a:pt x="32185" y="7144"/>
                      </a:lnTo>
                      <a:lnTo>
                        <a:pt x="32185" y="31623"/>
                      </a:lnTo>
                      <a:lnTo>
                        <a:pt x="50568" y="31623"/>
                      </a:lnTo>
                      <a:lnTo>
                        <a:pt x="50568" y="38967"/>
                      </a:lnTo>
                      <a:lnTo>
                        <a:pt x="32185" y="38967"/>
                      </a:lnTo>
                      <a:lnTo>
                        <a:pt x="32185" y="77714"/>
                      </a:lnTo>
                      <a:cubicBezTo>
                        <a:pt x="32185" y="87611"/>
                        <a:pt x="33176" y="92430"/>
                        <a:pt x="42358" y="92430"/>
                      </a:cubicBezTo>
                      <a:cubicBezTo>
                        <a:pt x="44625" y="92430"/>
                        <a:pt x="47025" y="92154"/>
                        <a:pt x="49006" y="91297"/>
                      </a:cubicBezTo>
                      <a:lnTo>
                        <a:pt x="49006" y="99498"/>
                      </a:lnTo>
                      <a:close/>
                    </a:path>
                  </a:pathLst>
                </a:custGeom>
                <a:solidFill>
                  <a:schemeClr val="bg1"/>
                </a:solidFill>
                <a:ln w="9525" cap="flat">
                  <a:noFill/>
                  <a:prstDash val="solid"/>
                  <a:miter/>
                </a:ln>
              </p:spPr>
              <p:txBody>
                <a:bodyPr rtlCol="0" anchor="ctr"/>
                <a:lstStyle/>
                <a:p>
                  <a:endParaRPr lang="ja-JP" altLang="en-US"/>
                </a:p>
              </p:txBody>
            </p:sp>
            <p:sp>
              <p:nvSpPr>
                <p:cNvPr id="1113" name="フリーフォーム: 図形 64"/>
                <p:cNvSpPr/>
                <p:nvPr/>
              </p:nvSpPr>
              <p:spPr>
                <a:xfrm>
                  <a:off x="2091629" y="5888037"/>
                  <a:ext cx="66675" cy="76200"/>
                </a:xfrm>
                <a:custGeom>
                  <a:avLst/>
                  <a:gdLst>
                    <a:gd name="connsiteX0" fmla="*/ 47873 w 66675"/>
                    <a:gd name="connsiteY0" fmla="*/ 58493 h 76200"/>
                    <a:gd name="connsiteX1" fmla="*/ 47596 w 66675"/>
                    <a:gd name="connsiteY1" fmla="*/ 58493 h 76200"/>
                    <a:gd name="connsiteX2" fmla="*/ 24117 w 66675"/>
                    <a:gd name="connsiteY2" fmla="*/ 76019 h 76200"/>
                    <a:gd name="connsiteX3" fmla="*/ 7144 w 66675"/>
                    <a:gd name="connsiteY3" fmla="*/ 56369 h 76200"/>
                    <a:gd name="connsiteX4" fmla="*/ 7144 w 66675"/>
                    <a:gd name="connsiteY4" fmla="*/ 7144 h 76200"/>
                    <a:gd name="connsiteX5" fmla="*/ 21431 w 66675"/>
                    <a:gd name="connsiteY5" fmla="*/ 7144 h 76200"/>
                    <a:gd name="connsiteX6" fmla="*/ 21431 w 66675"/>
                    <a:gd name="connsiteY6" fmla="*/ 49282 h 76200"/>
                    <a:gd name="connsiteX7" fmla="*/ 29918 w 66675"/>
                    <a:gd name="connsiteY7" fmla="*/ 65408 h 76200"/>
                    <a:gd name="connsiteX8" fmla="*/ 48025 w 66675"/>
                    <a:gd name="connsiteY8" fmla="*/ 34995 h 76200"/>
                    <a:gd name="connsiteX9" fmla="*/ 48025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6" y="58493"/>
                      </a:lnTo>
                      <a:cubicBezTo>
                        <a:pt x="45339" y="63446"/>
                        <a:pt x="38967" y="76019"/>
                        <a:pt x="24117" y="76019"/>
                      </a:cubicBezTo>
                      <a:cubicBezTo>
                        <a:pt x="12230" y="76019"/>
                        <a:pt x="7144" y="66122"/>
                        <a:pt x="7144" y="56369"/>
                      </a:cubicBezTo>
                      <a:lnTo>
                        <a:pt x="7144" y="7144"/>
                      </a:lnTo>
                      <a:lnTo>
                        <a:pt x="21431" y="7144"/>
                      </a:lnTo>
                      <a:lnTo>
                        <a:pt x="21431" y="49282"/>
                      </a:lnTo>
                      <a:cubicBezTo>
                        <a:pt x="21431" y="57788"/>
                        <a:pt x="22708" y="65408"/>
                        <a:pt x="29918" y="65408"/>
                      </a:cubicBezTo>
                      <a:cubicBezTo>
                        <a:pt x="44062" y="65408"/>
                        <a:pt x="48025" y="43348"/>
                        <a:pt x="48025" y="34995"/>
                      </a:cubicBezTo>
                      <a:lnTo>
                        <a:pt x="48025" y="7144"/>
                      </a:lnTo>
                      <a:lnTo>
                        <a:pt x="62303" y="7144"/>
                      </a:lnTo>
                      <a:lnTo>
                        <a:pt x="62303" y="74466"/>
                      </a:lnTo>
                      <a:lnTo>
                        <a:pt x="47873" y="74466"/>
                      </a:lnTo>
                      <a:lnTo>
                        <a:pt x="47873" y="58493"/>
                      </a:lnTo>
                      <a:close/>
                    </a:path>
                  </a:pathLst>
                </a:custGeom>
                <a:solidFill>
                  <a:schemeClr val="bg1"/>
                </a:solidFill>
                <a:ln w="9525" cap="flat">
                  <a:noFill/>
                  <a:prstDash val="solid"/>
                  <a:miter/>
                </a:ln>
              </p:spPr>
              <p:txBody>
                <a:bodyPr rtlCol="0" anchor="ctr"/>
                <a:lstStyle/>
                <a:p>
                  <a:endParaRPr lang="ja-JP" altLang="en-US"/>
                </a:p>
              </p:txBody>
            </p:sp>
            <p:sp>
              <p:nvSpPr>
                <p:cNvPr id="1114" name="フリーフォーム: 図形 65"/>
                <p:cNvSpPr/>
                <p:nvPr/>
              </p:nvSpPr>
              <p:spPr>
                <a:xfrm>
                  <a:off x="2167724"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15" name="フリーフォーム: 図形 66"/>
                <p:cNvSpPr/>
                <p:nvPr/>
              </p:nvSpPr>
              <p:spPr>
                <a:xfrm>
                  <a:off x="2212568" y="5886465"/>
                  <a:ext cx="66675" cy="76200"/>
                </a:xfrm>
                <a:custGeom>
                  <a:avLst/>
                  <a:gdLst>
                    <a:gd name="connsiteX0" fmla="*/ 60465 w 66675"/>
                    <a:gd name="connsiteY0" fmla="*/ 73771 h 76200"/>
                    <a:gd name="connsiteX1" fmla="*/ 40805 w 66675"/>
                    <a:gd name="connsiteY1" fmla="*/ 77581 h 76200"/>
                    <a:gd name="connsiteX2" fmla="*/ 7144 w 66675"/>
                    <a:gd name="connsiteY2" fmla="*/ 39405 h 76200"/>
                    <a:gd name="connsiteX3" fmla="*/ 35861 w 66675"/>
                    <a:gd name="connsiteY3" fmla="*/ 7144 h 76200"/>
                    <a:gd name="connsiteX4" fmla="*/ 61751 w 66675"/>
                    <a:gd name="connsiteY4" fmla="*/ 34728 h 76200"/>
                    <a:gd name="connsiteX5" fmla="*/ 21441 w 66675"/>
                    <a:gd name="connsiteY5" fmla="*/ 34728 h 76200"/>
                    <a:gd name="connsiteX6" fmla="*/ 47606 w 66675"/>
                    <a:gd name="connsiteY6" fmla="*/ 70075 h 76200"/>
                    <a:gd name="connsiteX7" fmla="*/ 60484 w 66675"/>
                    <a:gd name="connsiteY7" fmla="*/ 67246 h 76200"/>
                    <a:gd name="connsiteX8" fmla="*/ 60484 w 66675"/>
                    <a:gd name="connsiteY8" fmla="*/ 73771 h 76200"/>
                    <a:gd name="connsiteX9" fmla="*/ 47730 w 66675"/>
                    <a:gd name="connsiteY9" fmla="*/ 28232 h 76200"/>
                    <a:gd name="connsiteX10" fmla="*/ 35281 w 66675"/>
                    <a:gd name="connsiteY10" fmla="*/ 13087 h 76200"/>
                    <a:gd name="connsiteX11" fmla="*/ 21850 w 66675"/>
                    <a:gd name="connsiteY11" fmla="*/ 28232 h 76200"/>
                    <a:gd name="connsiteX12" fmla="*/ 47730 w 66675"/>
                    <a:gd name="connsiteY12" fmla="*/ 2823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75" h="76200">
                      <a:moveTo>
                        <a:pt x="60465" y="73771"/>
                      </a:moveTo>
                      <a:cubicBezTo>
                        <a:pt x="54521" y="76172"/>
                        <a:pt x="49292" y="77581"/>
                        <a:pt x="40805" y="77581"/>
                      </a:cubicBezTo>
                      <a:cubicBezTo>
                        <a:pt x="22136" y="77581"/>
                        <a:pt x="7144" y="66551"/>
                        <a:pt x="7144" y="39405"/>
                      </a:cubicBezTo>
                      <a:cubicBezTo>
                        <a:pt x="7144" y="20726"/>
                        <a:pt x="14640" y="7144"/>
                        <a:pt x="35861" y="7144"/>
                      </a:cubicBezTo>
                      <a:cubicBezTo>
                        <a:pt x="57645" y="7144"/>
                        <a:pt x="61751" y="21707"/>
                        <a:pt x="61751" y="34728"/>
                      </a:cubicBezTo>
                      <a:lnTo>
                        <a:pt x="21441" y="34728"/>
                      </a:lnTo>
                      <a:cubicBezTo>
                        <a:pt x="21441" y="48015"/>
                        <a:pt x="27384" y="70075"/>
                        <a:pt x="47606" y="70075"/>
                      </a:cubicBezTo>
                      <a:cubicBezTo>
                        <a:pt x="51997" y="70075"/>
                        <a:pt x="56236" y="69237"/>
                        <a:pt x="60484" y="67246"/>
                      </a:cubicBezTo>
                      <a:lnTo>
                        <a:pt x="60484" y="73771"/>
                      </a:lnTo>
                      <a:close/>
                      <a:moveTo>
                        <a:pt x="47730" y="28232"/>
                      </a:moveTo>
                      <a:cubicBezTo>
                        <a:pt x="47730" y="23003"/>
                        <a:pt x="45901" y="13087"/>
                        <a:pt x="35281" y="13087"/>
                      </a:cubicBezTo>
                      <a:cubicBezTo>
                        <a:pt x="24251" y="13087"/>
                        <a:pt x="22127" y="24412"/>
                        <a:pt x="21850" y="28232"/>
                      </a:cubicBezTo>
                      <a:lnTo>
                        <a:pt x="47730" y="28232"/>
                      </a:lnTo>
                      <a:close/>
                    </a:path>
                  </a:pathLst>
                </a:custGeom>
                <a:solidFill>
                  <a:schemeClr val="bg1"/>
                </a:solidFill>
                <a:ln w="9525" cap="flat">
                  <a:noFill/>
                  <a:prstDash val="solid"/>
                  <a:miter/>
                </a:ln>
              </p:spPr>
              <p:txBody>
                <a:bodyPr rtlCol="0" anchor="ctr"/>
                <a:lstStyle/>
                <a:p>
                  <a:endParaRPr lang="ja-JP" altLang="en-US"/>
                </a:p>
              </p:txBody>
            </p:sp>
            <p:sp>
              <p:nvSpPr>
                <p:cNvPr id="1116" name="フリーフォーム: 図形 67"/>
                <p:cNvSpPr/>
                <p:nvPr/>
              </p:nvSpPr>
              <p:spPr>
                <a:xfrm>
                  <a:off x="2280605" y="5938252"/>
                  <a:ext cx="28575" cy="38100"/>
                </a:xfrm>
                <a:custGeom>
                  <a:avLst/>
                  <a:gdLst>
                    <a:gd name="connsiteX0" fmla="*/ 8411 w 28575"/>
                    <a:gd name="connsiteY0" fmla="*/ 7144 h 38100"/>
                    <a:gd name="connsiteX1" fmla="*/ 24822 w 28575"/>
                    <a:gd name="connsiteY1" fmla="*/ 7144 h 38100"/>
                    <a:gd name="connsiteX2" fmla="*/ 18459 w 28575"/>
                    <a:gd name="connsiteY2" fmla="*/ 39253 h 38100"/>
                    <a:gd name="connsiteX3" fmla="*/ 7144 w 28575"/>
                    <a:gd name="connsiteY3" fmla="*/ 39253 h 38100"/>
                    <a:gd name="connsiteX4" fmla="*/ 8411 w 28575"/>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8411" y="7144"/>
                      </a:moveTo>
                      <a:lnTo>
                        <a:pt x="24822" y="7144"/>
                      </a:lnTo>
                      <a:lnTo>
                        <a:pt x="18459" y="39253"/>
                      </a:lnTo>
                      <a:lnTo>
                        <a:pt x="7144" y="39253"/>
                      </a:lnTo>
                      <a:lnTo>
                        <a:pt x="8411" y="7144"/>
                      </a:lnTo>
                      <a:close/>
                    </a:path>
                  </a:pathLst>
                </a:custGeom>
                <a:solidFill>
                  <a:schemeClr val="bg1"/>
                </a:solidFill>
                <a:ln w="9525" cap="flat">
                  <a:noFill/>
                  <a:prstDash val="solid"/>
                  <a:miter/>
                </a:ln>
              </p:spPr>
              <p:txBody>
                <a:bodyPr rtlCol="0" anchor="ctr"/>
                <a:lstStyle/>
                <a:p>
                  <a:endParaRPr lang="ja-JP" altLang="en-US"/>
                </a:p>
              </p:txBody>
            </p:sp>
            <p:sp>
              <p:nvSpPr>
                <p:cNvPr id="1117" name="フリーフォーム: 図形 68"/>
                <p:cNvSpPr/>
                <p:nvPr/>
              </p:nvSpPr>
              <p:spPr>
                <a:xfrm>
                  <a:off x="2343260" y="5857766"/>
                  <a:ext cx="76200" cy="104775"/>
                </a:xfrm>
                <a:custGeom>
                  <a:avLst/>
                  <a:gdLst>
                    <a:gd name="connsiteX0" fmla="*/ 30756 w 76200"/>
                    <a:gd name="connsiteY0" fmla="*/ 16469 h 104775"/>
                    <a:gd name="connsiteX1" fmla="*/ 7144 w 76200"/>
                    <a:gd name="connsiteY1" fmla="*/ 16469 h 104775"/>
                    <a:gd name="connsiteX2" fmla="*/ 7144 w 76200"/>
                    <a:gd name="connsiteY2" fmla="*/ 7144 h 104775"/>
                    <a:gd name="connsiteX3" fmla="*/ 69942 w 76200"/>
                    <a:gd name="connsiteY3" fmla="*/ 7144 h 104775"/>
                    <a:gd name="connsiteX4" fmla="*/ 69942 w 76200"/>
                    <a:gd name="connsiteY4" fmla="*/ 16469 h 104775"/>
                    <a:gd name="connsiteX5" fmla="*/ 46329 w 76200"/>
                    <a:gd name="connsiteY5" fmla="*/ 16469 h 104775"/>
                    <a:gd name="connsiteX6" fmla="*/ 46329 w 76200"/>
                    <a:gd name="connsiteY6" fmla="*/ 104747 h 104775"/>
                    <a:gd name="connsiteX7" fmla="*/ 30766 w 76200"/>
                    <a:gd name="connsiteY7" fmla="*/ 104747 h 104775"/>
                    <a:gd name="connsiteX8" fmla="*/ 30766 w 76200"/>
                    <a:gd name="connsiteY8" fmla="*/ 164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4775">
                      <a:moveTo>
                        <a:pt x="30756" y="16469"/>
                      </a:moveTo>
                      <a:lnTo>
                        <a:pt x="7144" y="16469"/>
                      </a:lnTo>
                      <a:lnTo>
                        <a:pt x="7144" y="7144"/>
                      </a:lnTo>
                      <a:lnTo>
                        <a:pt x="69942" y="7144"/>
                      </a:lnTo>
                      <a:lnTo>
                        <a:pt x="69942" y="16469"/>
                      </a:lnTo>
                      <a:lnTo>
                        <a:pt x="46329" y="16469"/>
                      </a:lnTo>
                      <a:lnTo>
                        <a:pt x="46329" y="104747"/>
                      </a:lnTo>
                      <a:lnTo>
                        <a:pt x="30766" y="104747"/>
                      </a:lnTo>
                      <a:lnTo>
                        <a:pt x="30766" y="16469"/>
                      </a:lnTo>
                      <a:close/>
                    </a:path>
                  </a:pathLst>
                </a:custGeom>
                <a:solidFill>
                  <a:schemeClr val="bg1"/>
                </a:solidFill>
                <a:ln w="9525" cap="flat">
                  <a:noFill/>
                  <a:prstDash val="solid"/>
                  <a:miter/>
                </a:ln>
              </p:spPr>
              <p:txBody>
                <a:bodyPr rtlCol="0" anchor="ctr"/>
                <a:lstStyle/>
                <a:p>
                  <a:endParaRPr lang="ja-JP" altLang="en-US"/>
                </a:p>
              </p:txBody>
            </p:sp>
            <p:sp>
              <p:nvSpPr>
                <p:cNvPr id="1118" name="フリーフォーム: 図形 69"/>
                <p:cNvSpPr/>
                <p:nvPr/>
              </p:nvSpPr>
              <p:spPr>
                <a:xfrm>
                  <a:off x="2416669"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19" name="フリーフォーム: 図形 70"/>
                <p:cNvSpPr/>
                <p:nvPr/>
              </p:nvSpPr>
              <p:spPr>
                <a:xfrm>
                  <a:off x="2462075" y="5886475"/>
                  <a:ext cx="57150" cy="76200"/>
                </a:xfrm>
                <a:custGeom>
                  <a:avLst/>
                  <a:gdLst>
                    <a:gd name="connsiteX0" fmla="*/ 44777 w 57150"/>
                    <a:gd name="connsiteY0" fmla="*/ 66694 h 76200"/>
                    <a:gd name="connsiteX1" fmla="*/ 44482 w 57150"/>
                    <a:gd name="connsiteY1" fmla="*/ 66694 h 76200"/>
                    <a:gd name="connsiteX2" fmla="*/ 25537 w 57150"/>
                    <a:gd name="connsiteY2" fmla="*/ 77581 h 76200"/>
                    <a:gd name="connsiteX3" fmla="*/ 7144 w 57150"/>
                    <a:gd name="connsiteY3" fmla="*/ 60760 h 76200"/>
                    <a:gd name="connsiteX4" fmla="*/ 44777 w 57150"/>
                    <a:gd name="connsiteY4" fmla="*/ 38548 h 76200"/>
                    <a:gd name="connsiteX5" fmla="*/ 44777 w 57150"/>
                    <a:gd name="connsiteY5" fmla="*/ 32613 h 76200"/>
                    <a:gd name="connsiteX6" fmla="*/ 35290 w 57150"/>
                    <a:gd name="connsiteY6" fmla="*/ 13078 h 76200"/>
                    <a:gd name="connsiteX7" fmla="*/ 24394 w 57150"/>
                    <a:gd name="connsiteY7" fmla="*/ 27794 h 76200"/>
                    <a:gd name="connsiteX8" fmla="*/ 9401 w 57150"/>
                    <a:gd name="connsiteY8" fmla="*/ 27794 h 76200"/>
                    <a:gd name="connsiteX9" fmla="*/ 35290 w 57150"/>
                    <a:gd name="connsiteY9" fmla="*/ 7144 h 76200"/>
                    <a:gd name="connsiteX10" fmla="*/ 59064 w 57150"/>
                    <a:gd name="connsiteY10" fmla="*/ 32613 h 76200"/>
                    <a:gd name="connsiteX11" fmla="*/ 59064 w 57150"/>
                    <a:gd name="connsiteY11" fmla="*/ 76038 h 76200"/>
                    <a:gd name="connsiteX12" fmla="*/ 44777 w 57150"/>
                    <a:gd name="connsiteY12" fmla="*/ 76038 h 76200"/>
                    <a:gd name="connsiteX13" fmla="*/ 44777 w 57150"/>
                    <a:gd name="connsiteY13" fmla="*/ 66694 h 76200"/>
                    <a:gd name="connsiteX14" fmla="*/ 44777 w 57150"/>
                    <a:gd name="connsiteY14" fmla="*/ 44482 h 76200"/>
                    <a:gd name="connsiteX15" fmla="*/ 22708 w 57150"/>
                    <a:gd name="connsiteY15" fmla="*/ 58636 h 76200"/>
                    <a:gd name="connsiteX16" fmla="*/ 30899 w 57150"/>
                    <a:gd name="connsiteY16" fmla="*/ 68666 h 76200"/>
                    <a:gd name="connsiteX17" fmla="*/ 44777 w 57150"/>
                    <a:gd name="connsiteY17" fmla="*/ 52406 h 76200"/>
                    <a:gd name="connsiteX18" fmla="*/ 44777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77" y="66694"/>
                      </a:moveTo>
                      <a:lnTo>
                        <a:pt x="44482" y="66694"/>
                      </a:lnTo>
                      <a:cubicBezTo>
                        <a:pt x="42224" y="70656"/>
                        <a:pt x="36281" y="77581"/>
                        <a:pt x="25537" y="77581"/>
                      </a:cubicBezTo>
                      <a:cubicBezTo>
                        <a:pt x="14926" y="77581"/>
                        <a:pt x="7144" y="70085"/>
                        <a:pt x="7144" y="60760"/>
                      </a:cubicBezTo>
                      <a:cubicBezTo>
                        <a:pt x="7144" y="39957"/>
                        <a:pt x="35861" y="38976"/>
                        <a:pt x="44777" y="38548"/>
                      </a:cubicBezTo>
                      <a:lnTo>
                        <a:pt x="44777" y="32613"/>
                      </a:lnTo>
                      <a:cubicBezTo>
                        <a:pt x="44777" y="25251"/>
                        <a:pt x="44777" y="13078"/>
                        <a:pt x="35290" y="13078"/>
                      </a:cubicBezTo>
                      <a:cubicBezTo>
                        <a:pt x="26518" y="13078"/>
                        <a:pt x="24965" y="19869"/>
                        <a:pt x="24394" y="27794"/>
                      </a:cubicBezTo>
                      <a:lnTo>
                        <a:pt x="9401" y="27794"/>
                      </a:lnTo>
                      <a:cubicBezTo>
                        <a:pt x="10106" y="17745"/>
                        <a:pt x="14068" y="7144"/>
                        <a:pt x="35290" y="7144"/>
                      </a:cubicBezTo>
                      <a:cubicBezTo>
                        <a:pt x="57217" y="7144"/>
                        <a:pt x="59064" y="19440"/>
                        <a:pt x="59064" y="32613"/>
                      </a:cubicBezTo>
                      <a:lnTo>
                        <a:pt x="59064" y="76038"/>
                      </a:lnTo>
                      <a:lnTo>
                        <a:pt x="44777" y="76038"/>
                      </a:lnTo>
                      <a:lnTo>
                        <a:pt x="44777" y="66694"/>
                      </a:lnTo>
                      <a:close/>
                      <a:moveTo>
                        <a:pt x="44777" y="44482"/>
                      </a:moveTo>
                      <a:cubicBezTo>
                        <a:pt x="38824" y="44910"/>
                        <a:pt x="22708" y="46177"/>
                        <a:pt x="22708" y="58636"/>
                      </a:cubicBezTo>
                      <a:cubicBezTo>
                        <a:pt x="22708" y="64703"/>
                        <a:pt x="26241" y="68666"/>
                        <a:pt x="30899" y="68666"/>
                      </a:cubicBezTo>
                      <a:cubicBezTo>
                        <a:pt x="35861" y="68666"/>
                        <a:pt x="44777" y="63865"/>
                        <a:pt x="44777" y="52406"/>
                      </a:cubicBezTo>
                      <a:lnTo>
                        <a:pt x="44777" y="44482"/>
                      </a:lnTo>
                      <a:close/>
                    </a:path>
                  </a:pathLst>
                </a:custGeom>
                <a:solidFill>
                  <a:schemeClr val="bg1"/>
                </a:solidFill>
                <a:ln w="9525" cap="flat">
                  <a:noFill/>
                  <a:prstDash val="solid"/>
                  <a:miter/>
                </a:ln>
              </p:spPr>
              <p:txBody>
                <a:bodyPr rtlCol="0" anchor="ctr"/>
                <a:lstStyle/>
                <a:p>
                  <a:endParaRPr lang="ja-JP" altLang="en-US"/>
                </a:p>
              </p:txBody>
            </p:sp>
            <p:sp>
              <p:nvSpPr>
                <p:cNvPr id="1120" name="フリーフォーム: 図形 71"/>
                <p:cNvSpPr/>
                <p:nvPr/>
              </p:nvSpPr>
              <p:spPr>
                <a:xfrm>
                  <a:off x="2534627" y="5886475"/>
                  <a:ext cx="66675" cy="76200"/>
                </a:xfrm>
                <a:custGeom>
                  <a:avLst/>
                  <a:gdLst>
                    <a:gd name="connsiteX0" fmla="*/ 7153 w 66675"/>
                    <a:gd name="connsiteY0" fmla="*/ 8706 h 76200"/>
                    <a:gd name="connsiteX1" fmla="*/ 21431 w 66675"/>
                    <a:gd name="connsiteY1" fmla="*/ 8706 h 76200"/>
                    <a:gd name="connsiteX2" fmla="*/ 21431 w 66675"/>
                    <a:gd name="connsiteY2" fmla="*/ 24689 h 76200"/>
                    <a:gd name="connsiteX3" fmla="*/ 21717 w 66675"/>
                    <a:gd name="connsiteY3" fmla="*/ 24689 h 76200"/>
                    <a:gd name="connsiteX4" fmla="*/ 45329 w 66675"/>
                    <a:gd name="connsiteY4" fmla="*/ 7144 h 76200"/>
                    <a:gd name="connsiteX5" fmla="*/ 62303 w 66675"/>
                    <a:gd name="connsiteY5" fmla="*/ 26803 h 76200"/>
                    <a:gd name="connsiteX6" fmla="*/ 62303 w 66675"/>
                    <a:gd name="connsiteY6" fmla="*/ 76029 h 76200"/>
                    <a:gd name="connsiteX7" fmla="*/ 48015 w 66675"/>
                    <a:gd name="connsiteY7" fmla="*/ 76029 h 76200"/>
                    <a:gd name="connsiteX8" fmla="*/ 48015 w 66675"/>
                    <a:gd name="connsiteY8" fmla="*/ 33871 h 76200"/>
                    <a:gd name="connsiteX9" fmla="*/ 39529 w 66675"/>
                    <a:gd name="connsiteY9" fmla="*/ 17745 h 76200"/>
                    <a:gd name="connsiteX10" fmla="*/ 21422 w 66675"/>
                    <a:gd name="connsiteY10" fmla="*/ 48158 h 76200"/>
                    <a:gd name="connsiteX11" fmla="*/ 21422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31" y="8706"/>
                      </a:lnTo>
                      <a:lnTo>
                        <a:pt x="21431" y="24689"/>
                      </a:lnTo>
                      <a:lnTo>
                        <a:pt x="21717" y="24689"/>
                      </a:lnTo>
                      <a:cubicBezTo>
                        <a:pt x="23974" y="19736"/>
                        <a:pt x="30489" y="7144"/>
                        <a:pt x="45329" y="7144"/>
                      </a:cubicBezTo>
                      <a:cubicBezTo>
                        <a:pt x="57217" y="7144"/>
                        <a:pt x="62303" y="17040"/>
                        <a:pt x="62303" y="26803"/>
                      </a:cubicBezTo>
                      <a:lnTo>
                        <a:pt x="62303" y="76029"/>
                      </a:lnTo>
                      <a:lnTo>
                        <a:pt x="48015" y="76029"/>
                      </a:lnTo>
                      <a:lnTo>
                        <a:pt x="48015" y="33871"/>
                      </a:lnTo>
                      <a:cubicBezTo>
                        <a:pt x="48015" y="25384"/>
                        <a:pt x="46739" y="17745"/>
                        <a:pt x="39529" y="17745"/>
                      </a:cubicBezTo>
                      <a:cubicBezTo>
                        <a:pt x="25384" y="17745"/>
                        <a:pt x="21422" y="39805"/>
                        <a:pt x="21422" y="48158"/>
                      </a:cubicBezTo>
                      <a:lnTo>
                        <a:pt x="21422"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21" name="フリーフォーム: 図形 72"/>
                <p:cNvSpPr/>
                <p:nvPr/>
              </p:nvSpPr>
              <p:spPr>
                <a:xfrm>
                  <a:off x="2607750" y="5886465"/>
                  <a:ext cx="57150" cy="76200"/>
                </a:xfrm>
                <a:custGeom>
                  <a:avLst/>
                  <a:gdLst>
                    <a:gd name="connsiteX0" fmla="*/ 46615 w 57150"/>
                    <a:gd name="connsiteY0" fmla="*/ 22003 h 76200"/>
                    <a:gd name="connsiteX1" fmla="*/ 29642 w 57150"/>
                    <a:gd name="connsiteY1" fmla="*/ 15364 h 76200"/>
                    <a:gd name="connsiteX2" fmla="*/ 20022 w 57150"/>
                    <a:gd name="connsiteY2" fmla="*/ 22431 h 76200"/>
                    <a:gd name="connsiteX3" fmla="*/ 50854 w 57150"/>
                    <a:gd name="connsiteY3" fmla="*/ 57236 h 76200"/>
                    <a:gd name="connsiteX4" fmla="*/ 25251 w 57150"/>
                    <a:gd name="connsiteY4" fmla="*/ 77591 h 76200"/>
                    <a:gd name="connsiteX5" fmla="*/ 7277 w 57150"/>
                    <a:gd name="connsiteY5" fmla="*/ 74628 h 76200"/>
                    <a:gd name="connsiteX6" fmla="*/ 7277 w 57150"/>
                    <a:gd name="connsiteY6" fmla="*/ 61474 h 76200"/>
                    <a:gd name="connsiteX7" fmla="*/ 25956 w 57150"/>
                    <a:gd name="connsiteY7" fmla="*/ 68542 h 76200"/>
                    <a:gd name="connsiteX8" fmla="*/ 37557 w 57150"/>
                    <a:gd name="connsiteY8" fmla="*/ 60055 h 76200"/>
                    <a:gd name="connsiteX9" fmla="*/ 7144 w 57150"/>
                    <a:gd name="connsiteY9" fmla="*/ 26527 h 76200"/>
                    <a:gd name="connsiteX10" fmla="*/ 3076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15" y="22003"/>
                      </a:moveTo>
                      <a:cubicBezTo>
                        <a:pt x="41805" y="18745"/>
                        <a:pt x="36433" y="15364"/>
                        <a:pt x="29642" y="15364"/>
                      </a:cubicBezTo>
                      <a:cubicBezTo>
                        <a:pt x="25108" y="15364"/>
                        <a:pt x="20022" y="17336"/>
                        <a:pt x="20022" y="22431"/>
                      </a:cubicBezTo>
                      <a:cubicBezTo>
                        <a:pt x="20022" y="34595"/>
                        <a:pt x="50854" y="35728"/>
                        <a:pt x="50854" y="57236"/>
                      </a:cubicBezTo>
                      <a:cubicBezTo>
                        <a:pt x="50854" y="71656"/>
                        <a:pt x="39538" y="77591"/>
                        <a:pt x="25251" y="77591"/>
                      </a:cubicBezTo>
                      <a:cubicBezTo>
                        <a:pt x="16621" y="77591"/>
                        <a:pt x="10678" y="75771"/>
                        <a:pt x="7277" y="74628"/>
                      </a:cubicBezTo>
                      <a:lnTo>
                        <a:pt x="7277" y="61474"/>
                      </a:lnTo>
                      <a:cubicBezTo>
                        <a:pt x="11382" y="64303"/>
                        <a:pt x="18031" y="68542"/>
                        <a:pt x="25956" y="68542"/>
                      </a:cubicBezTo>
                      <a:cubicBezTo>
                        <a:pt x="34157" y="68542"/>
                        <a:pt x="37557" y="64303"/>
                        <a:pt x="37557" y="60055"/>
                      </a:cubicBezTo>
                      <a:cubicBezTo>
                        <a:pt x="37557" y="48168"/>
                        <a:pt x="7144" y="45768"/>
                        <a:pt x="7144" y="26527"/>
                      </a:cubicBezTo>
                      <a:cubicBezTo>
                        <a:pt x="7144" y="16335"/>
                        <a:pt x="13935" y="7144"/>
                        <a:pt x="30766" y="7144"/>
                      </a:cubicBezTo>
                      <a:cubicBezTo>
                        <a:pt x="37976" y="7144"/>
                        <a:pt x="44196" y="9115"/>
                        <a:pt x="46606" y="9820"/>
                      </a:cubicBezTo>
                      <a:lnTo>
                        <a:pt x="46606" y="22003"/>
                      </a:lnTo>
                      <a:close/>
                    </a:path>
                  </a:pathLst>
                </a:custGeom>
                <a:solidFill>
                  <a:schemeClr val="bg1"/>
                </a:solidFill>
                <a:ln w="9525" cap="flat">
                  <a:noFill/>
                  <a:prstDash val="solid"/>
                  <a:miter/>
                </a:ln>
              </p:spPr>
              <p:txBody>
                <a:bodyPr rtlCol="0" anchor="ctr"/>
                <a:lstStyle/>
                <a:p>
                  <a:endParaRPr lang="ja-JP" altLang="en-US"/>
                </a:p>
              </p:txBody>
            </p:sp>
            <p:sp>
              <p:nvSpPr>
                <p:cNvPr id="1122" name="フリーフォーム: 図形 73"/>
                <p:cNvSpPr/>
                <p:nvPr/>
              </p:nvSpPr>
              <p:spPr>
                <a:xfrm>
                  <a:off x="2668015" y="5886475"/>
                  <a:ext cx="66675" cy="104775"/>
                </a:xfrm>
                <a:custGeom>
                  <a:avLst/>
                  <a:gdLst>
                    <a:gd name="connsiteX0" fmla="*/ 7144 w 66675"/>
                    <a:gd name="connsiteY0" fmla="*/ 8706 h 104775"/>
                    <a:gd name="connsiteX1" fmla="*/ 21431 w 66675"/>
                    <a:gd name="connsiteY1" fmla="*/ 8706 h 104775"/>
                    <a:gd name="connsiteX2" fmla="*/ 21431 w 66675"/>
                    <a:gd name="connsiteY2" fmla="*/ 19736 h 104775"/>
                    <a:gd name="connsiteX3" fmla="*/ 21707 w 66675"/>
                    <a:gd name="connsiteY3" fmla="*/ 19736 h 104775"/>
                    <a:gd name="connsiteX4" fmla="*/ 39110 w 66675"/>
                    <a:gd name="connsiteY4" fmla="*/ 7144 h 104775"/>
                    <a:gd name="connsiteX5" fmla="*/ 64570 w 66675"/>
                    <a:gd name="connsiteY5" fmla="*/ 42358 h 104775"/>
                    <a:gd name="connsiteX6" fmla="*/ 39110 w 66675"/>
                    <a:gd name="connsiteY6" fmla="*/ 77571 h 104775"/>
                    <a:gd name="connsiteX7" fmla="*/ 21707 w 66675"/>
                    <a:gd name="connsiteY7" fmla="*/ 66684 h 104775"/>
                    <a:gd name="connsiteX8" fmla="*/ 21431 w 66675"/>
                    <a:gd name="connsiteY8" fmla="*/ 66684 h 104775"/>
                    <a:gd name="connsiteX9" fmla="*/ 21431 w 66675"/>
                    <a:gd name="connsiteY9" fmla="*/ 106289 h 104775"/>
                    <a:gd name="connsiteX10" fmla="*/ 7144 w 66675"/>
                    <a:gd name="connsiteY10" fmla="*/ 106289 h 104775"/>
                    <a:gd name="connsiteX11" fmla="*/ 7144 w 66675"/>
                    <a:gd name="connsiteY11" fmla="*/ 8706 h 104775"/>
                    <a:gd name="connsiteX12" fmla="*/ 35423 w 66675"/>
                    <a:gd name="connsiteY12" fmla="*/ 69370 h 104775"/>
                    <a:gd name="connsiteX13" fmla="*/ 49006 w 66675"/>
                    <a:gd name="connsiteY13" fmla="*/ 42358 h 104775"/>
                    <a:gd name="connsiteX14" fmla="*/ 35423 w 66675"/>
                    <a:gd name="connsiteY14" fmla="*/ 16202 h 104775"/>
                    <a:gd name="connsiteX15" fmla="*/ 21993 w 66675"/>
                    <a:gd name="connsiteY15" fmla="*/ 42358 h 104775"/>
                    <a:gd name="connsiteX16" fmla="*/ 35423 w 66675"/>
                    <a:gd name="connsiteY16" fmla="*/ 6937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7144" y="8706"/>
                      </a:moveTo>
                      <a:lnTo>
                        <a:pt x="21431" y="8706"/>
                      </a:lnTo>
                      <a:lnTo>
                        <a:pt x="21431" y="19736"/>
                      </a:lnTo>
                      <a:lnTo>
                        <a:pt x="21707" y="19736"/>
                      </a:lnTo>
                      <a:cubicBezTo>
                        <a:pt x="23689" y="15192"/>
                        <a:pt x="28356" y="7144"/>
                        <a:pt x="39110" y="7144"/>
                      </a:cubicBezTo>
                      <a:cubicBezTo>
                        <a:pt x="58626" y="7144"/>
                        <a:pt x="64570" y="22993"/>
                        <a:pt x="64570" y="42358"/>
                      </a:cubicBezTo>
                      <a:cubicBezTo>
                        <a:pt x="64570" y="62579"/>
                        <a:pt x="57074" y="77571"/>
                        <a:pt x="39110" y="77571"/>
                      </a:cubicBezTo>
                      <a:cubicBezTo>
                        <a:pt x="27794" y="77571"/>
                        <a:pt x="23689" y="70371"/>
                        <a:pt x="21707" y="66684"/>
                      </a:cubicBezTo>
                      <a:lnTo>
                        <a:pt x="21431" y="66684"/>
                      </a:lnTo>
                      <a:lnTo>
                        <a:pt x="21431" y="106289"/>
                      </a:lnTo>
                      <a:lnTo>
                        <a:pt x="7144" y="106289"/>
                      </a:lnTo>
                      <a:lnTo>
                        <a:pt x="7144" y="8706"/>
                      </a:lnTo>
                      <a:close/>
                      <a:moveTo>
                        <a:pt x="35423" y="69370"/>
                      </a:moveTo>
                      <a:cubicBezTo>
                        <a:pt x="46606" y="69370"/>
                        <a:pt x="49006" y="54092"/>
                        <a:pt x="49006" y="42358"/>
                      </a:cubicBezTo>
                      <a:cubicBezTo>
                        <a:pt x="49006" y="31194"/>
                        <a:pt x="46882" y="16202"/>
                        <a:pt x="35423" y="16202"/>
                      </a:cubicBezTo>
                      <a:cubicBezTo>
                        <a:pt x="23689" y="16202"/>
                        <a:pt x="21993" y="31194"/>
                        <a:pt x="21993" y="42358"/>
                      </a:cubicBezTo>
                      <a:cubicBezTo>
                        <a:pt x="21993" y="54102"/>
                        <a:pt x="23117" y="69370"/>
                        <a:pt x="35423" y="69370"/>
                      </a:cubicBezTo>
                      <a:close/>
                    </a:path>
                  </a:pathLst>
                </a:custGeom>
                <a:solidFill>
                  <a:schemeClr val="bg1"/>
                </a:solidFill>
                <a:ln w="9525" cap="flat">
                  <a:noFill/>
                  <a:prstDash val="solid"/>
                  <a:miter/>
                </a:ln>
              </p:spPr>
              <p:txBody>
                <a:bodyPr rtlCol="0" anchor="ctr"/>
                <a:lstStyle/>
                <a:p>
                  <a:endParaRPr lang="ja-JP" altLang="en-US"/>
                </a:p>
              </p:txBody>
            </p:sp>
            <p:sp>
              <p:nvSpPr>
                <p:cNvPr id="1123" name="フリーフォーム: 図形 74"/>
                <p:cNvSpPr/>
                <p:nvPr/>
              </p:nvSpPr>
              <p:spPr>
                <a:xfrm>
                  <a:off x="2736614" y="5886475"/>
                  <a:ext cx="66675" cy="76200"/>
                </a:xfrm>
                <a:custGeom>
                  <a:avLst/>
                  <a:gdLst>
                    <a:gd name="connsiteX0" fmla="*/ 7144 w 66675"/>
                    <a:gd name="connsiteY0" fmla="*/ 42358 h 76200"/>
                    <a:gd name="connsiteX1" fmla="*/ 36852 w 66675"/>
                    <a:gd name="connsiteY1" fmla="*/ 7144 h 76200"/>
                    <a:gd name="connsiteX2" fmla="*/ 66694 w 66675"/>
                    <a:gd name="connsiteY2" fmla="*/ 42358 h 76200"/>
                    <a:gd name="connsiteX3" fmla="*/ 36852 w 66675"/>
                    <a:gd name="connsiteY3" fmla="*/ 77571 h 76200"/>
                    <a:gd name="connsiteX4" fmla="*/ 7144 w 66675"/>
                    <a:gd name="connsiteY4" fmla="*/ 42358 h 76200"/>
                    <a:gd name="connsiteX5" fmla="*/ 36852 w 66675"/>
                    <a:gd name="connsiteY5" fmla="*/ 71647 h 76200"/>
                    <a:gd name="connsiteX6" fmla="*/ 51130 w 66675"/>
                    <a:gd name="connsiteY6" fmla="*/ 42367 h 76200"/>
                    <a:gd name="connsiteX7" fmla="*/ 36852 w 66675"/>
                    <a:gd name="connsiteY7" fmla="*/ 13087 h 76200"/>
                    <a:gd name="connsiteX8" fmla="*/ 22708 w 66675"/>
                    <a:gd name="connsiteY8" fmla="*/ 42367 h 76200"/>
                    <a:gd name="connsiteX9" fmla="*/ 36852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50" y="7144"/>
                        <a:pt x="36852" y="7144"/>
                      </a:cubicBezTo>
                      <a:cubicBezTo>
                        <a:pt x="56645" y="7144"/>
                        <a:pt x="66694" y="19593"/>
                        <a:pt x="66694" y="42358"/>
                      </a:cubicBezTo>
                      <a:cubicBezTo>
                        <a:pt x="66694" y="65122"/>
                        <a:pt x="56645" y="77571"/>
                        <a:pt x="36852" y="77571"/>
                      </a:cubicBezTo>
                      <a:cubicBezTo>
                        <a:pt x="17050" y="77581"/>
                        <a:pt x="7144" y="65132"/>
                        <a:pt x="7144" y="42358"/>
                      </a:cubicBezTo>
                      <a:close/>
                      <a:moveTo>
                        <a:pt x="36852" y="71647"/>
                      </a:moveTo>
                      <a:cubicBezTo>
                        <a:pt x="49577" y="71647"/>
                        <a:pt x="51130" y="54683"/>
                        <a:pt x="51130" y="42367"/>
                      </a:cubicBezTo>
                      <a:cubicBezTo>
                        <a:pt x="51130" y="30070"/>
                        <a:pt x="49577" y="13087"/>
                        <a:pt x="36852" y="13087"/>
                      </a:cubicBezTo>
                      <a:cubicBezTo>
                        <a:pt x="24260" y="13087"/>
                        <a:pt x="22708" y="30070"/>
                        <a:pt x="22708" y="42367"/>
                      </a:cubicBezTo>
                      <a:cubicBezTo>
                        <a:pt x="22698" y="54673"/>
                        <a:pt x="24260" y="71647"/>
                        <a:pt x="36852" y="71647"/>
                      </a:cubicBezTo>
                      <a:close/>
                    </a:path>
                  </a:pathLst>
                </a:custGeom>
                <a:solidFill>
                  <a:schemeClr val="bg1"/>
                </a:solidFill>
                <a:ln w="9525" cap="flat">
                  <a:noFill/>
                  <a:prstDash val="solid"/>
                  <a:miter/>
                </a:ln>
              </p:spPr>
              <p:txBody>
                <a:bodyPr rtlCol="0" anchor="ctr"/>
                <a:lstStyle/>
                <a:p>
                  <a:endParaRPr lang="ja-JP" altLang="en-US"/>
                </a:p>
              </p:txBody>
            </p:sp>
            <p:sp>
              <p:nvSpPr>
                <p:cNvPr id="1124" name="フリーフォーム: 図形 75"/>
                <p:cNvSpPr/>
                <p:nvPr/>
              </p:nvSpPr>
              <p:spPr>
                <a:xfrm>
                  <a:off x="2812290" y="5886475"/>
                  <a:ext cx="47625" cy="76200"/>
                </a:xfrm>
                <a:custGeom>
                  <a:avLst/>
                  <a:gdLst>
                    <a:gd name="connsiteX0" fmla="*/ 7144 w 47625"/>
                    <a:gd name="connsiteY0" fmla="*/ 8706 h 76200"/>
                    <a:gd name="connsiteX1" fmla="*/ 21422 w 47625"/>
                    <a:gd name="connsiteY1" fmla="*/ 8706 h 76200"/>
                    <a:gd name="connsiteX2" fmla="*/ 21422 w 47625"/>
                    <a:gd name="connsiteY2" fmla="*/ 25822 h 76200"/>
                    <a:gd name="connsiteX3" fmla="*/ 21708 w 47625"/>
                    <a:gd name="connsiteY3" fmla="*/ 25822 h 76200"/>
                    <a:gd name="connsiteX4" fmla="*/ 43491 w 47625"/>
                    <a:gd name="connsiteY4" fmla="*/ 7144 h 76200"/>
                    <a:gd name="connsiteX5" fmla="*/ 43491 w 47625"/>
                    <a:gd name="connsiteY5" fmla="*/ 21993 h 76200"/>
                    <a:gd name="connsiteX6" fmla="*/ 21422 w 47625"/>
                    <a:gd name="connsiteY6" fmla="*/ 45196 h 76200"/>
                    <a:gd name="connsiteX7" fmla="*/ 21422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22" y="8706"/>
                      </a:lnTo>
                      <a:lnTo>
                        <a:pt x="21422" y="25822"/>
                      </a:lnTo>
                      <a:lnTo>
                        <a:pt x="21708" y="25822"/>
                      </a:lnTo>
                      <a:cubicBezTo>
                        <a:pt x="26232" y="16764"/>
                        <a:pt x="31185" y="8134"/>
                        <a:pt x="43491" y="7144"/>
                      </a:cubicBezTo>
                      <a:lnTo>
                        <a:pt x="43491" y="21993"/>
                      </a:lnTo>
                      <a:cubicBezTo>
                        <a:pt x="29775" y="22422"/>
                        <a:pt x="21422" y="27089"/>
                        <a:pt x="21422" y="45196"/>
                      </a:cubicBezTo>
                      <a:lnTo>
                        <a:pt x="21422"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25" name="フリーフォーム: 図形 76"/>
                <p:cNvSpPr/>
                <p:nvPr/>
              </p:nvSpPr>
              <p:spPr>
                <a:xfrm>
                  <a:off x="2855562" y="5863567"/>
                  <a:ext cx="57150" cy="104775"/>
                </a:xfrm>
                <a:custGeom>
                  <a:avLst/>
                  <a:gdLst>
                    <a:gd name="connsiteX0" fmla="*/ 49016 w 57150"/>
                    <a:gd name="connsiteY0" fmla="*/ 99498 h 104775"/>
                    <a:gd name="connsiteX1" fmla="*/ 39110 w 57150"/>
                    <a:gd name="connsiteY1" fmla="*/ 100489 h 104775"/>
                    <a:gd name="connsiteX2" fmla="*/ 17888 w 57150"/>
                    <a:gd name="connsiteY2" fmla="*/ 83372 h 104775"/>
                    <a:gd name="connsiteX3" fmla="*/ 17888 w 57150"/>
                    <a:gd name="connsiteY3" fmla="*/ 38967 h 104775"/>
                    <a:gd name="connsiteX4" fmla="*/ 7144 w 57150"/>
                    <a:gd name="connsiteY4" fmla="*/ 38967 h 104775"/>
                    <a:gd name="connsiteX5" fmla="*/ 7144 w 57150"/>
                    <a:gd name="connsiteY5" fmla="*/ 31623 h 104775"/>
                    <a:gd name="connsiteX6" fmla="*/ 17888 w 57150"/>
                    <a:gd name="connsiteY6" fmla="*/ 31623 h 104775"/>
                    <a:gd name="connsiteX7" fmla="*/ 17888 w 57150"/>
                    <a:gd name="connsiteY7" fmla="*/ 15773 h 104775"/>
                    <a:gd name="connsiteX8" fmla="*/ 32175 w 57150"/>
                    <a:gd name="connsiteY8" fmla="*/ 7144 h 104775"/>
                    <a:gd name="connsiteX9" fmla="*/ 32175 w 57150"/>
                    <a:gd name="connsiteY9" fmla="*/ 31623 h 104775"/>
                    <a:gd name="connsiteX10" fmla="*/ 50568 w 57150"/>
                    <a:gd name="connsiteY10" fmla="*/ 31623 h 104775"/>
                    <a:gd name="connsiteX11" fmla="*/ 50568 w 57150"/>
                    <a:gd name="connsiteY11" fmla="*/ 38967 h 104775"/>
                    <a:gd name="connsiteX12" fmla="*/ 32175 w 57150"/>
                    <a:gd name="connsiteY12" fmla="*/ 38967 h 104775"/>
                    <a:gd name="connsiteX13" fmla="*/ 32175 w 57150"/>
                    <a:gd name="connsiteY13" fmla="*/ 77714 h 104775"/>
                    <a:gd name="connsiteX14" fmla="*/ 42358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77" y="100203"/>
                        <a:pt x="42367" y="100489"/>
                        <a:pt x="39110" y="100489"/>
                      </a:cubicBezTo>
                      <a:cubicBezTo>
                        <a:pt x="25679" y="100489"/>
                        <a:pt x="17888" y="96393"/>
                        <a:pt x="17888" y="83372"/>
                      </a:cubicBezTo>
                      <a:lnTo>
                        <a:pt x="17888" y="38967"/>
                      </a:lnTo>
                      <a:lnTo>
                        <a:pt x="7144" y="38967"/>
                      </a:lnTo>
                      <a:lnTo>
                        <a:pt x="7144" y="31623"/>
                      </a:lnTo>
                      <a:lnTo>
                        <a:pt x="17888" y="31623"/>
                      </a:lnTo>
                      <a:lnTo>
                        <a:pt x="17888" y="15773"/>
                      </a:lnTo>
                      <a:lnTo>
                        <a:pt x="32175" y="7144"/>
                      </a:lnTo>
                      <a:lnTo>
                        <a:pt x="32175" y="31623"/>
                      </a:lnTo>
                      <a:lnTo>
                        <a:pt x="50568" y="31623"/>
                      </a:lnTo>
                      <a:lnTo>
                        <a:pt x="50568" y="38967"/>
                      </a:lnTo>
                      <a:lnTo>
                        <a:pt x="32175" y="38967"/>
                      </a:lnTo>
                      <a:lnTo>
                        <a:pt x="32175" y="77714"/>
                      </a:lnTo>
                      <a:cubicBezTo>
                        <a:pt x="32175" y="87611"/>
                        <a:pt x="33166" y="92430"/>
                        <a:pt x="42358" y="92430"/>
                      </a:cubicBezTo>
                      <a:cubicBezTo>
                        <a:pt x="44615" y="92430"/>
                        <a:pt x="47025" y="92154"/>
                        <a:pt x="49006" y="91297"/>
                      </a:cubicBezTo>
                      <a:lnTo>
                        <a:pt x="49006" y="99498"/>
                      </a:lnTo>
                      <a:close/>
                    </a:path>
                  </a:pathLst>
                </a:custGeom>
                <a:solidFill>
                  <a:schemeClr val="bg1"/>
                </a:solidFill>
                <a:ln w="9525" cap="flat">
                  <a:noFill/>
                  <a:prstDash val="solid"/>
                  <a:miter/>
                </a:ln>
              </p:spPr>
              <p:txBody>
                <a:bodyPr rtlCol="0" anchor="ctr"/>
                <a:lstStyle/>
                <a:p>
                  <a:endParaRPr lang="ja-JP" altLang="en-US"/>
                </a:p>
              </p:txBody>
            </p:sp>
            <p:sp>
              <p:nvSpPr>
                <p:cNvPr id="1126" name="フリーフォーム: 図形 77"/>
                <p:cNvSpPr/>
                <p:nvPr/>
              </p:nvSpPr>
              <p:spPr>
                <a:xfrm>
                  <a:off x="2946659" y="5886475"/>
                  <a:ext cx="57150" cy="76200"/>
                </a:xfrm>
                <a:custGeom>
                  <a:avLst/>
                  <a:gdLst>
                    <a:gd name="connsiteX0" fmla="*/ 44767 w 57150"/>
                    <a:gd name="connsiteY0" fmla="*/ 66694 h 76200"/>
                    <a:gd name="connsiteX1" fmla="*/ 44491 w 57150"/>
                    <a:gd name="connsiteY1" fmla="*/ 66694 h 76200"/>
                    <a:gd name="connsiteX2" fmla="*/ 25537 w 57150"/>
                    <a:gd name="connsiteY2" fmla="*/ 77581 h 76200"/>
                    <a:gd name="connsiteX3" fmla="*/ 7144 w 57150"/>
                    <a:gd name="connsiteY3" fmla="*/ 60760 h 76200"/>
                    <a:gd name="connsiteX4" fmla="*/ 44767 w 57150"/>
                    <a:gd name="connsiteY4" fmla="*/ 38548 h 76200"/>
                    <a:gd name="connsiteX5" fmla="*/ 44767 w 57150"/>
                    <a:gd name="connsiteY5" fmla="*/ 32613 h 76200"/>
                    <a:gd name="connsiteX6" fmla="*/ 35290 w 57150"/>
                    <a:gd name="connsiteY6" fmla="*/ 13078 h 76200"/>
                    <a:gd name="connsiteX7" fmla="*/ 24403 w 57150"/>
                    <a:gd name="connsiteY7" fmla="*/ 27794 h 76200"/>
                    <a:gd name="connsiteX8" fmla="*/ 9410 w 57150"/>
                    <a:gd name="connsiteY8" fmla="*/ 27794 h 76200"/>
                    <a:gd name="connsiteX9" fmla="*/ 35290 w 57150"/>
                    <a:gd name="connsiteY9" fmla="*/ 7144 h 76200"/>
                    <a:gd name="connsiteX10" fmla="*/ 59055 w 57150"/>
                    <a:gd name="connsiteY10" fmla="*/ 32613 h 76200"/>
                    <a:gd name="connsiteX11" fmla="*/ 59055 w 57150"/>
                    <a:gd name="connsiteY11" fmla="*/ 76038 h 76200"/>
                    <a:gd name="connsiteX12" fmla="*/ 44767 w 57150"/>
                    <a:gd name="connsiteY12" fmla="*/ 76038 h 76200"/>
                    <a:gd name="connsiteX13" fmla="*/ 44767 w 57150"/>
                    <a:gd name="connsiteY13" fmla="*/ 66694 h 76200"/>
                    <a:gd name="connsiteX14" fmla="*/ 44767 w 57150"/>
                    <a:gd name="connsiteY14" fmla="*/ 44482 h 76200"/>
                    <a:gd name="connsiteX15" fmla="*/ 22708 w 57150"/>
                    <a:gd name="connsiteY15" fmla="*/ 58636 h 76200"/>
                    <a:gd name="connsiteX16" fmla="*/ 30909 w 57150"/>
                    <a:gd name="connsiteY16" fmla="*/ 68666 h 76200"/>
                    <a:gd name="connsiteX17" fmla="*/ 44767 w 57150"/>
                    <a:gd name="connsiteY17" fmla="*/ 52406 h 76200"/>
                    <a:gd name="connsiteX18" fmla="*/ 44767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67" y="66694"/>
                      </a:moveTo>
                      <a:lnTo>
                        <a:pt x="44491" y="66694"/>
                      </a:lnTo>
                      <a:cubicBezTo>
                        <a:pt x="42234" y="70656"/>
                        <a:pt x="36290" y="77581"/>
                        <a:pt x="25537" y="77581"/>
                      </a:cubicBezTo>
                      <a:cubicBezTo>
                        <a:pt x="14935" y="77581"/>
                        <a:pt x="7144" y="70085"/>
                        <a:pt x="7144" y="60760"/>
                      </a:cubicBezTo>
                      <a:cubicBezTo>
                        <a:pt x="7144" y="39957"/>
                        <a:pt x="35861" y="38976"/>
                        <a:pt x="44767" y="38548"/>
                      </a:cubicBezTo>
                      <a:lnTo>
                        <a:pt x="44767" y="32613"/>
                      </a:lnTo>
                      <a:cubicBezTo>
                        <a:pt x="44767" y="25251"/>
                        <a:pt x="44767" y="13078"/>
                        <a:pt x="35290" y="13078"/>
                      </a:cubicBezTo>
                      <a:cubicBezTo>
                        <a:pt x="26527" y="13078"/>
                        <a:pt x="24965" y="19869"/>
                        <a:pt x="24403" y="27794"/>
                      </a:cubicBezTo>
                      <a:lnTo>
                        <a:pt x="9410" y="27794"/>
                      </a:lnTo>
                      <a:cubicBezTo>
                        <a:pt x="10115" y="17745"/>
                        <a:pt x="14078" y="7144"/>
                        <a:pt x="35290" y="7144"/>
                      </a:cubicBezTo>
                      <a:cubicBezTo>
                        <a:pt x="57217" y="7144"/>
                        <a:pt x="59055" y="19440"/>
                        <a:pt x="59055" y="32613"/>
                      </a:cubicBezTo>
                      <a:lnTo>
                        <a:pt x="59055" y="76038"/>
                      </a:lnTo>
                      <a:lnTo>
                        <a:pt x="44767" y="76038"/>
                      </a:lnTo>
                      <a:lnTo>
                        <a:pt x="44767" y="66694"/>
                      </a:lnTo>
                      <a:close/>
                      <a:moveTo>
                        <a:pt x="44767" y="44482"/>
                      </a:moveTo>
                      <a:cubicBezTo>
                        <a:pt x="38833" y="44910"/>
                        <a:pt x="22708" y="46177"/>
                        <a:pt x="22708" y="58636"/>
                      </a:cubicBezTo>
                      <a:cubicBezTo>
                        <a:pt x="22708" y="64703"/>
                        <a:pt x="26241" y="68666"/>
                        <a:pt x="30909" y="68666"/>
                      </a:cubicBezTo>
                      <a:cubicBezTo>
                        <a:pt x="35861" y="68666"/>
                        <a:pt x="44767" y="63865"/>
                        <a:pt x="44767" y="52406"/>
                      </a:cubicBezTo>
                      <a:lnTo>
                        <a:pt x="44767" y="44482"/>
                      </a:lnTo>
                      <a:close/>
                    </a:path>
                  </a:pathLst>
                </a:custGeom>
                <a:solidFill>
                  <a:schemeClr val="bg1"/>
                </a:solidFill>
                <a:ln w="9525" cap="flat">
                  <a:noFill/>
                  <a:prstDash val="solid"/>
                  <a:miter/>
                </a:ln>
              </p:spPr>
              <p:txBody>
                <a:bodyPr rtlCol="0" anchor="ctr"/>
                <a:lstStyle/>
                <a:p>
                  <a:endParaRPr lang="ja-JP" altLang="en-US"/>
                </a:p>
              </p:txBody>
            </p:sp>
            <p:sp>
              <p:nvSpPr>
                <p:cNvPr id="1127" name="フリーフォーム: 図形 78"/>
                <p:cNvSpPr/>
                <p:nvPr/>
              </p:nvSpPr>
              <p:spPr>
                <a:xfrm>
                  <a:off x="3019221"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13 w 66675"/>
                    <a:gd name="connsiteY5" fmla="*/ 26803 h 76200"/>
                    <a:gd name="connsiteX6" fmla="*/ 62313 w 66675"/>
                    <a:gd name="connsiteY6" fmla="*/ 76029 h 76200"/>
                    <a:gd name="connsiteX7" fmla="*/ 48025 w 66675"/>
                    <a:gd name="connsiteY7" fmla="*/ 76029 h 76200"/>
                    <a:gd name="connsiteX8" fmla="*/ 48025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84" y="19736"/>
                        <a:pt x="30490" y="7144"/>
                        <a:pt x="45339" y="7144"/>
                      </a:cubicBezTo>
                      <a:cubicBezTo>
                        <a:pt x="57217" y="7144"/>
                        <a:pt x="62313" y="17040"/>
                        <a:pt x="62313" y="26803"/>
                      </a:cubicBezTo>
                      <a:lnTo>
                        <a:pt x="62313" y="76029"/>
                      </a:lnTo>
                      <a:lnTo>
                        <a:pt x="48025" y="76029"/>
                      </a:lnTo>
                      <a:lnTo>
                        <a:pt x="48025" y="33871"/>
                      </a:lnTo>
                      <a:cubicBezTo>
                        <a:pt x="48025" y="25384"/>
                        <a:pt x="46749" y="17745"/>
                        <a:pt x="39529" y="17745"/>
                      </a:cubicBezTo>
                      <a:cubicBezTo>
                        <a:pt x="2539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28" name="フリーフォーム: 図形 79"/>
                <p:cNvSpPr/>
                <p:nvPr/>
              </p:nvSpPr>
              <p:spPr>
                <a:xfrm>
                  <a:off x="3090515" y="5857776"/>
                  <a:ext cx="66675" cy="104775"/>
                </a:xfrm>
                <a:custGeom>
                  <a:avLst/>
                  <a:gdLst>
                    <a:gd name="connsiteX0" fmla="*/ 50282 w 66675"/>
                    <a:gd name="connsiteY0" fmla="*/ 93697 h 104775"/>
                    <a:gd name="connsiteX1" fmla="*/ 50006 w 66675"/>
                    <a:gd name="connsiteY1" fmla="*/ 93697 h 104775"/>
                    <a:gd name="connsiteX2" fmla="*/ 32461 w 66675"/>
                    <a:gd name="connsiteY2" fmla="*/ 106270 h 104775"/>
                    <a:gd name="connsiteX3" fmla="*/ 7144 w 66675"/>
                    <a:gd name="connsiteY3" fmla="*/ 71056 h 104775"/>
                    <a:gd name="connsiteX4" fmla="*/ 32461 w 66675"/>
                    <a:gd name="connsiteY4" fmla="*/ 35843 h 104775"/>
                    <a:gd name="connsiteX5" fmla="*/ 50006 w 66675"/>
                    <a:gd name="connsiteY5" fmla="*/ 46729 h 104775"/>
                    <a:gd name="connsiteX6" fmla="*/ 50282 w 66675"/>
                    <a:gd name="connsiteY6" fmla="*/ 46729 h 104775"/>
                    <a:gd name="connsiteX7" fmla="*/ 50282 w 66675"/>
                    <a:gd name="connsiteY7" fmla="*/ 7144 h 104775"/>
                    <a:gd name="connsiteX8" fmla="*/ 64570 w 66675"/>
                    <a:gd name="connsiteY8" fmla="*/ 7144 h 104775"/>
                    <a:gd name="connsiteX9" fmla="*/ 64570 w 66675"/>
                    <a:gd name="connsiteY9" fmla="*/ 104737 h 104775"/>
                    <a:gd name="connsiteX10" fmla="*/ 50282 w 66675"/>
                    <a:gd name="connsiteY10" fmla="*/ 104737 h 104775"/>
                    <a:gd name="connsiteX11" fmla="*/ 50282 w 66675"/>
                    <a:gd name="connsiteY11" fmla="*/ 93697 h 104775"/>
                    <a:gd name="connsiteX12" fmla="*/ 36290 w 66675"/>
                    <a:gd name="connsiteY12" fmla="*/ 97241 h 104775"/>
                    <a:gd name="connsiteX13" fmla="*/ 49721 w 66675"/>
                    <a:gd name="connsiteY13" fmla="*/ 71066 h 104775"/>
                    <a:gd name="connsiteX14" fmla="*/ 36290 w 66675"/>
                    <a:gd name="connsiteY14" fmla="*/ 44053 h 104775"/>
                    <a:gd name="connsiteX15" fmla="*/ 22708 w 66675"/>
                    <a:gd name="connsiteY15" fmla="*/ 71066 h 104775"/>
                    <a:gd name="connsiteX16" fmla="*/ 36290 w 66675"/>
                    <a:gd name="connsiteY16" fmla="*/ 9724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0282" y="93697"/>
                      </a:moveTo>
                      <a:lnTo>
                        <a:pt x="50006" y="93697"/>
                      </a:lnTo>
                      <a:cubicBezTo>
                        <a:pt x="48025" y="98222"/>
                        <a:pt x="43358" y="106270"/>
                        <a:pt x="32461" y="106270"/>
                      </a:cubicBezTo>
                      <a:cubicBezTo>
                        <a:pt x="13087" y="106270"/>
                        <a:pt x="7144" y="90440"/>
                        <a:pt x="7144" y="71056"/>
                      </a:cubicBezTo>
                      <a:cubicBezTo>
                        <a:pt x="7144" y="50835"/>
                        <a:pt x="14640" y="35843"/>
                        <a:pt x="32461" y="35843"/>
                      </a:cubicBezTo>
                      <a:cubicBezTo>
                        <a:pt x="43920" y="35843"/>
                        <a:pt x="48025" y="43062"/>
                        <a:pt x="50006" y="46729"/>
                      </a:cubicBezTo>
                      <a:lnTo>
                        <a:pt x="50282" y="46729"/>
                      </a:lnTo>
                      <a:lnTo>
                        <a:pt x="50282" y="7144"/>
                      </a:lnTo>
                      <a:lnTo>
                        <a:pt x="64570" y="7144"/>
                      </a:lnTo>
                      <a:lnTo>
                        <a:pt x="64570" y="104737"/>
                      </a:lnTo>
                      <a:lnTo>
                        <a:pt x="50282" y="104737"/>
                      </a:lnTo>
                      <a:lnTo>
                        <a:pt x="50282" y="93697"/>
                      </a:lnTo>
                      <a:close/>
                      <a:moveTo>
                        <a:pt x="36290" y="97241"/>
                      </a:moveTo>
                      <a:cubicBezTo>
                        <a:pt x="48025" y="97241"/>
                        <a:pt x="49721" y="82248"/>
                        <a:pt x="49721" y="71066"/>
                      </a:cubicBezTo>
                      <a:cubicBezTo>
                        <a:pt x="49721" y="59331"/>
                        <a:pt x="48596" y="44053"/>
                        <a:pt x="36290" y="44053"/>
                      </a:cubicBezTo>
                      <a:cubicBezTo>
                        <a:pt x="25108" y="44053"/>
                        <a:pt x="22708" y="59331"/>
                        <a:pt x="22708" y="71066"/>
                      </a:cubicBezTo>
                      <a:cubicBezTo>
                        <a:pt x="22708" y="82239"/>
                        <a:pt x="24822" y="97241"/>
                        <a:pt x="36290" y="97241"/>
                      </a:cubicBezTo>
                      <a:close/>
                    </a:path>
                  </a:pathLst>
                </a:custGeom>
                <a:solidFill>
                  <a:schemeClr val="bg1"/>
                </a:solidFill>
                <a:ln w="9525" cap="flat">
                  <a:noFill/>
                  <a:prstDash val="solid"/>
                  <a:miter/>
                </a:ln>
              </p:spPr>
              <p:txBody>
                <a:bodyPr rtlCol="0" anchor="ctr"/>
                <a:lstStyle/>
                <a:p>
                  <a:endParaRPr lang="ja-JP" altLang="en-US"/>
                </a:p>
              </p:txBody>
            </p:sp>
            <p:sp>
              <p:nvSpPr>
                <p:cNvPr id="1129" name="フリーフォーム: 図形 80"/>
                <p:cNvSpPr/>
                <p:nvPr/>
              </p:nvSpPr>
              <p:spPr>
                <a:xfrm>
                  <a:off x="3197595" y="5857766"/>
                  <a:ext cx="76200" cy="104775"/>
                </a:xfrm>
                <a:custGeom>
                  <a:avLst/>
                  <a:gdLst>
                    <a:gd name="connsiteX0" fmla="*/ 30766 w 76200"/>
                    <a:gd name="connsiteY0" fmla="*/ 16469 h 104775"/>
                    <a:gd name="connsiteX1" fmla="*/ 7144 w 76200"/>
                    <a:gd name="connsiteY1" fmla="*/ 16469 h 104775"/>
                    <a:gd name="connsiteX2" fmla="*/ 7144 w 76200"/>
                    <a:gd name="connsiteY2" fmla="*/ 7144 h 104775"/>
                    <a:gd name="connsiteX3" fmla="*/ 69952 w 76200"/>
                    <a:gd name="connsiteY3" fmla="*/ 7144 h 104775"/>
                    <a:gd name="connsiteX4" fmla="*/ 69952 w 76200"/>
                    <a:gd name="connsiteY4" fmla="*/ 16469 h 104775"/>
                    <a:gd name="connsiteX5" fmla="*/ 46339 w 76200"/>
                    <a:gd name="connsiteY5" fmla="*/ 16469 h 104775"/>
                    <a:gd name="connsiteX6" fmla="*/ 46339 w 76200"/>
                    <a:gd name="connsiteY6" fmla="*/ 104747 h 104775"/>
                    <a:gd name="connsiteX7" fmla="*/ 30775 w 76200"/>
                    <a:gd name="connsiteY7" fmla="*/ 104747 h 104775"/>
                    <a:gd name="connsiteX8" fmla="*/ 30775 w 76200"/>
                    <a:gd name="connsiteY8" fmla="*/ 164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4775">
                      <a:moveTo>
                        <a:pt x="30766" y="16469"/>
                      </a:moveTo>
                      <a:lnTo>
                        <a:pt x="7144" y="16469"/>
                      </a:lnTo>
                      <a:lnTo>
                        <a:pt x="7144" y="7144"/>
                      </a:lnTo>
                      <a:lnTo>
                        <a:pt x="69952" y="7144"/>
                      </a:lnTo>
                      <a:lnTo>
                        <a:pt x="69952" y="16469"/>
                      </a:lnTo>
                      <a:lnTo>
                        <a:pt x="46339" y="16469"/>
                      </a:lnTo>
                      <a:lnTo>
                        <a:pt x="46339" y="104747"/>
                      </a:lnTo>
                      <a:lnTo>
                        <a:pt x="30775" y="104747"/>
                      </a:lnTo>
                      <a:lnTo>
                        <a:pt x="30775" y="16469"/>
                      </a:lnTo>
                      <a:close/>
                    </a:path>
                  </a:pathLst>
                </a:custGeom>
                <a:solidFill>
                  <a:schemeClr val="bg1"/>
                </a:solidFill>
                <a:ln w="9525" cap="flat">
                  <a:noFill/>
                  <a:prstDash val="solid"/>
                  <a:miter/>
                </a:ln>
              </p:spPr>
              <p:txBody>
                <a:bodyPr rtlCol="0" anchor="ctr"/>
                <a:lstStyle/>
                <a:p>
                  <a:endParaRPr lang="ja-JP" altLang="en-US"/>
                </a:p>
              </p:txBody>
            </p:sp>
            <p:sp>
              <p:nvSpPr>
                <p:cNvPr id="1130" name="フリーフォーム: 図形 81"/>
                <p:cNvSpPr/>
                <p:nvPr/>
              </p:nvSpPr>
              <p:spPr>
                <a:xfrm>
                  <a:off x="3266185" y="5886475"/>
                  <a:ext cx="66675" cy="76200"/>
                </a:xfrm>
                <a:custGeom>
                  <a:avLst/>
                  <a:gdLst>
                    <a:gd name="connsiteX0" fmla="*/ 7144 w 66675"/>
                    <a:gd name="connsiteY0" fmla="*/ 42358 h 76200"/>
                    <a:gd name="connsiteX1" fmla="*/ 36852 w 66675"/>
                    <a:gd name="connsiteY1" fmla="*/ 7144 h 76200"/>
                    <a:gd name="connsiteX2" fmla="*/ 66694 w 66675"/>
                    <a:gd name="connsiteY2" fmla="*/ 42358 h 76200"/>
                    <a:gd name="connsiteX3" fmla="*/ 36852 w 66675"/>
                    <a:gd name="connsiteY3" fmla="*/ 77571 h 76200"/>
                    <a:gd name="connsiteX4" fmla="*/ 7144 w 66675"/>
                    <a:gd name="connsiteY4" fmla="*/ 42358 h 76200"/>
                    <a:gd name="connsiteX5" fmla="*/ 36852 w 66675"/>
                    <a:gd name="connsiteY5" fmla="*/ 71647 h 76200"/>
                    <a:gd name="connsiteX6" fmla="*/ 51140 w 66675"/>
                    <a:gd name="connsiteY6" fmla="*/ 42367 h 76200"/>
                    <a:gd name="connsiteX7" fmla="*/ 36852 w 66675"/>
                    <a:gd name="connsiteY7" fmla="*/ 13087 h 76200"/>
                    <a:gd name="connsiteX8" fmla="*/ 22708 w 66675"/>
                    <a:gd name="connsiteY8" fmla="*/ 42367 h 76200"/>
                    <a:gd name="connsiteX9" fmla="*/ 36852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50" y="7144"/>
                        <a:pt x="36852" y="7144"/>
                      </a:cubicBezTo>
                      <a:cubicBezTo>
                        <a:pt x="56655" y="7144"/>
                        <a:pt x="66694" y="19593"/>
                        <a:pt x="66694" y="42358"/>
                      </a:cubicBezTo>
                      <a:cubicBezTo>
                        <a:pt x="66694" y="65122"/>
                        <a:pt x="56655" y="77571"/>
                        <a:pt x="36852" y="77571"/>
                      </a:cubicBezTo>
                      <a:cubicBezTo>
                        <a:pt x="17050" y="77571"/>
                        <a:pt x="7144" y="65132"/>
                        <a:pt x="7144" y="42358"/>
                      </a:cubicBezTo>
                      <a:close/>
                      <a:moveTo>
                        <a:pt x="36852" y="71647"/>
                      </a:moveTo>
                      <a:cubicBezTo>
                        <a:pt x="49578" y="71647"/>
                        <a:pt x="51140" y="54683"/>
                        <a:pt x="51140" y="42367"/>
                      </a:cubicBezTo>
                      <a:cubicBezTo>
                        <a:pt x="51140" y="30070"/>
                        <a:pt x="49578" y="13087"/>
                        <a:pt x="36852" y="13087"/>
                      </a:cubicBezTo>
                      <a:cubicBezTo>
                        <a:pt x="24261" y="13087"/>
                        <a:pt x="22708" y="30070"/>
                        <a:pt x="22708" y="42367"/>
                      </a:cubicBezTo>
                      <a:cubicBezTo>
                        <a:pt x="22708" y="54673"/>
                        <a:pt x="24261" y="71647"/>
                        <a:pt x="36852" y="71647"/>
                      </a:cubicBezTo>
                      <a:close/>
                    </a:path>
                  </a:pathLst>
                </a:custGeom>
                <a:solidFill>
                  <a:schemeClr val="bg1"/>
                </a:solidFill>
                <a:ln w="9525" cap="flat">
                  <a:noFill/>
                  <a:prstDash val="solid"/>
                  <a:miter/>
                </a:ln>
              </p:spPr>
              <p:txBody>
                <a:bodyPr rtlCol="0" anchor="ctr"/>
                <a:lstStyle/>
                <a:p>
                  <a:endParaRPr lang="ja-JP" altLang="en-US"/>
                </a:p>
              </p:txBody>
            </p:sp>
            <p:sp>
              <p:nvSpPr>
                <p:cNvPr id="1131" name="フリーフォーム: 図形 82"/>
                <p:cNvSpPr/>
                <p:nvPr/>
              </p:nvSpPr>
              <p:spPr>
                <a:xfrm>
                  <a:off x="3341871" y="5888037"/>
                  <a:ext cx="66675" cy="76200"/>
                </a:xfrm>
                <a:custGeom>
                  <a:avLst/>
                  <a:gdLst>
                    <a:gd name="connsiteX0" fmla="*/ 47873 w 66675"/>
                    <a:gd name="connsiteY0" fmla="*/ 58493 h 76200"/>
                    <a:gd name="connsiteX1" fmla="*/ 47597 w 66675"/>
                    <a:gd name="connsiteY1" fmla="*/ 58493 h 76200"/>
                    <a:gd name="connsiteX2" fmla="*/ 24108 w 66675"/>
                    <a:gd name="connsiteY2" fmla="*/ 76019 h 76200"/>
                    <a:gd name="connsiteX3" fmla="*/ 7144 w 66675"/>
                    <a:gd name="connsiteY3" fmla="*/ 56369 h 76200"/>
                    <a:gd name="connsiteX4" fmla="*/ 7144 w 66675"/>
                    <a:gd name="connsiteY4" fmla="*/ 7144 h 76200"/>
                    <a:gd name="connsiteX5" fmla="*/ 21421 w 66675"/>
                    <a:gd name="connsiteY5" fmla="*/ 7144 h 76200"/>
                    <a:gd name="connsiteX6" fmla="*/ 21421 w 66675"/>
                    <a:gd name="connsiteY6" fmla="*/ 49282 h 76200"/>
                    <a:gd name="connsiteX7" fmla="*/ 29918 w 66675"/>
                    <a:gd name="connsiteY7" fmla="*/ 65408 h 76200"/>
                    <a:gd name="connsiteX8" fmla="*/ 48016 w 66675"/>
                    <a:gd name="connsiteY8" fmla="*/ 34995 h 76200"/>
                    <a:gd name="connsiteX9" fmla="*/ 48016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7" y="58493"/>
                      </a:lnTo>
                      <a:cubicBezTo>
                        <a:pt x="45320" y="63446"/>
                        <a:pt x="38967" y="76019"/>
                        <a:pt x="24108" y="76019"/>
                      </a:cubicBezTo>
                      <a:cubicBezTo>
                        <a:pt x="12230" y="76019"/>
                        <a:pt x="7144" y="66122"/>
                        <a:pt x="7144" y="56369"/>
                      </a:cubicBezTo>
                      <a:lnTo>
                        <a:pt x="7144" y="7144"/>
                      </a:lnTo>
                      <a:lnTo>
                        <a:pt x="21421" y="7144"/>
                      </a:lnTo>
                      <a:lnTo>
                        <a:pt x="21421" y="49282"/>
                      </a:lnTo>
                      <a:cubicBezTo>
                        <a:pt x="21421" y="57788"/>
                        <a:pt x="22698" y="65408"/>
                        <a:pt x="29918" y="65408"/>
                      </a:cubicBezTo>
                      <a:cubicBezTo>
                        <a:pt x="44062" y="65408"/>
                        <a:pt x="48016" y="43348"/>
                        <a:pt x="48016" y="34995"/>
                      </a:cubicBezTo>
                      <a:lnTo>
                        <a:pt x="48016" y="7144"/>
                      </a:lnTo>
                      <a:lnTo>
                        <a:pt x="62303" y="7144"/>
                      </a:lnTo>
                      <a:lnTo>
                        <a:pt x="62303" y="74466"/>
                      </a:lnTo>
                      <a:lnTo>
                        <a:pt x="47873" y="74466"/>
                      </a:lnTo>
                      <a:lnTo>
                        <a:pt x="47873" y="58493"/>
                      </a:lnTo>
                      <a:close/>
                    </a:path>
                  </a:pathLst>
                </a:custGeom>
                <a:solidFill>
                  <a:schemeClr val="bg1"/>
                </a:solidFill>
                <a:ln w="9525" cap="flat">
                  <a:noFill/>
                  <a:prstDash val="solid"/>
                  <a:miter/>
                </a:ln>
              </p:spPr>
              <p:txBody>
                <a:bodyPr rtlCol="0" anchor="ctr"/>
                <a:lstStyle/>
                <a:p>
                  <a:endParaRPr lang="ja-JP" altLang="en-US"/>
                </a:p>
              </p:txBody>
            </p:sp>
            <p:sp>
              <p:nvSpPr>
                <p:cNvPr id="1132" name="フリーフォーム: 図形 83"/>
                <p:cNvSpPr/>
                <p:nvPr/>
              </p:nvSpPr>
              <p:spPr>
                <a:xfrm>
                  <a:off x="3417966" y="5886475"/>
                  <a:ext cx="47625" cy="76200"/>
                </a:xfrm>
                <a:custGeom>
                  <a:avLst/>
                  <a:gdLst>
                    <a:gd name="connsiteX0" fmla="*/ 7144 w 47625"/>
                    <a:gd name="connsiteY0" fmla="*/ 8706 h 76200"/>
                    <a:gd name="connsiteX1" fmla="*/ 21421 w 47625"/>
                    <a:gd name="connsiteY1" fmla="*/ 8706 h 76200"/>
                    <a:gd name="connsiteX2" fmla="*/ 2142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21 w 47625"/>
                    <a:gd name="connsiteY6" fmla="*/ 45196 h 76200"/>
                    <a:gd name="connsiteX7" fmla="*/ 2142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21" y="8706"/>
                      </a:lnTo>
                      <a:lnTo>
                        <a:pt x="21421" y="25822"/>
                      </a:lnTo>
                      <a:lnTo>
                        <a:pt x="21707" y="25822"/>
                      </a:lnTo>
                      <a:cubicBezTo>
                        <a:pt x="26232" y="16764"/>
                        <a:pt x="31185" y="8134"/>
                        <a:pt x="43491" y="7144"/>
                      </a:cubicBezTo>
                      <a:lnTo>
                        <a:pt x="43491" y="21993"/>
                      </a:lnTo>
                      <a:cubicBezTo>
                        <a:pt x="29775" y="22422"/>
                        <a:pt x="21421" y="27089"/>
                        <a:pt x="21421" y="45196"/>
                      </a:cubicBezTo>
                      <a:lnTo>
                        <a:pt x="2142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33" name="フリーフォーム: 図形 84"/>
                <p:cNvSpPr/>
                <p:nvPr/>
              </p:nvSpPr>
              <p:spPr>
                <a:xfrm>
                  <a:off x="3467886" y="5857776"/>
                  <a:ext cx="28575" cy="104775"/>
                </a:xfrm>
                <a:custGeom>
                  <a:avLst/>
                  <a:gdLst>
                    <a:gd name="connsiteX0" fmla="*/ 7144 w 28575"/>
                    <a:gd name="connsiteY0" fmla="*/ 7144 h 104775"/>
                    <a:gd name="connsiteX1" fmla="*/ 22565 w 28575"/>
                    <a:gd name="connsiteY1" fmla="*/ 7144 h 104775"/>
                    <a:gd name="connsiteX2" fmla="*/ 22565 w 28575"/>
                    <a:gd name="connsiteY2" fmla="*/ 21279 h 104775"/>
                    <a:gd name="connsiteX3" fmla="*/ 7144 w 28575"/>
                    <a:gd name="connsiteY3" fmla="*/ 21279 h 104775"/>
                    <a:gd name="connsiteX4" fmla="*/ 7144 w 28575"/>
                    <a:gd name="connsiteY4" fmla="*/ 7144 h 104775"/>
                    <a:gd name="connsiteX5" fmla="*/ 7715 w 28575"/>
                    <a:gd name="connsiteY5" fmla="*/ 37405 h 104775"/>
                    <a:gd name="connsiteX6" fmla="*/ 22003 w 28575"/>
                    <a:gd name="connsiteY6" fmla="*/ 37405 h 104775"/>
                    <a:gd name="connsiteX7" fmla="*/ 22003 w 28575"/>
                    <a:gd name="connsiteY7" fmla="*/ 104727 h 104775"/>
                    <a:gd name="connsiteX8" fmla="*/ 7715 w 28575"/>
                    <a:gd name="connsiteY8" fmla="*/ 104727 h 104775"/>
                    <a:gd name="connsiteX9" fmla="*/ 7715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65" y="7144"/>
                      </a:lnTo>
                      <a:lnTo>
                        <a:pt x="22565" y="21279"/>
                      </a:lnTo>
                      <a:lnTo>
                        <a:pt x="7144" y="21279"/>
                      </a:lnTo>
                      <a:lnTo>
                        <a:pt x="7144" y="7144"/>
                      </a:lnTo>
                      <a:close/>
                      <a:moveTo>
                        <a:pt x="7715" y="37405"/>
                      </a:moveTo>
                      <a:lnTo>
                        <a:pt x="22003" y="37405"/>
                      </a:lnTo>
                      <a:lnTo>
                        <a:pt x="22003" y="104727"/>
                      </a:lnTo>
                      <a:lnTo>
                        <a:pt x="7715" y="104727"/>
                      </a:lnTo>
                      <a:lnTo>
                        <a:pt x="7715" y="37405"/>
                      </a:lnTo>
                      <a:close/>
                    </a:path>
                  </a:pathLst>
                </a:custGeom>
                <a:solidFill>
                  <a:schemeClr val="bg1"/>
                </a:solidFill>
                <a:ln w="9525" cap="flat">
                  <a:noFill/>
                  <a:prstDash val="solid"/>
                  <a:miter/>
                </a:ln>
              </p:spPr>
              <p:txBody>
                <a:bodyPr rtlCol="0" anchor="ctr"/>
                <a:lstStyle/>
                <a:p>
                  <a:endParaRPr lang="ja-JP" altLang="en-US"/>
                </a:p>
              </p:txBody>
            </p:sp>
            <p:sp>
              <p:nvSpPr>
                <p:cNvPr id="1134" name="フリーフォーム: 図形 85"/>
                <p:cNvSpPr/>
                <p:nvPr/>
              </p:nvSpPr>
              <p:spPr>
                <a:xfrm>
                  <a:off x="3501548" y="5886465"/>
                  <a:ext cx="57150" cy="76200"/>
                </a:xfrm>
                <a:custGeom>
                  <a:avLst/>
                  <a:gdLst>
                    <a:gd name="connsiteX0" fmla="*/ 46615 w 57150"/>
                    <a:gd name="connsiteY0" fmla="*/ 22003 h 76200"/>
                    <a:gd name="connsiteX1" fmla="*/ 29642 w 57150"/>
                    <a:gd name="connsiteY1" fmla="*/ 15364 h 76200"/>
                    <a:gd name="connsiteX2" fmla="*/ 20021 w 57150"/>
                    <a:gd name="connsiteY2" fmla="*/ 22431 h 76200"/>
                    <a:gd name="connsiteX3" fmla="*/ 50854 w 57150"/>
                    <a:gd name="connsiteY3" fmla="*/ 57236 h 76200"/>
                    <a:gd name="connsiteX4" fmla="*/ 25251 w 57150"/>
                    <a:gd name="connsiteY4" fmla="*/ 77591 h 76200"/>
                    <a:gd name="connsiteX5" fmla="*/ 7287 w 57150"/>
                    <a:gd name="connsiteY5" fmla="*/ 74628 h 76200"/>
                    <a:gd name="connsiteX6" fmla="*/ 7287 w 57150"/>
                    <a:gd name="connsiteY6" fmla="*/ 61474 h 76200"/>
                    <a:gd name="connsiteX7" fmla="*/ 25956 w 57150"/>
                    <a:gd name="connsiteY7" fmla="*/ 68542 h 76200"/>
                    <a:gd name="connsiteX8" fmla="*/ 37557 w 57150"/>
                    <a:gd name="connsiteY8" fmla="*/ 60055 h 76200"/>
                    <a:gd name="connsiteX9" fmla="*/ 7144 w 57150"/>
                    <a:gd name="connsiteY9" fmla="*/ 26527 h 76200"/>
                    <a:gd name="connsiteX10" fmla="*/ 3076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15" y="22003"/>
                      </a:moveTo>
                      <a:cubicBezTo>
                        <a:pt x="41806" y="18745"/>
                        <a:pt x="36433" y="15364"/>
                        <a:pt x="29642" y="15364"/>
                      </a:cubicBezTo>
                      <a:cubicBezTo>
                        <a:pt x="25118" y="15364"/>
                        <a:pt x="20021" y="17336"/>
                        <a:pt x="20021" y="22431"/>
                      </a:cubicBezTo>
                      <a:cubicBezTo>
                        <a:pt x="20021" y="34595"/>
                        <a:pt x="50854" y="35728"/>
                        <a:pt x="50854" y="57236"/>
                      </a:cubicBezTo>
                      <a:cubicBezTo>
                        <a:pt x="50854" y="71656"/>
                        <a:pt x="39538" y="77591"/>
                        <a:pt x="25251" y="77591"/>
                      </a:cubicBezTo>
                      <a:cubicBezTo>
                        <a:pt x="16621" y="77591"/>
                        <a:pt x="10687" y="75771"/>
                        <a:pt x="7287" y="74628"/>
                      </a:cubicBezTo>
                      <a:lnTo>
                        <a:pt x="7287" y="61474"/>
                      </a:lnTo>
                      <a:cubicBezTo>
                        <a:pt x="11392" y="64303"/>
                        <a:pt x="18031" y="68542"/>
                        <a:pt x="25956" y="68542"/>
                      </a:cubicBezTo>
                      <a:cubicBezTo>
                        <a:pt x="34157" y="68542"/>
                        <a:pt x="37557" y="64303"/>
                        <a:pt x="37557" y="60055"/>
                      </a:cubicBezTo>
                      <a:cubicBezTo>
                        <a:pt x="37557" y="48168"/>
                        <a:pt x="7144" y="45768"/>
                        <a:pt x="7144" y="26527"/>
                      </a:cubicBezTo>
                      <a:cubicBezTo>
                        <a:pt x="7144" y="16335"/>
                        <a:pt x="13935" y="7144"/>
                        <a:pt x="30766" y="7144"/>
                      </a:cubicBezTo>
                      <a:cubicBezTo>
                        <a:pt x="37976" y="7144"/>
                        <a:pt x="44196" y="9115"/>
                        <a:pt x="46606" y="9820"/>
                      </a:cubicBezTo>
                      <a:lnTo>
                        <a:pt x="46606" y="22003"/>
                      </a:lnTo>
                      <a:close/>
                    </a:path>
                  </a:pathLst>
                </a:custGeom>
                <a:solidFill>
                  <a:schemeClr val="bg1"/>
                </a:solidFill>
                <a:ln w="9525" cap="flat">
                  <a:noFill/>
                  <a:prstDash val="solid"/>
                  <a:miter/>
                </a:ln>
              </p:spPr>
              <p:txBody>
                <a:bodyPr rtlCol="0" anchor="ctr"/>
                <a:lstStyle/>
                <a:p>
                  <a:endParaRPr lang="ja-JP" altLang="en-US"/>
                </a:p>
              </p:txBody>
            </p:sp>
            <p:sp>
              <p:nvSpPr>
                <p:cNvPr id="1135" name="フリーフォーム: 図形 86"/>
                <p:cNvSpPr/>
                <p:nvPr/>
              </p:nvSpPr>
              <p:spPr>
                <a:xfrm>
                  <a:off x="3561803" y="5886475"/>
                  <a:ext cx="95250" cy="76200"/>
                </a:xfrm>
                <a:custGeom>
                  <a:avLst/>
                  <a:gdLst>
                    <a:gd name="connsiteX0" fmla="*/ 7144 w 95250"/>
                    <a:gd name="connsiteY0" fmla="*/ 8706 h 76200"/>
                    <a:gd name="connsiteX1" fmla="*/ 21431 w 95250"/>
                    <a:gd name="connsiteY1" fmla="*/ 8706 h 76200"/>
                    <a:gd name="connsiteX2" fmla="*/ 21431 w 95250"/>
                    <a:gd name="connsiteY2" fmla="*/ 24689 h 76200"/>
                    <a:gd name="connsiteX3" fmla="*/ 21717 w 95250"/>
                    <a:gd name="connsiteY3" fmla="*/ 24689 h 76200"/>
                    <a:gd name="connsiteX4" fmla="*/ 42082 w 95250"/>
                    <a:gd name="connsiteY4" fmla="*/ 7144 h 76200"/>
                    <a:gd name="connsiteX5" fmla="*/ 58779 w 95250"/>
                    <a:gd name="connsiteY5" fmla="*/ 23831 h 76200"/>
                    <a:gd name="connsiteX6" fmla="*/ 59055 w 95250"/>
                    <a:gd name="connsiteY6" fmla="*/ 23831 h 76200"/>
                    <a:gd name="connsiteX7" fmla="*/ 79429 w 95250"/>
                    <a:gd name="connsiteY7" fmla="*/ 7144 h 76200"/>
                    <a:gd name="connsiteX8" fmla="*/ 96393 w 95250"/>
                    <a:gd name="connsiteY8" fmla="*/ 30346 h 76200"/>
                    <a:gd name="connsiteX9" fmla="*/ 96393 w 95250"/>
                    <a:gd name="connsiteY9" fmla="*/ 76038 h 76200"/>
                    <a:gd name="connsiteX10" fmla="*/ 82115 w 95250"/>
                    <a:gd name="connsiteY10" fmla="*/ 76038 h 76200"/>
                    <a:gd name="connsiteX11" fmla="*/ 82115 w 95250"/>
                    <a:gd name="connsiteY11" fmla="*/ 32613 h 76200"/>
                    <a:gd name="connsiteX12" fmla="*/ 73914 w 95250"/>
                    <a:gd name="connsiteY12" fmla="*/ 17745 h 76200"/>
                    <a:gd name="connsiteX13" fmla="*/ 58922 w 95250"/>
                    <a:gd name="connsiteY13" fmla="*/ 48015 h 76200"/>
                    <a:gd name="connsiteX14" fmla="*/ 58922 w 95250"/>
                    <a:gd name="connsiteY14" fmla="*/ 76029 h 76200"/>
                    <a:gd name="connsiteX15" fmla="*/ 44634 w 95250"/>
                    <a:gd name="connsiteY15" fmla="*/ 76029 h 76200"/>
                    <a:gd name="connsiteX16" fmla="*/ 44634 w 95250"/>
                    <a:gd name="connsiteY16" fmla="*/ 33871 h 76200"/>
                    <a:gd name="connsiteX17" fmla="*/ 36148 w 95250"/>
                    <a:gd name="connsiteY17" fmla="*/ 17745 h 76200"/>
                    <a:gd name="connsiteX18" fmla="*/ 21431 w 95250"/>
                    <a:gd name="connsiteY18" fmla="*/ 48158 h 76200"/>
                    <a:gd name="connsiteX19" fmla="*/ 21431 w 95250"/>
                    <a:gd name="connsiteY19" fmla="*/ 76029 h 76200"/>
                    <a:gd name="connsiteX20" fmla="*/ 7144 w 95250"/>
                    <a:gd name="connsiteY20" fmla="*/ 76029 h 76200"/>
                    <a:gd name="connsiteX21" fmla="*/ 7144 w 95250"/>
                    <a:gd name="connsiteY21"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5250" h="76200">
                      <a:moveTo>
                        <a:pt x="7144" y="8706"/>
                      </a:moveTo>
                      <a:lnTo>
                        <a:pt x="21431" y="8706"/>
                      </a:lnTo>
                      <a:lnTo>
                        <a:pt x="21431" y="24689"/>
                      </a:lnTo>
                      <a:lnTo>
                        <a:pt x="21717" y="24689"/>
                      </a:lnTo>
                      <a:cubicBezTo>
                        <a:pt x="23270" y="19593"/>
                        <a:pt x="29204" y="7144"/>
                        <a:pt x="42082" y="7144"/>
                      </a:cubicBezTo>
                      <a:cubicBezTo>
                        <a:pt x="53969" y="7144"/>
                        <a:pt x="58351" y="16764"/>
                        <a:pt x="58779" y="23831"/>
                      </a:cubicBezTo>
                      <a:lnTo>
                        <a:pt x="59055" y="23831"/>
                      </a:lnTo>
                      <a:cubicBezTo>
                        <a:pt x="61465" y="18602"/>
                        <a:pt x="66123" y="7144"/>
                        <a:pt x="79429" y="7144"/>
                      </a:cubicBezTo>
                      <a:cubicBezTo>
                        <a:pt x="93716" y="7144"/>
                        <a:pt x="96393" y="18878"/>
                        <a:pt x="96393" y="30346"/>
                      </a:cubicBezTo>
                      <a:lnTo>
                        <a:pt x="96393" y="76038"/>
                      </a:lnTo>
                      <a:lnTo>
                        <a:pt x="82115" y="76038"/>
                      </a:lnTo>
                      <a:lnTo>
                        <a:pt x="82115" y="32613"/>
                      </a:lnTo>
                      <a:cubicBezTo>
                        <a:pt x="82115" y="24822"/>
                        <a:pt x="80982" y="17745"/>
                        <a:pt x="73914" y="17745"/>
                      </a:cubicBezTo>
                      <a:cubicBezTo>
                        <a:pt x="61322" y="17745"/>
                        <a:pt x="58922" y="39805"/>
                        <a:pt x="58922" y="48015"/>
                      </a:cubicBezTo>
                      <a:lnTo>
                        <a:pt x="58922" y="76029"/>
                      </a:lnTo>
                      <a:lnTo>
                        <a:pt x="44634" y="76029"/>
                      </a:lnTo>
                      <a:lnTo>
                        <a:pt x="44634" y="33871"/>
                      </a:lnTo>
                      <a:cubicBezTo>
                        <a:pt x="44634" y="25384"/>
                        <a:pt x="43929" y="17745"/>
                        <a:pt x="36148" y="17745"/>
                      </a:cubicBezTo>
                      <a:cubicBezTo>
                        <a:pt x="22984" y="17745"/>
                        <a:pt x="21431" y="40948"/>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grpSp>
        </p:grpSp>
      </p:grpSp>
      <p:sp>
        <p:nvSpPr>
          <p:cNvPr id="1136" name="Rectangle 3"/>
          <p:cNvSpPr>
            <a:spLocks noGrp="1" noChangeArrowheads="1"/>
          </p:cNvSpPr>
          <p:nvPr>
            <p:ph type="ctrTitle"/>
          </p:nvPr>
        </p:nvSpPr>
        <p:spPr>
          <a:xfrm>
            <a:off x="1784350" y="2133600"/>
            <a:ext cx="8121650" cy="1470025"/>
          </a:xfrm>
        </p:spPr>
        <p:txBody>
          <a:bodyPr/>
          <a:lstStyle>
            <a:lvl1pPr>
              <a:defRPr sz="4000"/>
            </a:lvl1pPr>
          </a:lstStyle>
          <a:p>
            <a:pPr lvl="0"/>
            <a:r>
              <a:rPr lang="ja-JP" altLang="en-US" noProof="0"/>
              <a:t>マスタ タイトルの書式設定</a:t>
            </a:r>
          </a:p>
        </p:txBody>
      </p:sp>
      <p:sp>
        <p:nvSpPr>
          <p:cNvPr id="1137"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pPr lvl="0"/>
            <a:r>
              <a:rPr lang="ja-JP" altLang="en-US" noProof="0"/>
              <a:t>国土交通省　観光庁</a:t>
            </a:r>
          </a:p>
          <a:p>
            <a:pPr lvl="0"/>
            <a:r>
              <a:rPr lang="ja-JP" altLang="en-US" noProof="0"/>
              <a:t>○○課</a:t>
            </a:r>
          </a:p>
          <a:p>
            <a:pPr lvl="0"/>
            <a:r>
              <a:rPr lang="ja-JP" altLang="en-US" noProof="0"/>
              <a:t>平成○○年○○月</a:t>
            </a:r>
          </a:p>
        </p:txBody>
      </p:sp>
      <p:sp>
        <p:nvSpPr>
          <p:cNvPr id="1138" name="Rectangle 5"/>
          <p:cNvSpPr>
            <a:spLocks noGrp="1" noChangeArrowheads="1"/>
          </p:cNvSpPr>
          <p:nvPr>
            <p:ph type="dt" sz="half" idx="2"/>
          </p:nvPr>
        </p:nvSpPr>
        <p:spPr/>
        <p:txBody>
          <a:bodyPr/>
          <a:lstStyle>
            <a:lvl1pPr>
              <a:defRPr/>
            </a:lvl1pPr>
          </a:lstStyle>
          <a:p>
            <a:endParaRPr lang="en-US" altLang="ja-JP"/>
          </a:p>
        </p:txBody>
      </p:sp>
      <p:sp>
        <p:nvSpPr>
          <p:cNvPr id="1139" name="Rectangle 6"/>
          <p:cNvSpPr>
            <a:spLocks noGrp="1" noChangeArrowheads="1"/>
          </p:cNvSpPr>
          <p:nvPr>
            <p:ph type="ftr" sz="quarter" idx="3"/>
          </p:nvPr>
        </p:nvSpPr>
        <p:spPr/>
        <p:txBody>
          <a:bodyPr/>
          <a:lstStyle>
            <a:lvl1pPr>
              <a:defRPr/>
            </a:lvl1pPr>
          </a:lstStyle>
          <a:p>
            <a:endParaRPr lang="en-US" altLang="ja-JP"/>
          </a:p>
        </p:txBody>
      </p:sp>
      <p:sp>
        <p:nvSpPr>
          <p:cNvPr id="1140" name="Rectangle 7"/>
          <p:cNvSpPr>
            <a:spLocks noGrp="1" noChangeArrowheads="1"/>
          </p:cNvSpPr>
          <p:nvPr>
            <p:ph type="sldNum" sz="quarter" idx="4"/>
          </p:nvPr>
        </p:nvSpPr>
        <p:spPr>
          <a:xfrm>
            <a:off x="7099300" y="6245225"/>
            <a:ext cx="2311400" cy="476250"/>
          </a:xfrm>
        </p:spPr>
        <p:txBody>
          <a:bodyPr/>
          <a:lstStyle>
            <a:lvl1pPr>
              <a:defRPr/>
            </a:lvl1pPr>
          </a:lstStyle>
          <a:p>
            <a:fld id="{8668F1B4-CD69-4873-A37D-05E3ED60FF33}" type="slidenum">
              <a:rPr lang="en-US" altLang="ja-JP"/>
              <a:pPr/>
              <a:t>‹#›</a:t>
            </a:fld>
            <a:endParaRPr lang="en-US" altLang="ja-JP"/>
          </a:p>
        </p:txBody>
      </p:sp>
      <p:sp>
        <p:nvSpPr>
          <p:cNvPr id="1141" name="Rectangle 14"/>
          <p:cNvSpPr>
            <a:spLocks noChangeArrowheads="1"/>
          </p:cNvSpPr>
          <p:nvPr userDrawn="1"/>
        </p:nvSpPr>
        <p:spPr>
          <a:xfrm>
            <a:off x="1833563" y="3284538"/>
            <a:ext cx="8072437" cy="73025"/>
          </a:xfrm>
          <a:prstGeom prst="rect">
            <a:avLst/>
          </a:prstGeom>
          <a:solidFill>
            <a:srgbClr val="FF0000"/>
          </a:solidFill>
          <a:ln>
            <a:noFill/>
          </a:ln>
          <a:effectLst/>
        </p:spPr>
        <p:txBody>
          <a:bodyPr wrap="none" anchor="ctr"/>
          <a:lstStyle/>
          <a:p>
            <a:endParaRPr lang="ja-JP" altLang="en-US"/>
          </a:p>
        </p:txBody>
      </p:sp>
    </p:spTree>
    <p:extLst>
      <p:ext uri="{BB962C8B-B14F-4D97-AF65-F5344CB8AC3E}">
        <p14:creationId xmlns:p14="http://schemas.microsoft.com/office/powerpoint/2010/main" val="37400726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43" name="タイトル 1"/>
          <p:cNvSpPr>
            <a:spLocks noGrp="1"/>
          </p:cNvSpPr>
          <p:nvPr>
            <p:ph type="title"/>
          </p:nvPr>
        </p:nvSpPr>
        <p:spPr/>
        <p:txBody>
          <a:bodyPr/>
          <a:lstStyle/>
          <a:p>
            <a:r>
              <a:rPr lang="ja-JP" altLang="en-US"/>
              <a:t>マスター タイトルの書式設定</a:t>
            </a:r>
          </a:p>
        </p:txBody>
      </p:sp>
      <p:sp>
        <p:nvSpPr>
          <p:cNvPr id="1144"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45" name="日付プレースホルダー 3"/>
          <p:cNvSpPr>
            <a:spLocks noGrp="1"/>
          </p:cNvSpPr>
          <p:nvPr>
            <p:ph type="dt" sz="half" idx="10"/>
          </p:nvPr>
        </p:nvSpPr>
        <p:spPr/>
        <p:txBody>
          <a:bodyPr/>
          <a:lstStyle>
            <a:lvl1pPr>
              <a:defRPr/>
            </a:lvl1pPr>
          </a:lstStyle>
          <a:p>
            <a:endParaRPr lang="en-US" altLang="ja-JP"/>
          </a:p>
        </p:txBody>
      </p:sp>
      <p:sp>
        <p:nvSpPr>
          <p:cNvPr id="1146" name="フッター プレースホルダー 4"/>
          <p:cNvSpPr>
            <a:spLocks noGrp="1"/>
          </p:cNvSpPr>
          <p:nvPr>
            <p:ph type="ftr" sz="quarter" idx="11"/>
          </p:nvPr>
        </p:nvSpPr>
        <p:spPr/>
        <p:txBody>
          <a:bodyPr/>
          <a:lstStyle>
            <a:lvl1pPr>
              <a:defRPr/>
            </a:lvl1pPr>
          </a:lstStyle>
          <a:p>
            <a:endParaRPr lang="en-US" altLang="ja-JP"/>
          </a:p>
        </p:txBody>
      </p:sp>
      <p:sp>
        <p:nvSpPr>
          <p:cNvPr id="1147" name="スライド番号プレースホルダー 5"/>
          <p:cNvSpPr>
            <a:spLocks noGrp="1"/>
          </p:cNvSpPr>
          <p:nvPr>
            <p:ph type="sldNum" sz="quarter" idx="12"/>
          </p:nvPr>
        </p:nvSpPr>
        <p:spPr/>
        <p:txBody>
          <a:bodyPr/>
          <a:lstStyle>
            <a:lvl1pPr>
              <a:defRPr/>
            </a:lvl1pPr>
          </a:lstStyle>
          <a:p>
            <a:fld id="{A55D6372-79B3-44A9-9559-35B0E06D676F}" type="slidenum">
              <a:rPr lang="en-US" altLang="ja-JP"/>
              <a:pPr/>
              <a:t>‹#›</a:t>
            </a:fld>
            <a:endParaRPr lang="en-US" altLang="ja-JP"/>
          </a:p>
        </p:txBody>
      </p:sp>
    </p:spTree>
    <p:extLst>
      <p:ext uri="{BB962C8B-B14F-4D97-AF65-F5344CB8AC3E}">
        <p14:creationId xmlns:p14="http://schemas.microsoft.com/office/powerpoint/2010/main" val="2453992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1048" name="タイトル 1"/>
          <p:cNvSpPr>
            <a:spLocks noGrp="1"/>
          </p:cNvSpPr>
          <p:nvPr>
            <p:ph type="title"/>
          </p:nvPr>
        </p:nvSpPr>
        <p:spPr/>
        <p:txBody>
          <a:bodyPr/>
          <a:lstStyle/>
          <a:p>
            <a:r>
              <a:rPr kumimoji="1" lang="ja-JP" altLang="en-US"/>
              <a:t>マスター タイトルの書式設定</a:t>
            </a:r>
          </a:p>
        </p:txBody>
      </p:sp>
      <p:sp>
        <p:nvSpPr>
          <p:cNvPr id="1049" name="スライド番号プレースホルダー 4"/>
          <p:cNvSpPr>
            <a:spLocks noGrp="1"/>
          </p:cNvSpPr>
          <p:nvPr>
            <p:ph type="sldNum" sz="quarter" idx="12"/>
          </p:nvPr>
        </p:nvSpPr>
        <p:spPr>
          <a:xfrm>
            <a:off x="7604919" y="6559411"/>
            <a:ext cx="2311400" cy="476250"/>
          </a:xfrm>
        </p:spPr>
        <p:txBody>
          <a:bodyPr/>
          <a:lstStyle>
            <a:lvl1pPr>
              <a:defRPr sz="1400" b="1">
                <a:solidFill>
                  <a:schemeClr val="tx1">
                    <a:lumMod val="50000"/>
                    <a:lumOff val="50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pPr>
              <a:defRPr/>
            </a:pPr>
            <a:fld id="{6C3D8034-C9BD-4A9F-92F6-9647D787197B}" type="slidenum">
              <a:rPr lang="en-US" altLang="ja-JP" smtClean="0"/>
              <a:pPr>
                <a:defRPr/>
              </a:pPr>
              <a:t>‹#›</a:t>
            </a:fld>
            <a:endParaRPr lang="en-US" altLang="ja-JP" dirty="0"/>
          </a:p>
        </p:txBody>
      </p:sp>
    </p:spTree>
    <p:extLst>
      <p:ext uri="{BB962C8B-B14F-4D97-AF65-F5344CB8AC3E}">
        <p14:creationId xmlns:p14="http://schemas.microsoft.com/office/powerpoint/2010/main" val="141405964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4" name="Picture 20" descr="ppjtit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6076950"/>
            <a:ext cx="992187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4"/>
          <p:cNvSpPr>
            <a:spLocks noChangeArrowheads="1"/>
          </p:cNvSpPr>
          <p:nvPr userDrawn="1"/>
        </p:nvSpPr>
        <p:spPr bwMode="auto">
          <a:xfrm>
            <a:off x="1833563" y="3284544"/>
            <a:ext cx="8072437" cy="7302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31747" name="Rectangle 3"/>
          <p:cNvSpPr>
            <a:spLocks noGrp="1" noChangeArrowheads="1"/>
          </p:cNvSpPr>
          <p:nvPr>
            <p:ph type="ctrTitle"/>
          </p:nvPr>
        </p:nvSpPr>
        <p:spPr>
          <a:xfrm>
            <a:off x="1784351" y="2133608"/>
            <a:ext cx="8121650" cy="1470025"/>
          </a:xfrm>
        </p:spPr>
        <p:txBody>
          <a:bodyPr/>
          <a:lstStyle>
            <a:lvl1pPr>
              <a:defRPr sz="3408"/>
            </a:lvl1pPr>
          </a:lstStyle>
          <a:p>
            <a:r>
              <a:rPr lang="ja-JP" altLang="en-US"/>
              <a:t>マスタ タイトルの書式設定</a:t>
            </a:r>
          </a:p>
        </p:txBody>
      </p:sp>
      <p:sp>
        <p:nvSpPr>
          <p:cNvPr id="31748"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国土交通省　観光庁</a:t>
            </a:r>
          </a:p>
          <a:p>
            <a:r>
              <a:rPr lang="ja-JP" altLang="en-US"/>
              <a:t>○○課</a:t>
            </a:r>
          </a:p>
          <a:p>
            <a:r>
              <a:rPr lang="ja-JP" altLang="en-US"/>
              <a:t>平成○○年○○月</a:t>
            </a:r>
          </a:p>
        </p:txBody>
      </p:sp>
      <p:sp>
        <p:nvSpPr>
          <p:cNvPr id="6" name="Rectangle 5"/>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dirty="0"/>
          </a:p>
        </p:txBody>
      </p:sp>
      <p:sp>
        <p:nvSpPr>
          <p:cNvPr id="7" name="Rectangle 6"/>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dirty="0"/>
          </a:p>
        </p:txBody>
      </p:sp>
      <p:sp>
        <p:nvSpPr>
          <p:cNvPr id="8" name="Rectangle 7"/>
          <p:cNvSpPr>
            <a:spLocks noGrp="1" noChangeArrowheads="1"/>
          </p:cNvSpPr>
          <p:nvPr>
            <p:ph type="sldNum" sz="quarter" idx="12"/>
          </p:nvPr>
        </p:nvSpPr>
        <p:spPr>
          <a:xfrm>
            <a:off x="7099300" y="6245225"/>
            <a:ext cx="2311400" cy="476250"/>
          </a:xfrm>
        </p:spPr>
        <p:txBody>
          <a:bodyPr/>
          <a:lstStyle>
            <a:lvl1pPr fontAlgn="auto">
              <a:spcBef>
                <a:spcPts val="0"/>
              </a:spcBef>
              <a:spcAft>
                <a:spcPts val="0"/>
              </a:spcAft>
              <a:defRPr/>
            </a:lvl1pPr>
          </a:lstStyle>
          <a:p>
            <a:pPr>
              <a:defRPr/>
            </a:pPr>
            <a:fld id="{2EEA7C7B-6C38-4BDA-B6DD-FAA96FBB8521}" type="slidenum">
              <a:rPr lang="en-US" altLang="ja-JP"/>
              <a:pPr>
                <a:defRPr/>
              </a:pPr>
              <a:t>‹#›</a:t>
            </a:fld>
            <a:endParaRPr lang="en-US" altLang="ja-JP" dirty="0"/>
          </a:p>
        </p:txBody>
      </p:sp>
    </p:spTree>
    <p:extLst>
      <p:ext uri="{BB962C8B-B14F-4D97-AF65-F5344CB8AC3E}">
        <p14:creationId xmlns:p14="http://schemas.microsoft.com/office/powerpoint/2010/main" val="337884908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dirty="0"/>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dirty="0"/>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dirty="0"/>
          </a:p>
        </p:txBody>
      </p:sp>
    </p:spTree>
    <p:extLst>
      <p:ext uri="{BB962C8B-B14F-4D97-AF65-F5344CB8AC3E}">
        <p14:creationId xmlns:p14="http://schemas.microsoft.com/office/powerpoint/2010/main" val="17114253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dirty="0"/>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dirty="0"/>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dirty="0"/>
          </a:p>
        </p:txBody>
      </p:sp>
      <p:grpSp>
        <p:nvGrpSpPr>
          <p:cNvPr id="7" name="Group 27"/>
          <p:cNvGrpSpPr>
            <a:grpSpLocks/>
          </p:cNvGrpSpPr>
          <p:nvPr userDrawn="1"/>
        </p:nvGrpSpPr>
        <p:grpSpPr bwMode="auto">
          <a:xfrm>
            <a:off x="0" y="6599065"/>
            <a:ext cx="9906000" cy="214314"/>
            <a:chOff x="0" y="255"/>
            <a:chExt cx="6240" cy="135"/>
          </a:xfrm>
        </p:grpSpPr>
        <p:sp>
          <p:nvSpPr>
            <p:cNvPr id="8"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9"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Tree>
    <p:extLst>
      <p:ext uri="{BB962C8B-B14F-4D97-AF65-F5344CB8AC3E}">
        <p14:creationId xmlns:p14="http://schemas.microsoft.com/office/powerpoint/2010/main" val="1305484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pSp>
        <p:nvGrpSpPr>
          <p:cNvPr id="1050" name="グループ化 93"/>
          <p:cNvGrpSpPr>
            <a:grpSpLocks noChangeAspect="1"/>
          </p:cNvGrpSpPr>
          <p:nvPr userDrawn="1"/>
        </p:nvGrpSpPr>
        <p:grpSpPr>
          <a:xfrm>
            <a:off x="251520" y="6076961"/>
            <a:ext cx="1395847" cy="418881"/>
            <a:chOff x="4624168" y="4098236"/>
            <a:chExt cx="2957141" cy="819150"/>
          </a:xfrm>
        </p:grpSpPr>
        <p:sp>
          <p:nvSpPr>
            <p:cNvPr id="1051" name="フリーフォーム: 図形 8"/>
            <p:cNvSpPr/>
            <p:nvPr/>
          </p:nvSpPr>
          <p:spPr>
            <a:xfrm>
              <a:off x="4624168" y="4098236"/>
              <a:ext cx="971550"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a:p>
          </p:txBody>
        </p:sp>
        <p:sp>
          <p:nvSpPr>
            <p:cNvPr id="1052" name="フリーフォーム: 図形 9"/>
            <p:cNvSpPr/>
            <p:nvPr/>
          </p:nvSpPr>
          <p:spPr>
            <a:xfrm>
              <a:off x="7190784" y="4524946"/>
              <a:ext cx="390525" cy="352425"/>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a:p>
          </p:txBody>
        </p:sp>
        <p:sp>
          <p:nvSpPr>
            <p:cNvPr id="1053" name="フリーフォーム: 図形 10"/>
            <p:cNvSpPr/>
            <p:nvPr/>
          </p:nvSpPr>
          <p:spPr>
            <a:xfrm>
              <a:off x="7103392" y="4363774"/>
              <a:ext cx="476250" cy="514350"/>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a:p>
          </p:txBody>
        </p:sp>
        <p:sp>
          <p:nvSpPr>
            <p:cNvPr id="1054" name="フリーフォーム: 図形 11"/>
            <p:cNvSpPr/>
            <p:nvPr/>
          </p:nvSpPr>
          <p:spPr>
            <a:xfrm>
              <a:off x="6484267" y="4397940"/>
              <a:ext cx="476250" cy="476250"/>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a:p>
          </p:txBody>
        </p:sp>
        <p:sp>
          <p:nvSpPr>
            <p:cNvPr id="1055" name="フリーフォーム: 図形 12"/>
            <p:cNvSpPr/>
            <p:nvPr/>
          </p:nvSpPr>
          <p:spPr>
            <a:xfrm>
              <a:off x="6793496" y="4397940"/>
              <a:ext cx="142875"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a:p>
          </p:txBody>
        </p:sp>
        <p:sp>
          <p:nvSpPr>
            <p:cNvPr id="1056" name="フリーフォーム: 図形 13"/>
            <p:cNvSpPr/>
            <p:nvPr/>
          </p:nvSpPr>
          <p:spPr>
            <a:xfrm>
              <a:off x="6513375" y="4397940"/>
              <a:ext cx="142875"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a:p>
          </p:txBody>
        </p:sp>
        <p:sp>
          <p:nvSpPr>
            <p:cNvPr id="1057" name="フリーフォーム: 図形 14"/>
            <p:cNvSpPr/>
            <p:nvPr/>
          </p:nvSpPr>
          <p:spPr>
            <a:xfrm>
              <a:off x="6150387" y="4397940"/>
              <a:ext cx="219075" cy="476250"/>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a:p>
          </p:txBody>
        </p:sp>
        <p:sp>
          <p:nvSpPr>
            <p:cNvPr id="1058" name="フリーフォーム: 図形 15"/>
            <p:cNvSpPr/>
            <p:nvPr/>
          </p:nvSpPr>
          <p:spPr>
            <a:xfrm>
              <a:off x="5863313" y="4363783"/>
              <a:ext cx="285750" cy="514350"/>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a:p>
          </p:txBody>
        </p:sp>
        <p:sp>
          <p:nvSpPr>
            <p:cNvPr id="1059" name="フリーフォーム: 図形 16"/>
            <p:cNvSpPr/>
            <p:nvPr/>
          </p:nvSpPr>
          <p:spPr>
            <a:xfrm>
              <a:off x="5899880" y="4139269"/>
              <a:ext cx="190500" cy="200025"/>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a:p>
          </p:txBody>
        </p:sp>
        <p:sp>
          <p:nvSpPr>
            <p:cNvPr id="1060" name="フリーフォーム: 図形 17"/>
            <p:cNvSpPr/>
            <p:nvPr/>
          </p:nvSpPr>
          <p:spPr>
            <a:xfrm>
              <a:off x="6114792" y="4129592"/>
              <a:ext cx="200025" cy="200025"/>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a:p>
          </p:txBody>
        </p:sp>
        <p:sp>
          <p:nvSpPr>
            <p:cNvPr id="1061" name="フリーフォーム: 図形 18"/>
            <p:cNvSpPr/>
            <p:nvPr/>
          </p:nvSpPr>
          <p:spPr>
            <a:xfrm>
              <a:off x="6335839" y="4129592"/>
              <a:ext cx="209550" cy="200025"/>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a:p>
          </p:txBody>
        </p:sp>
        <p:sp>
          <p:nvSpPr>
            <p:cNvPr id="1062" name="フリーフォーム: 図形 19"/>
            <p:cNvSpPr/>
            <p:nvPr/>
          </p:nvSpPr>
          <p:spPr>
            <a:xfrm>
              <a:off x="6554514" y="4131697"/>
              <a:ext cx="209550" cy="200025"/>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a:p>
          </p:txBody>
        </p:sp>
        <p:sp>
          <p:nvSpPr>
            <p:cNvPr id="1063" name="フリーフォーム: 図形 20"/>
            <p:cNvSpPr/>
            <p:nvPr/>
          </p:nvSpPr>
          <p:spPr>
            <a:xfrm>
              <a:off x="6776113" y="4130182"/>
              <a:ext cx="209550" cy="200025"/>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a:p>
          </p:txBody>
        </p:sp>
      </p:grpSp>
      <p:grpSp>
        <p:nvGrpSpPr>
          <p:cNvPr id="1064" name="グループ化 107"/>
          <p:cNvGrpSpPr/>
          <p:nvPr userDrawn="1"/>
        </p:nvGrpSpPr>
        <p:grpSpPr>
          <a:xfrm>
            <a:off x="0" y="6589649"/>
            <a:ext cx="9906000" cy="270000"/>
            <a:chOff x="0" y="6589649"/>
            <a:chExt cx="10731500" cy="270000"/>
          </a:xfrm>
        </p:grpSpPr>
        <p:sp>
          <p:nvSpPr>
            <p:cNvPr id="1065" name="正方形/長方形 108"/>
            <p:cNvSpPr/>
            <p:nvPr userDrawn="1"/>
          </p:nvSpPr>
          <p:spPr>
            <a:xfrm>
              <a:off x="0" y="6589649"/>
              <a:ext cx="10731500" cy="270000"/>
            </a:xfrm>
            <a:prstGeom prst="rect">
              <a:avLst/>
            </a:prstGeom>
            <a:solidFill>
              <a:srgbClr val="FF0000"/>
            </a:solidFill>
            <a:ln>
              <a:noFill/>
            </a:ln>
            <a:effectLst/>
          </p:spPr>
          <p:txBody>
            <a:bodyPr vert="horz" wrap="none" lIns="91440" tIns="45720" rIns="91440" bIns="45720" numCol="1" rtlCol="0" anchor="ctr" anchorCtr="0" compatLnSpc="1">
              <a:prstTxWarp prst="textNoShape">
                <a:avLst/>
              </a:prstTxWarp>
            </a:bodyPr>
            <a:lstStyle/>
            <a:p>
              <a:pPr marL="0" marR="0" indent="0" algn="ctr" defTabSz="914418" rtl="0" eaLnBrk="1" fontAlgn="base" latinLnBrk="0" hangingPunct="1">
                <a:lnSpc>
                  <a:spcPct val="100000"/>
                </a:lnSpc>
                <a:spcBef>
                  <a:spcPct val="0"/>
                </a:spcBef>
                <a:spcAft>
                  <a:spcPct val="0"/>
                </a:spcAft>
                <a:buClrTx/>
                <a:buSzTx/>
                <a:buFontTx/>
                <a:buNone/>
                <a:tabLst/>
              </a:pPr>
              <a:endParaRPr kumimoji="1" lang="ja-JP" altLang="en-US" sz="1800" b="0" i="0" u="none" strike="noStrike" cap="none" normalizeH="0" baseline="0">
                <a:ln>
                  <a:noFill/>
                </a:ln>
                <a:solidFill>
                  <a:schemeClr val="tx1"/>
                </a:solidFill>
                <a:effectLst/>
                <a:latin typeface="Arial" panose="020B0604020202020204" pitchFamily="34" charset="0"/>
                <a:ea typeface="ＭＳ Ｐゴシック" panose="020B0600070205080204" pitchFamily="50" charset="-128"/>
              </a:endParaRPr>
            </a:p>
          </p:txBody>
        </p:sp>
        <p:grpSp>
          <p:nvGrpSpPr>
            <p:cNvPr id="1066" name="グループ化 109"/>
            <p:cNvGrpSpPr/>
            <p:nvPr userDrawn="1"/>
          </p:nvGrpSpPr>
          <p:grpSpPr>
            <a:xfrm>
              <a:off x="918000" y="6624000"/>
              <a:ext cx="5180400" cy="150760"/>
              <a:chOff x="918000" y="6660000"/>
              <a:chExt cx="5180400" cy="150760"/>
            </a:xfrm>
          </p:grpSpPr>
          <p:grpSp>
            <p:nvGrpSpPr>
              <p:cNvPr id="1067" name="グループ化 110"/>
              <p:cNvGrpSpPr>
                <a:grpSpLocks noChangeAspect="1"/>
              </p:cNvGrpSpPr>
              <p:nvPr userDrawn="1"/>
            </p:nvGrpSpPr>
            <p:grpSpPr>
              <a:xfrm>
                <a:off x="918000" y="6668107"/>
                <a:ext cx="1368000" cy="142653"/>
                <a:chOff x="416496" y="5492911"/>
                <a:chExt cx="3254892" cy="339414"/>
              </a:xfrm>
            </p:grpSpPr>
            <p:sp>
              <p:nvSpPr>
                <p:cNvPr id="1068" name="フリーフォーム: 図形 6"/>
                <p:cNvSpPr/>
                <p:nvPr/>
              </p:nvSpPr>
              <p:spPr>
                <a:xfrm>
                  <a:off x="416496" y="5492921"/>
                  <a:ext cx="123825" cy="257175"/>
                </a:xfrm>
                <a:custGeom>
                  <a:avLst/>
                  <a:gdLst>
                    <a:gd name="connsiteX0" fmla="*/ 123939 w 123825"/>
                    <a:gd name="connsiteY0" fmla="*/ 178146 h 257175"/>
                    <a:gd name="connsiteX1" fmla="*/ 42120 w 123825"/>
                    <a:gd name="connsiteY1" fmla="*/ 257813 h 257175"/>
                    <a:gd name="connsiteX2" fmla="*/ 7144 w 123825"/>
                    <a:gd name="connsiteY2" fmla="*/ 253565 h 257175"/>
                    <a:gd name="connsiteX3" fmla="*/ 7144 w 123825"/>
                    <a:gd name="connsiteY3" fmla="*/ 219961 h 257175"/>
                    <a:gd name="connsiteX4" fmla="*/ 44253 w 123825"/>
                    <a:gd name="connsiteY4" fmla="*/ 228200 h 257175"/>
                    <a:gd name="connsiteX5" fmla="*/ 77133 w 123825"/>
                    <a:gd name="connsiteY5" fmla="*/ 182442 h 257175"/>
                    <a:gd name="connsiteX6" fmla="*/ 77133 w 123825"/>
                    <a:gd name="connsiteY6" fmla="*/ 7144 h 257175"/>
                    <a:gd name="connsiteX7" fmla="*/ 123930 w 123825"/>
                    <a:gd name="connsiteY7" fmla="*/ 7144 h 257175"/>
                    <a:gd name="connsiteX8" fmla="*/ 123930 w 123825"/>
                    <a:gd name="connsiteY8" fmla="*/ 17814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257175">
                      <a:moveTo>
                        <a:pt x="123939" y="178146"/>
                      </a:moveTo>
                      <a:cubicBezTo>
                        <a:pt x="123939" y="225295"/>
                        <a:pt x="113224" y="257813"/>
                        <a:pt x="42120" y="257813"/>
                      </a:cubicBezTo>
                      <a:cubicBezTo>
                        <a:pt x="26756" y="257813"/>
                        <a:pt x="15326" y="255299"/>
                        <a:pt x="7144" y="253565"/>
                      </a:cubicBezTo>
                      <a:lnTo>
                        <a:pt x="7144" y="219961"/>
                      </a:lnTo>
                      <a:cubicBezTo>
                        <a:pt x="11373" y="222104"/>
                        <a:pt x="26022" y="228200"/>
                        <a:pt x="44253" y="228200"/>
                      </a:cubicBezTo>
                      <a:cubicBezTo>
                        <a:pt x="72828" y="228200"/>
                        <a:pt x="77133" y="209255"/>
                        <a:pt x="77133" y="182442"/>
                      </a:cubicBezTo>
                      <a:lnTo>
                        <a:pt x="77133" y="7144"/>
                      </a:lnTo>
                      <a:lnTo>
                        <a:pt x="123930" y="7144"/>
                      </a:lnTo>
                      <a:lnTo>
                        <a:pt x="123930" y="178146"/>
                      </a:lnTo>
                      <a:close/>
                    </a:path>
                  </a:pathLst>
                </a:custGeom>
                <a:solidFill>
                  <a:schemeClr val="bg1"/>
                </a:solidFill>
                <a:ln w="9525" cap="flat">
                  <a:noFill/>
                  <a:prstDash val="solid"/>
                  <a:miter/>
                </a:ln>
              </p:spPr>
              <p:txBody>
                <a:bodyPr rtlCol="0" anchor="ctr"/>
                <a:lstStyle/>
                <a:p>
                  <a:endParaRPr lang="ja-JP" altLang="en-US"/>
                </a:p>
              </p:txBody>
            </p:sp>
            <p:sp>
              <p:nvSpPr>
                <p:cNvPr id="1069" name="フリーフォーム: 図形 7"/>
                <p:cNvSpPr/>
                <p:nvPr/>
              </p:nvSpPr>
              <p:spPr>
                <a:xfrm>
                  <a:off x="567591" y="5565644"/>
                  <a:ext cx="152400" cy="190500"/>
                </a:xfrm>
                <a:custGeom>
                  <a:avLst/>
                  <a:gdLst>
                    <a:gd name="connsiteX0" fmla="*/ 103641 w 152400"/>
                    <a:gd name="connsiteY0" fmla="*/ 158667 h 190500"/>
                    <a:gd name="connsiteX1" fmla="*/ 102918 w 152400"/>
                    <a:gd name="connsiteY1" fmla="*/ 158667 h 190500"/>
                    <a:gd name="connsiteX2" fmla="*/ 54693 w 152400"/>
                    <a:gd name="connsiteY2" fmla="*/ 185080 h 190500"/>
                    <a:gd name="connsiteX3" fmla="*/ 7144 w 152400"/>
                    <a:gd name="connsiteY3" fmla="*/ 142608 h 190500"/>
                    <a:gd name="connsiteX4" fmla="*/ 103641 w 152400"/>
                    <a:gd name="connsiteY4" fmla="*/ 85735 h 190500"/>
                    <a:gd name="connsiteX5" fmla="*/ 103641 w 152400"/>
                    <a:gd name="connsiteY5" fmla="*/ 57188 h 190500"/>
                    <a:gd name="connsiteX6" fmla="*/ 82210 w 152400"/>
                    <a:gd name="connsiteY6" fmla="*/ 23946 h 190500"/>
                    <a:gd name="connsiteX7" fmla="*/ 59331 w 152400"/>
                    <a:gd name="connsiteY7" fmla="*/ 61817 h 190500"/>
                    <a:gd name="connsiteX8" fmla="*/ 13211 w 152400"/>
                    <a:gd name="connsiteY8" fmla="*/ 61817 h 190500"/>
                    <a:gd name="connsiteX9" fmla="*/ 82544 w 152400"/>
                    <a:gd name="connsiteY9" fmla="*/ 7144 h 190500"/>
                    <a:gd name="connsiteX10" fmla="*/ 146856 w 152400"/>
                    <a:gd name="connsiteY10" fmla="*/ 66104 h 190500"/>
                    <a:gd name="connsiteX11" fmla="*/ 146856 w 152400"/>
                    <a:gd name="connsiteY11" fmla="*/ 181165 h 190500"/>
                    <a:gd name="connsiteX12" fmla="*/ 103641 w 152400"/>
                    <a:gd name="connsiteY12" fmla="*/ 181165 h 190500"/>
                    <a:gd name="connsiteX13" fmla="*/ 103641 w 152400"/>
                    <a:gd name="connsiteY13" fmla="*/ 158667 h 190500"/>
                    <a:gd name="connsiteX14" fmla="*/ 103641 w 152400"/>
                    <a:gd name="connsiteY14" fmla="*/ 102565 h 190500"/>
                    <a:gd name="connsiteX15" fmla="*/ 51825 w 152400"/>
                    <a:gd name="connsiteY15" fmla="*/ 136522 h 190500"/>
                    <a:gd name="connsiteX16" fmla="*/ 71485 w 152400"/>
                    <a:gd name="connsiteY16" fmla="*/ 160458 h 190500"/>
                    <a:gd name="connsiteX17" fmla="*/ 103641 w 152400"/>
                    <a:gd name="connsiteY17" fmla="*/ 115053 h 190500"/>
                    <a:gd name="connsiteX18" fmla="*/ 103641 w 152400"/>
                    <a:gd name="connsiteY18" fmla="*/ 1025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90500">
                      <a:moveTo>
                        <a:pt x="103641" y="158667"/>
                      </a:moveTo>
                      <a:lnTo>
                        <a:pt x="102918" y="158667"/>
                      </a:lnTo>
                      <a:cubicBezTo>
                        <a:pt x="98308" y="166878"/>
                        <a:pt x="81505" y="185080"/>
                        <a:pt x="54693" y="185080"/>
                      </a:cubicBezTo>
                      <a:cubicBezTo>
                        <a:pt x="27861" y="185080"/>
                        <a:pt x="7144" y="167230"/>
                        <a:pt x="7144" y="142608"/>
                      </a:cubicBezTo>
                      <a:cubicBezTo>
                        <a:pt x="7144" y="90049"/>
                        <a:pt x="79324" y="86878"/>
                        <a:pt x="103641" y="85735"/>
                      </a:cubicBezTo>
                      <a:lnTo>
                        <a:pt x="103641" y="57188"/>
                      </a:lnTo>
                      <a:cubicBezTo>
                        <a:pt x="103641" y="32166"/>
                        <a:pt x="96155" y="23946"/>
                        <a:pt x="82210" y="23946"/>
                      </a:cubicBezTo>
                      <a:cubicBezTo>
                        <a:pt x="59684" y="23946"/>
                        <a:pt x="60046" y="50740"/>
                        <a:pt x="59331" y="61817"/>
                      </a:cubicBezTo>
                      <a:lnTo>
                        <a:pt x="13211" y="61817"/>
                      </a:lnTo>
                      <a:cubicBezTo>
                        <a:pt x="13211" y="26118"/>
                        <a:pt x="37167" y="7144"/>
                        <a:pt x="82544" y="7144"/>
                      </a:cubicBezTo>
                      <a:cubicBezTo>
                        <a:pt x="136141" y="7144"/>
                        <a:pt x="146856" y="32176"/>
                        <a:pt x="146856" y="66104"/>
                      </a:cubicBezTo>
                      <a:lnTo>
                        <a:pt x="146856" y="181165"/>
                      </a:lnTo>
                      <a:lnTo>
                        <a:pt x="103641" y="181165"/>
                      </a:lnTo>
                      <a:lnTo>
                        <a:pt x="103641" y="158667"/>
                      </a:lnTo>
                      <a:close/>
                      <a:moveTo>
                        <a:pt x="103641" y="102565"/>
                      </a:moveTo>
                      <a:cubicBezTo>
                        <a:pt x="88963" y="103984"/>
                        <a:pt x="51825" y="108652"/>
                        <a:pt x="51825" y="136522"/>
                      </a:cubicBezTo>
                      <a:cubicBezTo>
                        <a:pt x="51825" y="150819"/>
                        <a:pt x="58988" y="160458"/>
                        <a:pt x="71485" y="160458"/>
                      </a:cubicBezTo>
                      <a:cubicBezTo>
                        <a:pt x="91840" y="160458"/>
                        <a:pt x="103641" y="138989"/>
                        <a:pt x="103641" y="115053"/>
                      </a:cubicBezTo>
                      <a:lnTo>
                        <a:pt x="103641" y="102565"/>
                      </a:lnTo>
                      <a:close/>
                    </a:path>
                  </a:pathLst>
                </a:custGeom>
                <a:solidFill>
                  <a:schemeClr val="bg1"/>
                </a:solidFill>
                <a:ln w="9525" cap="flat">
                  <a:noFill/>
                  <a:prstDash val="solid"/>
                  <a:miter/>
                </a:ln>
              </p:spPr>
              <p:txBody>
                <a:bodyPr rtlCol="0" anchor="ctr"/>
                <a:lstStyle/>
                <a:p>
                  <a:endParaRPr lang="ja-JP" altLang="en-US"/>
                </a:p>
              </p:txBody>
            </p:sp>
            <p:sp>
              <p:nvSpPr>
                <p:cNvPr id="1070" name="フリーフォーム: 図形 22"/>
                <p:cNvSpPr/>
                <p:nvPr/>
              </p:nvSpPr>
              <p:spPr>
                <a:xfrm>
                  <a:off x="751271" y="5565635"/>
                  <a:ext cx="152400" cy="257175"/>
                </a:xfrm>
                <a:custGeom>
                  <a:avLst/>
                  <a:gdLst>
                    <a:gd name="connsiteX0" fmla="*/ 7144 w 152400"/>
                    <a:gd name="connsiteY0" fmla="*/ 11116 h 257175"/>
                    <a:gd name="connsiteX1" fmla="*/ 50387 w 152400"/>
                    <a:gd name="connsiteY1" fmla="*/ 11116 h 257175"/>
                    <a:gd name="connsiteX2" fmla="*/ 50387 w 152400"/>
                    <a:gd name="connsiteY2" fmla="*/ 39719 h 257175"/>
                    <a:gd name="connsiteX3" fmla="*/ 51102 w 152400"/>
                    <a:gd name="connsiteY3" fmla="*/ 39719 h 257175"/>
                    <a:gd name="connsiteX4" fmla="*/ 97203 w 152400"/>
                    <a:gd name="connsiteY4" fmla="*/ 7144 h 257175"/>
                    <a:gd name="connsiteX5" fmla="*/ 154010 w 152400"/>
                    <a:gd name="connsiteY5" fmla="*/ 95040 h 257175"/>
                    <a:gd name="connsiteX6" fmla="*/ 91840 w 152400"/>
                    <a:gd name="connsiteY6" fmla="*/ 185099 h 257175"/>
                    <a:gd name="connsiteX7" fmla="*/ 51111 w 152400"/>
                    <a:gd name="connsiteY7" fmla="*/ 158286 h 257175"/>
                    <a:gd name="connsiteX8" fmla="*/ 50397 w 152400"/>
                    <a:gd name="connsiteY8" fmla="*/ 158286 h 257175"/>
                    <a:gd name="connsiteX9" fmla="*/ 50397 w 152400"/>
                    <a:gd name="connsiteY9" fmla="*/ 257670 h 257175"/>
                    <a:gd name="connsiteX10" fmla="*/ 7153 w 152400"/>
                    <a:gd name="connsiteY10" fmla="*/ 257670 h 257175"/>
                    <a:gd name="connsiteX11" fmla="*/ 7153 w 152400"/>
                    <a:gd name="connsiteY11" fmla="*/ 11116 h 257175"/>
                    <a:gd name="connsiteX12" fmla="*/ 78972 w 152400"/>
                    <a:gd name="connsiteY12" fmla="*/ 160468 h 257175"/>
                    <a:gd name="connsiteX13" fmla="*/ 107213 w 152400"/>
                    <a:gd name="connsiteY13" fmla="*/ 95040 h 257175"/>
                    <a:gd name="connsiteX14" fmla="*/ 77895 w 152400"/>
                    <a:gd name="connsiteY14" fmla="*/ 33957 h 257175"/>
                    <a:gd name="connsiteX15" fmla="*/ 52502 w 152400"/>
                    <a:gd name="connsiteY15" fmla="*/ 95040 h 257175"/>
                    <a:gd name="connsiteX16" fmla="*/ 78972 w 152400"/>
                    <a:gd name="connsiteY16" fmla="*/ 16046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00" h="257175">
                      <a:moveTo>
                        <a:pt x="7144" y="11116"/>
                      </a:moveTo>
                      <a:lnTo>
                        <a:pt x="50387" y="11116"/>
                      </a:lnTo>
                      <a:lnTo>
                        <a:pt x="50387" y="39719"/>
                      </a:lnTo>
                      <a:lnTo>
                        <a:pt x="51102" y="39719"/>
                      </a:lnTo>
                      <a:cubicBezTo>
                        <a:pt x="56464" y="28918"/>
                        <a:pt x="69647" y="7144"/>
                        <a:pt x="97203" y="7144"/>
                      </a:cubicBezTo>
                      <a:cubicBezTo>
                        <a:pt x="139713" y="7144"/>
                        <a:pt x="154010" y="47187"/>
                        <a:pt x="154010" y="95040"/>
                      </a:cubicBezTo>
                      <a:cubicBezTo>
                        <a:pt x="154010" y="152267"/>
                        <a:pt x="135807" y="185099"/>
                        <a:pt x="91840" y="185099"/>
                      </a:cubicBezTo>
                      <a:cubicBezTo>
                        <a:pt x="65046" y="185099"/>
                        <a:pt x="56093" y="168335"/>
                        <a:pt x="51111" y="158286"/>
                      </a:cubicBezTo>
                      <a:lnTo>
                        <a:pt x="50397" y="158286"/>
                      </a:lnTo>
                      <a:lnTo>
                        <a:pt x="50397" y="257670"/>
                      </a:lnTo>
                      <a:lnTo>
                        <a:pt x="7153" y="257670"/>
                      </a:lnTo>
                      <a:lnTo>
                        <a:pt x="7153" y="11116"/>
                      </a:lnTo>
                      <a:close/>
                      <a:moveTo>
                        <a:pt x="78972" y="160468"/>
                      </a:moveTo>
                      <a:cubicBezTo>
                        <a:pt x="103956" y="160468"/>
                        <a:pt x="107213" y="121510"/>
                        <a:pt x="107213" y="95040"/>
                      </a:cubicBezTo>
                      <a:cubicBezTo>
                        <a:pt x="107213" y="72190"/>
                        <a:pt x="103956" y="33957"/>
                        <a:pt x="77895" y="33957"/>
                      </a:cubicBezTo>
                      <a:cubicBezTo>
                        <a:pt x="53607" y="33957"/>
                        <a:pt x="52502" y="72190"/>
                        <a:pt x="52502" y="95040"/>
                      </a:cubicBezTo>
                      <a:cubicBezTo>
                        <a:pt x="52502" y="121510"/>
                        <a:pt x="53607" y="160468"/>
                        <a:pt x="78972" y="160468"/>
                      </a:cubicBezTo>
                      <a:close/>
                    </a:path>
                  </a:pathLst>
                </a:custGeom>
                <a:solidFill>
                  <a:schemeClr val="bg1"/>
                </a:solidFill>
                <a:ln w="9525" cap="flat">
                  <a:noFill/>
                  <a:prstDash val="solid"/>
                  <a:miter/>
                </a:ln>
              </p:spPr>
              <p:txBody>
                <a:bodyPr rtlCol="0" anchor="ctr"/>
                <a:lstStyle/>
                <a:p>
                  <a:endParaRPr lang="ja-JP" altLang="en-US"/>
                </a:p>
              </p:txBody>
            </p:sp>
            <p:sp>
              <p:nvSpPr>
                <p:cNvPr id="1071" name="フリーフォーム: 図形 23"/>
                <p:cNvSpPr/>
                <p:nvPr/>
              </p:nvSpPr>
              <p:spPr>
                <a:xfrm>
                  <a:off x="924597" y="5565644"/>
                  <a:ext cx="152400" cy="190500"/>
                </a:xfrm>
                <a:custGeom>
                  <a:avLst/>
                  <a:gdLst>
                    <a:gd name="connsiteX0" fmla="*/ 103603 w 152400"/>
                    <a:gd name="connsiteY0" fmla="*/ 158667 h 190500"/>
                    <a:gd name="connsiteX1" fmla="*/ 102889 w 152400"/>
                    <a:gd name="connsiteY1" fmla="*/ 158667 h 190500"/>
                    <a:gd name="connsiteX2" fmla="*/ 54655 w 152400"/>
                    <a:gd name="connsiteY2" fmla="*/ 185080 h 190500"/>
                    <a:gd name="connsiteX3" fmla="*/ 7144 w 152400"/>
                    <a:gd name="connsiteY3" fmla="*/ 142608 h 190500"/>
                    <a:gd name="connsiteX4" fmla="*/ 103613 w 152400"/>
                    <a:gd name="connsiteY4" fmla="*/ 85735 h 190500"/>
                    <a:gd name="connsiteX5" fmla="*/ 103613 w 152400"/>
                    <a:gd name="connsiteY5" fmla="*/ 57188 h 190500"/>
                    <a:gd name="connsiteX6" fmla="*/ 82182 w 152400"/>
                    <a:gd name="connsiteY6" fmla="*/ 23946 h 190500"/>
                    <a:gd name="connsiteX7" fmla="*/ 59303 w 152400"/>
                    <a:gd name="connsiteY7" fmla="*/ 61817 h 190500"/>
                    <a:gd name="connsiteX8" fmla="*/ 13221 w 152400"/>
                    <a:gd name="connsiteY8" fmla="*/ 61817 h 190500"/>
                    <a:gd name="connsiteX9" fmla="*/ 82505 w 152400"/>
                    <a:gd name="connsiteY9" fmla="*/ 7144 h 190500"/>
                    <a:gd name="connsiteX10" fmla="*/ 146856 w 152400"/>
                    <a:gd name="connsiteY10" fmla="*/ 66104 h 190500"/>
                    <a:gd name="connsiteX11" fmla="*/ 146856 w 152400"/>
                    <a:gd name="connsiteY11" fmla="*/ 181165 h 190500"/>
                    <a:gd name="connsiteX12" fmla="*/ 103613 w 152400"/>
                    <a:gd name="connsiteY12" fmla="*/ 181165 h 190500"/>
                    <a:gd name="connsiteX13" fmla="*/ 103613 w 152400"/>
                    <a:gd name="connsiteY13" fmla="*/ 158667 h 190500"/>
                    <a:gd name="connsiteX14" fmla="*/ 103603 w 152400"/>
                    <a:gd name="connsiteY14" fmla="*/ 102565 h 190500"/>
                    <a:gd name="connsiteX15" fmla="*/ 51788 w 152400"/>
                    <a:gd name="connsiteY15" fmla="*/ 136522 h 190500"/>
                    <a:gd name="connsiteX16" fmla="*/ 71466 w 152400"/>
                    <a:gd name="connsiteY16" fmla="*/ 160458 h 190500"/>
                    <a:gd name="connsiteX17" fmla="*/ 103603 w 152400"/>
                    <a:gd name="connsiteY17" fmla="*/ 115053 h 190500"/>
                    <a:gd name="connsiteX18" fmla="*/ 103603 w 152400"/>
                    <a:gd name="connsiteY18" fmla="*/ 1025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90500">
                      <a:moveTo>
                        <a:pt x="103603" y="158667"/>
                      </a:moveTo>
                      <a:lnTo>
                        <a:pt x="102889" y="158667"/>
                      </a:lnTo>
                      <a:cubicBezTo>
                        <a:pt x="98222" y="166878"/>
                        <a:pt x="81458" y="185080"/>
                        <a:pt x="54655" y="185080"/>
                      </a:cubicBezTo>
                      <a:cubicBezTo>
                        <a:pt x="27851" y="185080"/>
                        <a:pt x="7144" y="167230"/>
                        <a:pt x="7144" y="142608"/>
                      </a:cubicBezTo>
                      <a:cubicBezTo>
                        <a:pt x="7144" y="90049"/>
                        <a:pt x="79305" y="86878"/>
                        <a:pt x="103613" y="85735"/>
                      </a:cubicBezTo>
                      <a:lnTo>
                        <a:pt x="103613" y="57188"/>
                      </a:lnTo>
                      <a:cubicBezTo>
                        <a:pt x="103613" y="32166"/>
                        <a:pt x="96126" y="23946"/>
                        <a:pt x="82182" y="23946"/>
                      </a:cubicBezTo>
                      <a:cubicBezTo>
                        <a:pt x="59665" y="23946"/>
                        <a:pt x="60017" y="50740"/>
                        <a:pt x="59303" y="61817"/>
                      </a:cubicBezTo>
                      <a:lnTo>
                        <a:pt x="13221" y="61817"/>
                      </a:lnTo>
                      <a:cubicBezTo>
                        <a:pt x="13221" y="26118"/>
                        <a:pt x="37147" y="7144"/>
                        <a:pt x="82505" y="7144"/>
                      </a:cubicBezTo>
                      <a:cubicBezTo>
                        <a:pt x="136150" y="7144"/>
                        <a:pt x="146856" y="32176"/>
                        <a:pt x="146856" y="66104"/>
                      </a:cubicBezTo>
                      <a:lnTo>
                        <a:pt x="146856" y="181165"/>
                      </a:lnTo>
                      <a:lnTo>
                        <a:pt x="103613" y="181165"/>
                      </a:lnTo>
                      <a:lnTo>
                        <a:pt x="103613" y="158667"/>
                      </a:lnTo>
                      <a:close/>
                      <a:moveTo>
                        <a:pt x="103603" y="102565"/>
                      </a:moveTo>
                      <a:cubicBezTo>
                        <a:pt x="88963" y="103984"/>
                        <a:pt x="51788" y="108652"/>
                        <a:pt x="51788" y="136522"/>
                      </a:cubicBezTo>
                      <a:cubicBezTo>
                        <a:pt x="51788" y="150819"/>
                        <a:pt x="58941" y="160458"/>
                        <a:pt x="71466" y="160458"/>
                      </a:cubicBezTo>
                      <a:cubicBezTo>
                        <a:pt x="91821" y="160458"/>
                        <a:pt x="103603" y="138989"/>
                        <a:pt x="103603" y="115053"/>
                      </a:cubicBezTo>
                      <a:lnTo>
                        <a:pt x="103603" y="102565"/>
                      </a:lnTo>
                      <a:close/>
                    </a:path>
                  </a:pathLst>
                </a:custGeom>
                <a:solidFill>
                  <a:schemeClr val="bg1"/>
                </a:solidFill>
                <a:ln w="9525" cap="flat">
                  <a:noFill/>
                  <a:prstDash val="solid"/>
                  <a:miter/>
                </a:ln>
              </p:spPr>
              <p:txBody>
                <a:bodyPr rtlCol="0" anchor="ctr"/>
                <a:lstStyle/>
                <a:p>
                  <a:endParaRPr lang="ja-JP" altLang="en-US"/>
                </a:p>
              </p:txBody>
            </p:sp>
            <p:sp>
              <p:nvSpPr>
                <p:cNvPr id="1072" name="フリーフォーム: 図形 24"/>
                <p:cNvSpPr/>
                <p:nvPr/>
              </p:nvSpPr>
              <p:spPr>
                <a:xfrm>
                  <a:off x="1108249" y="5565635"/>
                  <a:ext cx="152400" cy="180975"/>
                </a:xfrm>
                <a:custGeom>
                  <a:avLst/>
                  <a:gdLst>
                    <a:gd name="connsiteX0" fmla="*/ 7144 w 152400"/>
                    <a:gd name="connsiteY0" fmla="*/ 11116 h 180975"/>
                    <a:gd name="connsiteX1" fmla="*/ 50387 w 152400"/>
                    <a:gd name="connsiteY1" fmla="*/ 11116 h 180975"/>
                    <a:gd name="connsiteX2" fmla="*/ 50387 w 152400"/>
                    <a:gd name="connsiteY2" fmla="*/ 49330 h 180975"/>
                    <a:gd name="connsiteX3" fmla="*/ 51092 w 152400"/>
                    <a:gd name="connsiteY3" fmla="*/ 49330 h 180975"/>
                    <a:gd name="connsiteX4" fmla="*/ 106842 w 152400"/>
                    <a:gd name="connsiteY4" fmla="*/ 7144 h 180975"/>
                    <a:gd name="connsiteX5" fmla="*/ 149742 w 152400"/>
                    <a:gd name="connsiteY5" fmla="*/ 63951 h 180975"/>
                    <a:gd name="connsiteX6" fmla="*/ 149742 w 152400"/>
                    <a:gd name="connsiteY6" fmla="*/ 181175 h 180975"/>
                    <a:gd name="connsiteX7" fmla="*/ 106470 w 152400"/>
                    <a:gd name="connsiteY7" fmla="*/ 181175 h 180975"/>
                    <a:gd name="connsiteX8" fmla="*/ 106470 w 152400"/>
                    <a:gd name="connsiteY8" fmla="*/ 75047 h 180975"/>
                    <a:gd name="connsiteX9" fmla="*/ 87925 w 152400"/>
                    <a:gd name="connsiteY9" fmla="*/ 38214 h 180975"/>
                    <a:gd name="connsiteX10" fmla="*/ 50397 w 152400"/>
                    <a:gd name="connsiteY10" fmla="*/ 114376 h 180975"/>
                    <a:gd name="connsiteX11" fmla="*/ 50397 w 152400"/>
                    <a:gd name="connsiteY11" fmla="*/ 181175 h 180975"/>
                    <a:gd name="connsiteX12" fmla="*/ 7153 w 152400"/>
                    <a:gd name="connsiteY12" fmla="*/ 181175 h 180975"/>
                    <a:gd name="connsiteX13" fmla="*/ 7153 w 152400"/>
                    <a:gd name="connsiteY13"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7144" y="11116"/>
                      </a:moveTo>
                      <a:lnTo>
                        <a:pt x="50387" y="11116"/>
                      </a:lnTo>
                      <a:lnTo>
                        <a:pt x="50387" y="49330"/>
                      </a:lnTo>
                      <a:lnTo>
                        <a:pt x="51092" y="49330"/>
                      </a:lnTo>
                      <a:cubicBezTo>
                        <a:pt x="57893" y="35433"/>
                        <a:pt x="71847" y="7144"/>
                        <a:pt x="106842" y="7144"/>
                      </a:cubicBezTo>
                      <a:cubicBezTo>
                        <a:pt x="138655" y="7144"/>
                        <a:pt x="149742" y="27889"/>
                        <a:pt x="149742" y="63951"/>
                      </a:cubicBezTo>
                      <a:lnTo>
                        <a:pt x="149742" y="181175"/>
                      </a:lnTo>
                      <a:lnTo>
                        <a:pt x="106470" y="181175"/>
                      </a:lnTo>
                      <a:lnTo>
                        <a:pt x="106470" y="75047"/>
                      </a:lnTo>
                      <a:cubicBezTo>
                        <a:pt x="106470" y="53940"/>
                        <a:pt x="104708" y="38214"/>
                        <a:pt x="87925" y="38214"/>
                      </a:cubicBezTo>
                      <a:cubicBezTo>
                        <a:pt x="57560" y="38214"/>
                        <a:pt x="50397" y="87182"/>
                        <a:pt x="50397" y="114376"/>
                      </a:cubicBezTo>
                      <a:lnTo>
                        <a:pt x="50397" y="181175"/>
                      </a:lnTo>
                      <a:lnTo>
                        <a:pt x="7153" y="181175"/>
                      </a:lnTo>
                      <a:lnTo>
                        <a:pt x="7153" y="11116"/>
                      </a:lnTo>
                      <a:close/>
                    </a:path>
                  </a:pathLst>
                </a:custGeom>
                <a:solidFill>
                  <a:schemeClr val="bg1"/>
                </a:solidFill>
                <a:ln w="9525" cap="flat">
                  <a:noFill/>
                  <a:prstDash val="solid"/>
                  <a:miter/>
                </a:ln>
              </p:spPr>
              <p:txBody>
                <a:bodyPr rtlCol="0" anchor="ctr"/>
                <a:lstStyle/>
                <a:p>
                  <a:endParaRPr lang="ja-JP" altLang="en-US"/>
                </a:p>
              </p:txBody>
            </p:sp>
            <p:sp>
              <p:nvSpPr>
                <p:cNvPr id="1073" name="フリーフォーム: 図形 25"/>
                <p:cNvSpPr/>
                <p:nvPr/>
              </p:nvSpPr>
              <p:spPr>
                <a:xfrm>
                  <a:off x="1348364" y="5492921"/>
                  <a:ext cx="171450" cy="257175"/>
                </a:xfrm>
                <a:custGeom>
                  <a:avLst/>
                  <a:gdLst>
                    <a:gd name="connsiteX0" fmla="*/ 66475 w 171450"/>
                    <a:gd name="connsiteY0" fmla="*/ 35585 h 257175"/>
                    <a:gd name="connsiteX1" fmla="*/ 7144 w 171450"/>
                    <a:gd name="connsiteY1" fmla="*/ 35585 h 257175"/>
                    <a:gd name="connsiteX2" fmla="*/ 7144 w 171450"/>
                    <a:gd name="connsiteY2" fmla="*/ 7144 h 257175"/>
                    <a:gd name="connsiteX3" fmla="*/ 172603 w 171450"/>
                    <a:gd name="connsiteY3" fmla="*/ 7144 h 257175"/>
                    <a:gd name="connsiteX4" fmla="*/ 172603 w 171450"/>
                    <a:gd name="connsiteY4" fmla="*/ 35585 h 257175"/>
                    <a:gd name="connsiteX5" fmla="*/ 113271 w 171450"/>
                    <a:gd name="connsiteY5" fmla="*/ 35585 h 257175"/>
                    <a:gd name="connsiteX6" fmla="*/ 113271 w 171450"/>
                    <a:gd name="connsiteY6" fmla="*/ 253889 h 257175"/>
                    <a:gd name="connsiteX7" fmla="*/ 66465 w 171450"/>
                    <a:gd name="connsiteY7" fmla="*/ 253889 h 257175"/>
                    <a:gd name="connsiteX8" fmla="*/ 66465 w 171450"/>
                    <a:gd name="connsiteY8" fmla="*/ 3558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57175">
                      <a:moveTo>
                        <a:pt x="66475" y="35585"/>
                      </a:moveTo>
                      <a:lnTo>
                        <a:pt x="7144" y="35585"/>
                      </a:lnTo>
                      <a:lnTo>
                        <a:pt x="7144" y="7144"/>
                      </a:lnTo>
                      <a:lnTo>
                        <a:pt x="172603" y="7144"/>
                      </a:lnTo>
                      <a:lnTo>
                        <a:pt x="172603" y="35585"/>
                      </a:lnTo>
                      <a:lnTo>
                        <a:pt x="113271" y="35585"/>
                      </a:lnTo>
                      <a:lnTo>
                        <a:pt x="113271" y="253889"/>
                      </a:lnTo>
                      <a:lnTo>
                        <a:pt x="66465" y="253889"/>
                      </a:lnTo>
                      <a:lnTo>
                        <a:pt x="66465" y="35585"/>
                      </a:lnTo>
                      <a:close/>
                    </a:path>
                  </a:pathLst>
                </a:custGeom>
                <a:solidFill>
                  <a:schemeClr val="bg1"/>
                </a:solidFill>
                <a:ln w="9525" cap="flat">
                  <a:noFill/>
                  <a:prstDash val="solid"/>
                  <a:miter/>
                </a:ln>
              </p:spPr>
              <p:txBody>
                <a:bodyPr rtlCol="0" anchor="ctr"/>
                <a:lstStyle/>
                <a:p>
                  <a:endParaRPr lang="ja-JP" altLang="en-US"/>
                </a:p>
              </p:txBody>
            </p:sp>
            <p:sp>
              <p:nvSpPr>
                <p:cNvPr id="1074" name="フリーフォーム: 図形 26"/>
                <p:cNvSpPr/>
                <p:nvPr/>
              </p:nvSpPr>
              <p:spPr>
                <a:xfrm>
                  <a:off x="1517833" y="5565635"/>
                  <a:ext cx="161925" cy="190500"/>
                </a:xfrm>
                <a:custGeom>
                  <a:avLst/>
                  <a:gdLst>
                    <a:gd name="connsiteX0" fmla="*/ 7144 w 161925"/>
                    <a:gd name="connsiteY0" fmla="*/ 96155 h 190500"/>
                    <a:gd name="connsiteX1" fmla="*/ 85753 w 161925"/>
                    <a:gd name="connsiteY1" fmla="*/ 7144 h 190500"/>
                    <a:gd name="connsiteX2" fmla="*/ 164020 w 161925"/>
                    <a:gd name="connsiteY2" fmla="*/ 96155 h 190500"/>
                    <a:gd name="connsiteX3" fmla="*/ 85753 w 161925"/>
                    <a:gd name="connsiteY3" fmla="*/ 185090 h 190500"/>
                    <a:gd name="connsiteX4" fmla="*/ 7144 w 161925"/>
                    <a:gd name="connsiteY4" fmla="*/ 96155 h 190500"/>
                    <a:gd name="connsiteX5" fmla="*/ 85753 w 161925"/>
                    <a:gd name="connsiteY5" fmla="*/ 168326 h 190500"/>
                    <a:gd name="connsiteX6" fmla="*/ 117205 w 161925"/>
                    <a:gd name="connsiteY6" fmla="*/ 96155 h 190500"/>
                    <a:gd name="connsiteX7" fmla="*/ 85753 w 161925"/>
                    <a:gd name="connsiteY7" fmla="*/ 23955 h 190500"/>
                    <a:gd name="connsiteX8" fmla="*/ 53940 w 161925"/>
                    <a:gd name="connsiteY8" fmla="*/ 96155 h 190500"/>
                    <a:gd name="connsiteX9" fmla="*/ 85753 w 161925"/>
                    <a:gd name="connsiteY9" fmla="*/ 16832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90500">
                      <a:moveTo>
                        <a:pt x="7144" y="96155"/>
                      </a:moveTo>
                      <a:cubicBezTo>
                        <a:pt x="7144" y="31451"/>
                        <a:pt x="37547" y="7144"/>
                        <a:pt x="85753" y="7144"/>
                      </a:cubicBezTo>
                      <a:cubicBezTo>
                        <a:pt x="133988" y="7144"/>
                        <a:pt x="164020" y="31451"/>
                        <a:pt x="164020" y="96155"/>
                      </a:cubicBezTo>
                      <a:cubicBezTo>
                        <a:pt x="164020" y="160810"/>
                        <a:pt x="133998" y="185090"/>
                        <a:pt x="85753" y="185090"/>
                      </a:cubicBezTo>
                      <a:cubicBezTo>
                        <a:pt x="37547" y="185090"/>
                        <a:pt x="7144" y="160810"/>
                        <a:pt x="7144" y="96155"/>
                      </a:cubicBezTo>
                      <a:close/>
                      <a:moveTo>
                        <a:pt x="85753" y="168326"/>
                      </a:moveTo>
                      <a:cubicBezTo>
                        <a:pt x="115424" y="168326"/>
                        <a:pt x="117205" y="133674"/>
                        <a:pt x="117205" y="96155"/>
                      </a:cubicBezTo>
                      <a:cubicBezTo>
                        <a:pt x="117205" y="58598"/>
                        <a:pt x="115424" y="23955"/>
                        <a:pt x="85753" y="23955"/>
                      </a:cubicBezTo>
                      <a:cubicBezTo>
                        <a:pt x="56454" y="23955"/>
                        <a:pt x="53940" y="58598"/>
                        <a:pt x="53940" y="96155"/>
                      </a:cubicBezTo>
                      <a:cubicBezTo>
                        <a:pt x="53940" y="133674"/>
                        <a:pt x="56445" y="168326"/>
                        <a:pt x="85753" y="168326"/>
                      </a:cubicBezTo>
                      <a:close/>
                    </a:path>
                  </a:pathLst>
                </a:custGeom>
                <a:solidFill>
                  <a:schemeClr val="bg1"/>
                </a:solidFill>
                <a:ln w="9525" cap="flat">
                  <a:noFill/>
                  <a:prstDash val="solid"/>
                  <a:miter/>
                </a:ln>
              </p:spPr>
              <p:txBody>
                <a:bodyPr rtlCol="0" anchor="ctr"/>
                <a:lstStyle/>
                <a:p>
                  <a:endParaRPr lang="ja-JP" altLang="en-US"/>
                </a:p>
              </p:txBody>
            </p:sp>
            <p:sp>
              <p:nvSpPr>
                <p:cNvPr id="1075" name="フリーフォーム: 図形 27"/>
                <p:cNvSpPr/>
                <p:nvPr/>
              </p:nvSpPr>
              <p:spPr>
                <a:xfrm>
                  <a:off x="1708276" y="5569606"/>
                  <a:ext cx="152400" cy="180975"/>
                </a:xfrm>
                <a:custGeom>
                  <a:avLst/>
                  <a:gdLst>
                    <a:gd name="connsiteX0" fmla="*/ 106509 w 152400"/>
                    <a:gd name="connsiteY0" fmla="*/ 138989 h 180975"/>
                    <a:gd name="connsiteX1" fmla="*/ 105775 w 152400"/>
                    <a:gd name="connsiteY1" fmla="*/ 138989 h 180975"/>
                    <a:gd name="connsiteX2" fmla="*/ 53607 w 152400"/>
                    <a:gd name="connsiteY2" fmla="*/ 181118 h 180975"/>
                    <a:gd name="connsiteX3" fmla="*/ 7144 w 152400"/>
                    <a:gd name="connsiteY3" fmla="*/ 124301 h 180975"/>
                    <a:gd name="connsiteX4" fmla="*/ 7144 w 152400"/>
                    <a:gd name="connsiteY4" fmla="*/ 7144 h 180975"/>
                    <a:gd name="connsiteX5" fmla="*/ 50406 w 152400"/>
                    <a:gd name="connsiteY5" fmla="*/ 7144 h 180975"/>
                    <a:gd name="connsiteX6" fmla="*/ 50406 w 152400"/>
                    <a:gd name="connsiteY6" fmla="*/ 113252 h 180975"/>
                    <a:gd name="connsiteX7" fmla="*/ 72180 w 152400"/>
                    <a:gd name="connsiteY7" fmla="*/ 150038 h 180975"/>
                    <a:gd name="connsiteX8" fmla="*/ 106509 w 152400"/>
                    <a:gd name="connsiteY8" fmla="*/ 73933 h 180975"/>
                    <a:gd name="connsiteX9" fmla="*/ 106509 w 152400"/>
                    <a:gd name="connsiteY9" fmla="*/ 7144 h 180975"/>
                    <a:gd name="connsiteX10" fmla="*/ 149733 w 152400"/>
                    <a:gd name="connsiteY10" fmla="*/ 7144 h 180975"/>
                    <a:gd name="connsiteX11" fmla="*/ 149733 w 152400"/>
                    <a:gd name="connsiteY11" fmla="*/ 177203 h 180975"/>
                    <a:gd name="connsiteX12" fmla="*/ 106509 w 152400"/>
                    <a:gd name="connsiteY12" fmla="*/ 177203 h 180975"/>
                    <a:gd name="connsiteX13" fmla="*/ 106509 w 152400"/>
                    <a:gd name="connsiteY13" fmla="*/ 13898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106509" y="138989"/>
                      </a:moveTo>
                      <a:lnTo>
                        <a:pt x="105775" y="138989"/>
                      </a:lnTo>
                      <a:cubicBezTo>
                        <a:pt x="99336" y="152876"/>
                        <a:pt x="86125" y="181118"/>
                        <a:pt x="53607" y="181118"/>
                      </a:cubicBezTo>
                      <a:cubicBezTo>
                        <a:pt x="20746" y="181118"/>
                        <a:pt x="7144" y="160420"/>
                        <a:pt x="7144" y="124301"/>
                      </a:cubicBezTo>
                      <a:lnTo>
                        <a:pt x="7144" y="7144"/>
                      </a:lnTo>
                      <a:lnTo>
                        <a:pt x="50406" y="7144"/>
                      </a:lnTo>
                      <a:lnTo>
                        <a:pt x="50406" y="113252"/>
                      </a:lnTo>
                      <a:cubicBezTo>
                        <a:pt x="50406" y="134340"/>
                        <a:pt x="56102" y="150038"/>
                        <a:pt x="72180" y="150038"/>
                      </a:cubicBezTo>
                      <a:cubicBezTo>
                        <a:pt x="100070" y="150038"/>
                        <a:pt x="106509" y="101060"/>
                        <a:pt x="106509" y="73933"/>
                      </a:cubicBezTo>
                      <a:lnTo>
                        <a:pt x="106509" y="7144"/>
                      </a:lnTo>
                      <a:lnTo>
                        <a:pt x="149733" y="7144"/>
                      </a:lnTo>
                      <a:lnTo>
                        <a:pt x="149733" y="177203"/>
                      </a:lnTo>
                      <a:lnTo>
                        <a:pt x="106509" y="177203"/>
                      </a:lnTo>
                      <a:lnTo>
                        <a:pt x="106509" y="138989"/>
                      </a:lnTo>
                      <a:close/>
                    </a:path>
                  </a:pathLst>
                </a:custGeom>
                <a:solidFill>
                  <a:schemeClr val="bg1"/>
                </a:solidFill>
                <a:ln w="9525" cap="flat">
                  <a:noFill/>
                  <a:prstDash val="solid"/>
                  <a:miter/>
                </a:ln>
              </p:spPr>
              <p:txBody>
                <a:bodyPr rtlCol="0" anchor="ctr"/>
                <a:lstStyle/>
                <a:p>
                  <a:endParaRPr lang="ja-JP" altLang="en-US"/>
                </a:p>
              </p:txBody>
            </p:sp>
            <p:sp>
              <p:nvSpPr>
                <p:cNvPr id="1076" name="フリーフォーム: 図形 28"/>
                <p:cNvSpPr/>
                <p:nvPr/>
              </p:nvSpPr>
              <p:spPr>
                <a:xfrm>
                  <a:off x="1898376" y="5565635"/>
                  <a:ext cx="114300" cy="180975"/>
                </a:xfrm>
                <a:custGeom>
                  <a:avLst/>
                  <a:gdLst>
                    <a:gd name="connsiteX0" fmla="*/ 7144 w 114300"/>
                    <a:gd name="connsiteY0" fmla="*/ 11116 h 180975"/>
                    <a:gd name="connsiteX1" fmla="*/ 50378 w 114300"/>
                    <a:gd name="connsiteY1" fmla="*/ 11116 h 180975"/>
                    <a:gd name="connsiteX2" fmla="*/ 50378 w 114300"/>
                    <a:gd name="connsiteY2" fmla="*/ 53654 h 180975"/>
                    <a:gd name="connsiteX3" fmla="*/ 51121 w 114300"/>
                    <a:gd name="connsiteY3" fmla="*/ 53654 h 180975"/>
                    <a:gd name="connsiteX4" fmla="*/ 108623 w 114300"/>
                    <a:gd name="connsiteY4" fmla="*/ 7144 h 180975"/>
                    <a:gd name="connsiteX5" fmla="*/ 108623 w 114300"/>
                    <a:gd name="connsiteY5" fmla="*/ 51854 h 180975"/>
                    <a:gd name="connsiteX6" fmla="*/ 50378 w 114300"/>
                    <a:gd name="connsiteY6" fmla="*/ 105032 h 180975"/>
                    <a:gd name="connsiteX7" fmla="*/ 50378 w 114300"/>
                    <a:gd name="connsiteY7" fmla="*/ 181166 h 180975"/>
                    <a:gd name="connsiteX8" fmla="*/ 7144 w 114300"/>
                    <a:gd name="connsiteY8" fmla="*/ 181166 h 180975"/>
                    <a:gd name="connsiteX9" fmla="*/ 7144 w 114300"/>
                    <a:gd name="connsiteY9"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80975">
                      <a:moveTo>
                        <a:pt x="7144" y="11116"/>
                      </a:moveTo>
                      <a:lnTo>
                        <a:pt x="50378" y="11116"/>
                      </a:lnTo>
                      <a:lnTo>
                        <a:pt x="50378" y="53654"/>
                      </a:lnTo>
                      <a:lnTo>
                        <a:pt x="51121" y="53654"/>
                      </a:lnTo>
                      <a:cubicBezTo>
                        <a:pt x="62912" y="31451"/>
                        <a:pt x="76457" y="9306"/>
                        <a:pt x="108623" y="7144"/>
                      </a:cubicBezTo>
                      <a:lnTo>
                        <a:pt x="108623" y="51854"/>
                      </a:lnTo>
                      <a:cubicBezTo>
                        <a:pt x="65427" y="51854"/>
                        <a:pt x="50378" y="67170"/>
                        <a:pt x="50378" y="105032"/>
                      </a:cubicBezTo>
                      <a:lnTo>
                        <a:pt x="50378" y="181166"/>
                      </a:lnTo>
                      <a:lnTo>
                        <a:pt x="7144" y="181166"/>
                      </a:lnTo>
                      <a:lnTo>
                        <a:pt x="7144" y="11116"/>
                      </a:lnTo>
                      <a:close/>
                    </a:path>
                  </a:pathLst>
                </a:custGeom>
                <a:solidFill>
                  <a:schemeClr val="bg1"/>
                </a:solidFill>
                <a:ln w="9525" cap="flat">
                  <a:noFill/>
                  <a:prstDash val="solid"/>
                  <a:miter/>
                </a:ln>
              </p:spPr>
              <p:txBody>
                <a:bodyPr rtlCol="0" anchor="ctr"/>
                <a:lstStyle/>
                <a:p>
                  <a:endParaRPr lang="ja-JP" altLang="en-US"/>
                </a:p>
              </p:txBody>
            </p:sp>
            <p:sp>
              <p:nvSpPr>
                <p:cNvPr id="1077" name="フリーフォーム: 図形 29"/>
                <p:cNvSpPr/>
                <p:nvPr/>
              </p:nvSpPr>
              <p:spPr>
                <a:xfrm>
                  <a:off x="2027763" y="5492911"/>
                  <a:ext cx="57150" cy="257175"/>
                </a:xfrm>
                <a:custGeom>
                  <a:avLst/>
                  <a:gdLst>
                    <a:gd name="connsiteX0" fmla="*/ 7144 w 57150"/>
                    <a:gd name="connsiteY0" fmla="*/ 7144 h 257175"/>
                    <a:gd name="connsiteX1" fmla="*/ 50378 w 57150"/>
                    <a:gd name="connsiteY1" fmla="*/ 7144 h 257175"/>
                    <a:gd name="connsiteX2" fmla="*/ 50378 w 57150"/>
                    <a:gd name="connsiteY2" fmla="*/ 46653 h 257175"/>
                    <a:gd name="connsiteX3" fmla="*/ 7144 w 57150"/>
                    <a:gd name="connsiteY3" fmla="*/ 46653 h 257175"/>
                    <a:gd name="connsiteX4" fmla="*/ 7144 w 57150"/>
                    <a:gd name="connsiteY4" fmla="*/ 7144 h 257175"/>
                    <a:gd name="connsiteX5" fmla="*/ 7144 w 57150"/>
                    <a:gd name="connsiteY5" fmla="*/ 83839 h 257175"/>
                    <a:gd name="connsiteX6" fmla="*/ 50378 w 57150"/>
                    <a:gd name="connsiteY6" fmla="*/ 83839 h 257175"/>
                    <a:gd name="connsiteX7" fmla="*/ 50378 w 57150"/>
                    <a:gd name="connsiteY7" fmla="*/ 253898 h 257175"/>
                    <a:gd name="connsiteX8" fmla="*/ 7144 w 57150"/>
                    <a:gd name="connsiteY8" fmla="*/ 253898 h 257175"/>
                    <a:gd name="connsiteX9" fmla="*/ 7144 w 57150"/>
                    <a:gd name="connsiteY9" fmla="*/ 83839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257175">
                      <a:moveTo>
                        <a:pt x="7144" y="7144"/>
                      </a:moveTo>
                      <a:lnTo>
                        <a:pt x="50378" y="7144"/>
                      </a:lnTo>
                      <a:lnTo>
                        <a:pt x="50378" y="46653"/>
                      </a:lnTo>
                      <a:lnTo>
                        <a:pt x="7144" y="46653"/>
                      </a:lnTo>
                      <a:lnTo>
                        <a:pt x="7144" y="7144"/>
                      </a:lnTo>
                      <a:close/>
                      <a:moveTo>
                        <a:pt x="7144" y="83839"/>
                      </a:moveTo>
                      <a:lnTo>
                        <a:pt x="50378" y="83839"/>
                      </a:lnTo>
                      <a:lnTo>
                        <a:pt x="50378" y="253898"/>
                      </a:lnTo>
                      <a:lnTo>
                        <a:pt x="7144" y="253898"/>
                      </a:lnTo>
                      <a:lnTo>
                        <a:pt x="7144" y="83839"/>
                      </a:lnTo>
                      <a:close/>
                    </a:path>
                  </a:pathLst>
                </a:custGeom>
                <a:solidFill>
                  <a:schemeClr val="bg1"/>
                </a:solidFill>
                <a:ln w="9525" cap="flat">
                  <a:noFill/>
                  <a:prstDash val="solid"/>
                  <a:miter/>
                </a:ln>
              </p:spPr>
              <p:txBody>
                <a:bodyPr rtlCol="0" anchor="ctr"/>
                <a:lstStyle/>
                <a:p>
                  <a:endParaRPr lang="ja-JP" altLang="en-US"/>
                </a:p>
              </p:txBody>
            </p:sp>
            <p:sp>
              <p:nvSpPr>
                <p:cNvPr id="1078" name="フリーフォーム: 図形 30"/>
                <p:cNvSpPr/>
                <p:nvPr/>
              </p:nvSpPr>
              <p:spPr>
                <a:xfrm>
                  <a:off x="2104583" y="5565654"/>
                  <a:ext cx="123825" cy="190500"/>
                </a:xfrm>
                <a:custGeom>
                  <a:avLst/>
                  <a:gdLst>
                    <a:gd name="connsiteX0" fmla="*/ 107556 w 123825"/>
                    <a:gd name="connsiteY0" fmla="*/ 48968 h 190500"/>
                    <a:gd name="connsiteX1" fmla="*/ 66084 w 123825"/>
                    <a:gd name="connsiteY1" fmla="*/ 29299 h 190500"/>
                    <a:gd name="connsiteX2" fmla="*/ 45053 w 123825"/>
                    <a:gd name="connsiteY2" fmla="*/ 45348 h 190500"/>
                    <a:gd name="connsiteX3" fmla="*/ 93240 w 123825"/>
                    <a:gd name="connsiteY3" fmla="*/ 88249 h 190500"/>
                    <a:gd name="connsiteX4" fmla="*/ 118634 w 123825"/>
                    <a:gd name="connsiteY4" fmla="*/ 134026 h 190500"/>
                    <a:gd name="connsiteX5" fmla="*/ 53254 w 123825"/>
                    <a:gd name="connsiteY5" fmla="*/ 185090 h 190500"/>
                    <a:gd name="connsiteX6" fmla="*/ 8572 w 123825"/>
                    <a:gd name="connsiteY6" fmla="*/ 178298 h 190500"/>
                    <a:gd name="connsiteX7" fmla="*/ 8572 w 123825"/>
                    <a:gd name="connsiteY7" fmla="*/ 139694 h 190500"/>
                    <a:gd name="connsiteX8" fmla="*/ 53978 w 123825"/>
                    <a:gd name="connsiteY8" fmla="*/ 160468 h 190500"/>
                    <a:gd name="connsiteX9" fmla="*/ 79324 w 123825"/>
                    <a:gd name="connsiteY9" fmla="*/ 143313 h 190500"/>
                    <a:gd name="connsiteX10" fmla="*/ 30356 w 123825"/>
                    <a:gd name="connsiteY10" fmla="*/ 99346 h 190500"/>
                    <a:gd name="connsiteX11" fmla="*/ 7144 w 123825"/>
                    <a:gd name="connsiteY11" fmla="*/ 57531 h 190500"/>
                    <a:gd name="connsiteX12" fmla="*/ 67847 w 123825"/>
                    <a:gd name="connsiteY12" fmla="*/ 7144 h 190500"/>
                    <a:gd name="connsiteX13" fmla="*/ 107556 w 123825"/>
                    <a:gd name="connsiteY13" fmla="*/ 13611 h 190500"/>
                    <a:gd name="connsiteX14" fmla="*/ 107556 w 123825"/>
                    <a:gd name="connsiteY14" fmla="*/ 4896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825" h="190500">
                      <a:moveTo>
                        <a:pt x="107556" y="48968"/>
                      </a:moveTo>
                      <a:cubicBezTo>
                        <a:pt x="97546" y="40396"/>
                        <a:pt x="83248" y="29299"/>
                        <a:pt x="66084" y="29299"/>
                      </a:cubicBezTo>
                      <a:cubicBezTo>
                        <a:pt x="57131" y="29299"/>
                        <a:pt x="45053" y="33547"/>
                        <a:pt x="45053" y="45348"/>
                      </a:cubicBezTo>
                      <a:cubicBezTo>
                        <a:pt x="45053" y="61817"/>
                        <a:pt x="76438" y="73981"/>
                        <a:pt x="93240" y="88249"/>
                      </a:cubicBezTo>
                      <a:cubicBezTo>
                        <a:pt x="111833" y="103679"/>
                        <a:pt x="118634" y="114367"/>
                        <a:pt x="118634" y="134026"/>
                      </a:cubicBezTo>
                      <a:cubicBezTo>
                        <a:pt x="118634" y="171174"/>
                        <a:pt x="88297" y="185090"/>
                        <a:pt x="53254" y="185090"/>
                      </a:cubicBezTo>
                      <a:cubicBezTo>
                        <a:pt x="32499" y="185090"/>
                        <a:pt x="16069" y="180451"/>
                        <a:pt x="8572" y="178298"/>
                      </a:cubicBezTo>
                      <a:lnTo>
                        <a:pt x="8572" y="139694"/>
                      </a:lnTo>
                      <a:cubicBezTo>
                        <a:pt x="16459" y="146504"/>
                        <a:pt x="33642" y="160468"/>
                        <a:pt x="53978" y="160468"/>
                      </a:cubicBezTo>
                      <a:cubicBezTo>
                        <a:pt x="69647" y="160468"/>
                        <a:pt x="79324" y="153686"/>
                        <a:pt x="79324" y="143313"/>
                      </a:cubicBezTo>
                      <a:cubicBezTo>
                        <a:pt x="79324" y="126168"/>
                        <a:pt x="47501" y="113614"/>
                        <a:pt x="30356" y="99346"/>
                      </a:cubicBezTo>
                      <a:cubicBezTo>
                        <a:pt x="11725" y="83591"/>
                        <a:pt x="7144" y="73990"/>
                        <a:pt x="7144" y="57531"/>
                      </a:cubicBezTo>
                      <a:cubicBezTo>
                        <a:pt x="7144" y="31804"/>
                        <a:pt x="24632" y="7144"/>
                        <a:pt x="67847" y="7144"/>
                      </a:cubicBezTo>
                      <a:cubicBezTo>
                        <a:pt x="86449" y="7144"/>
                        <a:pt x="101479" y="12173"/>
                        <a:pt x="107556" y="13611"/>
                      </a:cubicBezTo>
                      <a:lnTo>
                        <a:pt x="107556" y="48968"/>
                      </a:lnTo>
                      <a:close/>
                    </a:path>
                  </a:pathLst>
                </a:custGeom>
                <a:solidFill>
                  <a:schemeClr val="bg1"/>
                </a:solidFill>
                <a:ln w="9525" cap="flat">
                  <a:noFill/>
                  <a:prstDash val="solid"/>
                  <a:miter/>
                </a:ln>
              </p:spPr>
              <p:txBody>
                <a:bodyPr rtlCol="0" anchor="ctr"/>
                <a:lstStyle/>
                <a:p>
                  <a:endParaRPr lang="ja-JP" altLang="en-US"/>
                </a:p>
              </p:txBody>
            </p:sp>
            <p:sp>
              <p:nvSpPr>
                <p:cNvPr id="1079" name="フリーフォーム: 図形 31"/>
                <p:cNvSpPr/>
                <p:nvPr/>
              </p:nvSpPr>
              <p:spPr>
                <a:xfrm>
                  <a:off x="2245724" y="5565635"/>
                  <a:ext cx="238125" cy="180975"/>
                </a:xfrm>
                <a:custGeom>
                  <a:avLst/>
                  <a:gdLst>
                    <a:gd name="connsiteX0" fmla="*/ 7144 w 238125"/>
                    <a:gd name="connsiteY0" fmla="*/ 11116 h 180975"/>
                    <a:gd name="connsiteX1" fmla="*/ 50387 w 238125"/>
                    <a:gd name="connsiteY1" fmla="*/ 11116 h 180975"/>
                    <a:gd name="connsiteX2" fmla="*/ 50387 w 238125"/>
                    <a:gd name="connsiteY2" fmla="*/ 49330 h 180975"/>
                    <a:gd name="connsiteX3" fmla="*/ 51111 w 238125"/>
                    <a:gd name="connsiteY3" fmla="*/ 49330 h 180975"/>
                    <a:gd name="connsiteX4" fmla="*/ 99956 w 238125"/>
                    <a:gd name="connsiteY4" fmla="*/ 7144 h 180975"/>
                    <a:gd name="connsiteX5" fmla="*/ 142894 w 238125"/>
                    <a:gd name="connsiteY5" fmla="*/ 47501 h 180975"/>
                    <a:gd name="connsiteX6" fmla="*/ 143637 w 238125"/>
                    <a:gd name="connsiteY6" fmla="*/ 47501 h 180975"/>
                    <a:gd name="connsiteX7" fmla="*/ 192881 w 238125"/>
                    <a:gd name="connsiteY7" fmla="*/ 7144 h 180975"/>
                    <a:gd name="connsiteX8" fmla="*/ 236153 w 238125"/>
                    <a:gd name="connsiteY8" fmla="*/ 67523 h 180975"/>
                    <a:gd name="connsiteX9" fmla="*/ 236153 w 238125"/>
                    <a:gd name="connsiteY9" fmla="*/ 181175 h 180975"/>
                    <a:gd name="connsiteX10" fmla="*/ 192881 w 238125"/>
                    <a:gd name="connsiteY10" fmla="*/ 181175 h 180975"/>
                    <a:gd name="connsiteX11" fmla="*/ 192881 w 238125"/>
                    <a:gd name="connsiteY11" fmla="*/ 70771 h 180975"/>
                    <a:gd name="connsiteX12" fmla="*/ 174688 w 238125"/>
                    <a:gd name="connsiteY12" fmla="*/ 38214 h 180975"/>
                    <a:gd name="connsiteX13" fmla="*/ 143285 w 238125"/>
                    <a:gd name="connsiteY13" fmla="*/ 104699 h 180975"/>
                    <a:gd name="connsiteX14" fmla="*/ 143285 w 238125"/>
                    <a:gd name="connsiteY14" fmla="*/ 181166 h 180975"/>
                    <a:gd name="connsiteX15" fmla="*/ 99956 w 238125"/>
                    <a:gd name="connsiteY15" fmla="*/ 181166 h 180975"/>
                    <a:gd name="connsiteX16" fmla="*/ 99956 w 238125"/>
                    <a:gd name="connsiteY16" fmla="*/ 75038 h 180975"/>
                    <a:gd name="connsiteX17" fmla="*/ 81467 w 238125"/>
                    <a:gd name="connsiteY17" fmla="*/ 38205 h 180975"/>
                    <a:gd name="connsiteX18" fmla="*/ 50387 w 238125"/>
                    <a:gd name="connsiteY18" fmla="*/ 114367 h 180975"/>
                    <a:gd name="connsiteX19" fmla="*/ 50387 w 238125"/>
                    <a:gd name="connsiteY19" fmla="*/ 181166 h 180975"/>
                    <a:gd name="connsiteX20" fmla="*/ 7144 w 238125"/>
                    <a:gd name="connsiteY20" fmla="*/ 181166 h 180975"/>
                    <a:gd name="connsiteX21" fmla="*/ 7144 w 238125"/>
                    <a:gd name="connsiteY21"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180975">
                      <a:moveTo>
                        <a:pt x="7144" y="11116"/>
                      </a:moveTo>
                      <a:lnTo>
                        <a:pt x="50387" y="11116"/>
                      </a:lnTo>
                      <a:lnTo>
                        <a:pt x="50387" y="49330"/>
                      </a:lnTo>
                      <a:lnTo>
                        <a:pt x="51111" y="49330"/>
                      </a:lnTo>
                      <a:cubicBezTo>
                        <a:pt x="55683" y="34300"/>
                        <a:pt x="69713" y="7144"/>
                        <a:pt x="99956" y="7144"/>
                      </a:cubicBezTo>
                      <a:cubicBezTo>
                        <a:pt x="131845" y="7144"/>
                        <a:pt x="140846" y="32518"/>
                        <a:pt x="142894" y="47501"/>
                      </a:cubicBezTo>
                      <a:lnTo>
                        <a:pt x="143637" y="47501"/>
                      </a:lnTo>
                      <a:cubicBezTo>
                        <a:pt x="150076" y="34290"/>
                        <a:pt x="160754" y="7144"/>
                        <a:pt x="192881" y="7144"/>
                      </a:cubicBezTo>
                      <a:cubicBezTo>
                        <a:pt x="229324" y="7144"/>
                        <a:pt x="236153" y="38576"/>
                        <a:pt x="236153" y="67523"/>
                      </a:cubicBezTo>
                      <a:lnTo>
                        <a:pt x="236153" y="181175"/>
                      </a:lnTo>
                      <a:lnTo>
                        <a:pt x="192881" y="181175"/>
                      </a:lnTo>
                      <a:lnTo>
                        <a:pt x="192881" y="70771"/>
                      </a:lnTo>
                      <a:cubicBezTo>
                        <a:pt x="192881" y="57921"/>
                        <a:pt x="190795" y="38214"/>
                        <a:pt x="174688" y="38214"/>
                      </a:cubicBezTo>
                      <a:cubicBezTo>
                        <a:pt x="145390" y="38214"/>
                        <a:pt x="143285" y="89354"/>
                        <a:pt x="143285" y="104699"/>
                      </a:cubicBezTo>
                      <a:lnTo>
                        <a:pt x="143285" y="181166"/>
                      </a:lnTo>
                      <a:lnTo>
                        <a:pt x="99956" y="181166"/>
                      </a:lnTo>
                      <a:lnTo>
                        <a:pt x="99956" y="75038"/>
                      </a:lnTo>
                      <a:cubicBezTo>
                        <a:pt x="99956" y="53931"/>
                        <a:pt x="98279" y="38205"/>
                        <a:pt x="81467" y="38205"/>
                      </a:cubicBezTo>
                      <a:cubicBezTo>
                        <a:pt x="50730" y="38205"/>
                        <a:pt x="50387" y="96812"/>
                        <a:pt x="50387" y="114367"/>
                      </a:cubicBezTo>
                      <a:lnTo>
                        <a:pt x="50387" y="181166"/>
                      </a:lnTo>
                      <a:lnTo>
                        <a:pt x="7144" y="181166"/>
                      </a:lnTo>
                      <a:lnTo>
                        <a:pt x="7144" y="11116"/>
                      </a:lnTo>
                      <a:close/>
                    </a:path>
                  </a:pathLst>
                </a:custGeom>
                <a:solidFill>
                  <a:schemeClr val="bg1"/>
                </a:solidFill>
                <a:ln w="9525" cap="flat">
                  <a:noFill/>
                  <a:prstDash val="solid"/>
                  <a:miter/>
                </a:ln>
              </p:spPr>
              <p:txBody>
                <a:bodyPr rtlCol="0" anchor="ctr"/>
                <a:lstStyle/>
                <a:p>
                  <a:endParaRPr lang="ja-JP" altLang="en-US"/>
                </a:p>
              </p:txBody>
            </p:sp>
            <p:sp>
              <p:nvSpPr>
                <p:cNvPr id="1080" name="フリーフォーム: 図形 32"/>
                <p:cNvSpPr/>
                <p:nvPr/>
              </p:nvSpPr>
              <p:spPr>
                <a:xfrm>
                  <a:off x="2571898" y="5492911"/>
                  <a:ext cx="228600" cy="257175"/>
                </a:xfrm>
                <a:custGeom>
                  <a:avLst/>
                  <a:gdLst>
                    <a:gd name="connsiteX0" fmla="*/ 92212 w 228600"/>
                    <a:gd name="connsiteY0" fmla="*/ 7144 h 257175"/>
                    <a:gd name="connsiteX1" fmla="*/ 140113 w 228600"/>
                    <a:gd name="connsiteY1" fmla="*/ 7144 h 257175"/>
                    <a:gd name="connsiteX2" fmla="*/ 225857 w 228600"/>
                    <a:gd name="connsiteY2" fmla="*/ 253889 h 257175"/>
                    <a:gd name="connsiteX3" fmla="*/ 176203 w 228600"/>
                    <a:gd name="connsiteY3" fmla="*/ 253889 h 257175"/>
                    <a:gd name="connsiteX4" fmla="*/ 154752 w 228600"/>
                    <a:gd name="connsiteY4" fmla="*/ 183842 h 257175"/>
                    <a:gd name="connsiteX5" fmla="*/ 70809 w 228600"/>
                    <a:gd name="connsiteY5" fmla="*/ 183842 h 257175"/>
                    <a:gd name="connsiteX6" fmla="*/ 48616 w 228600"/>
                    <a:gd name="connsiteY6" fmla="*/ 253889 h 257175"/>
                    <a:gd name="connsiteX7" fmla="*/ 7144 w 228600"/>
                    <a:gd name="connsiteY7" fmla="*/ 253889 h 257175"/>
                    <a:gd name="connsiteX8" fmla="*/ 92212 w 228600"/>
                    <a:gd name="connsiteY8" fmla="*/ 7144 h 257175"/>
                    <a:gd name="connsiteX9" fmla="*/ 79010 w 228600"/>
                    <a:gd name="connsiteY9" fmla="*/ 157734 h 257175"/>
                    <a:gd name="connsiteX10" fmla="*/ 146952 w 228600"/>
                    <a:gd name="connsiteY10" fmla="*/ 157734 h 257175"/>
                    <a:gd name="connsiteX11" fmla="*/ 113690 w 228600"/>
                    <a:gd name="connsiteY11" fmla="*/ 48816 h 257175"/>
                    <a:gd name="connsiteX12" fmla="*/ 112966 w 228600"/>
                    <a:gd name="connsiteY12" fmla="*/ 48816 h 257175"/>
                    <a:gd name="connsiteX13" fmla="*/ 79010 w 228600"/>
                    <a:gd name="connsiteY13" fmla="*/ 157734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257175">
                      <a:moveTo>
                        <a:pt x="92212" y="7144"/>
                      </a:moveTo>
                      <a:lnTo>
                        <a:pt x="140113" y="7144"/>
                      </a:lnTo>
                      <a:lnTo>
                        <a:pt x="225857" y="253889"/>
                      </a:lnTo>
                      <a:lnTo>
                        <a:pt x="176203" y="253889"/>
                      </a:lnTo>
                      <a:lnTo>
                        <a:pt x="154752" y="183842"/>
                      </a:lnTo>
                      <a:lnTo>
                        <a:pt x="70809" y="183842"/>
                      </a:lnTo>
                      <a:lnTo>
                        <a:pt x="48616" y="253889"/>
                      </a:lnTo>
                      <a:lnTo>
                        <a:pt x="7144" y="253889"/>
                      </a:lnTo>
                      <a:lnTo>
                        <a:pt x="92212" y="7144"/>
                      </a:lnTo>
                      <a:close/>
                      <a:moveTo>
                        <a:pt x="79010" y="157734"/>
                      </a:moveTo>
                      <a:lnTo>
                        <a:pt x="146952" y="157734"/>
                      </a:lnTo>
                      <a:lnTo>
                        <a:pt x="113690" y="48816"/>
                      </a:lnTo>
                      <a:lnTo>
                        <a:pt x="112966" y="48816"/>
                      </a:lnTo>
                      <a:lnTo>
                        <a:pt x="79010" y="157734"/>
                      </a:lnTo>
                      <a:close/>
                    </a:path>
                  </a:pathLst>
                </a:custGeom>
                <a:solidFill>
                  <a:schemeClr val="bg1"/>
                </a:solidFill>
                <a:ln w="9525" cap="flat">
                  <a:noFill/>
                  <a:prstDash val="solid"/>
                  <a:miter/>
                </a:ln>
              </p:spPr>
              <p:txBody>
                <a:bodyPr rtlCol="0" anchor="ctr"/>
                <a:lstStyle/>
                <a:p>
                  <a:endParaRPr lang="ja-JP" altLang="en-US"/>
                </a:p>
              </p:txBody>
            </p:sp>
            <p:sp>
              <p:nvSpPr>
                <p:cNvPr id="1081" name="フリーフォーム: 図形 33"/>
                <p:cNvSpPr/>
                <p:nvPr/>
              </p:nvSpPr>
              <p:spPr>
                <a:xfrm>
                  <a:off x="2801365" y="5565625"/>
                  <a:ext cx="152400" cy="266700"/>
                </a:xfrm>
                <a:custGeom>
                  <a:avLst/>
                  <a:gdLst>
                    <a:gd name="connsiteX0" fmla="*/ 154381 w 152400"/>
                    <a:gd name="connsiteY0" fmla="*/ 186852 h 266700"/>
                    <a:gd name="connsiteX1" fmla="*/ 70409 w 152400"/>
                    <a:gd name="connsiteY1" fmla="*/ 261642 h 266700"/>
                    <a:gd name="connsiteX2" fmla="*/ 19698 w 152400"/>
                    <a:gd name="connsiteY2" fmla="*/ 254441 h 266700"/>
                    <a:gd name="connsiteX3" fmla="*/ 19698 w 152400"/>
                    <a:gd name="connsiteY3" fmla="*/ 214036 h 266700"/>
                    <a:gd name="connsiteX4" fmla="*/ 74314 w 152400"/>
                    <a:gd name="connsiteY4" fmla="*/ 237268 h 266700"/>
                    <a:gd name="connsiteX5" fmla="*/ 111109 w 152400"/>
                    <a:gd name="connsiteY5" fmla="*/ 181899 h 266700"/>
                    <a:gd name="connsiteX6" fmla="*/ 111109 w 152400"/>
                    <a:gd name="connsiteY6" fmla="*/ 156496 h 266700"/>
                    <a:gd name="connsiteX7" fmla="*/ 110442 w 152400"/>
                    <a:gd name="connsiteY7" fmla="*/ 156496 h 266700"/>
                    <a:gd name="connsiteX8" fmla="*/ 69723 w 152400"/>
                    <a:gd name="connsiteY8" fmla="*/ 181175 h 266700"/>
                    <a:gd name="connsiteX9" fmla="*/ 7144 w 152400"/>
                    <a:gd name="connsiteY9" fmla="*/ 92945 h 266700"/>
                    <a:gd name="connsiteX10" fmla="*/ 65408 w 152400"/>
                    <a:gd name="connsiteY10" fmla="*/ 7144 h 266700"/>
                    <a:gd name="connsiteX11" fmla="*/ 110452 w 152400"/>
                    <a:gd name="connsiteY11" fmla="*/ 38576 h 266700"/>
                    <a:gd name="connsiteX12" fmla="*/ 111119 w 152400"/>
                    <a:gd name="connsiteY12" fmla="*/ 38576 h 266700"/>
                    <a:gd name="connsiteX13" fmla="*/ 111119 w 152400"/>
                    <a:gd name="connsiteY13" fmla="*/ 11116 h 266700"/>
                    <a:gd name="connsiteX14" fmla="*/ 154391 w 152400"/>
                    <a:gd name="connsiteY14" fmla="*/ 11116 h 266700"/>
                    <a:gd name="connsiteX15" fmla="*/ 154391 w 152400"/>
                    <a:gd name="connsiteY15" fmla="*/ 186852 h 266700"/>
                    <a:gd name="connsiteX16" fmla="*/ 82905 w 152400"/>
                    <a:gd name="connsiteY16" fmla="*/ 156505 h 266700"/>
                    <a:gd name="connsiteX17" fmla="*/ 109004 w 152400"/>
                    <a:gd name="connsiteY17" fmla="*/ 96831 h 266700"/>
                    <a:gd name="connsiteX18" fmla="*/ 82572 w 152400"/>
                    <a:gd name="connsiteY18" fmla="*/ 33957 h 266700"/>
                    <a:gd name="connsiteX19" fmla="*/ 53940 w 152400"/>
                    <a:gd name="connsiteY19" fmla="*/ 95764 h 266700"/>
                    <a:gd name="connsiteX20" fmla="*/ 82905 w 152400"/>
                    <a:gd name="connsiteY20" fmla="*/ 15650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400" h="266700">
                      <a:moveTo>
                        <a:pt x="154381" y="186852"/>
                      </a:moveTo>
                      <a:cubicBezTo>
                        <a:pt x="154381" y="229134"/>
                        <a:pt x="137246" y="261642"/>
                        <a:pt x="70409" y="261642"/>
                      </a:cubicBezTo>
                      <a:cubicBezTo>
                        <a:pt x="45739" y="261642"/>
                        <a:pt x="30413" y="257289"/>
                        <a:pt x="19698" y="254441"/>
                      </a:cubicBezTo>
                      <a:lnTo>
                        <a:pt x="19698" y="214036"/>
                      </a:lnTo>
                      <a:cubicBezTo>
                        <a:pt x="28632" y="220828"/>
                        <a:pt x="51120" y="237268"/>
                        <a:pt x="74314" y="237268"/>
                      </a:cubicBezTo>
                      <a:cubicBezTo>
                        <a:pt x="107575" y="237268"/>
                        <a:pt x="111109" y="213360"/>
                        <a:pt x="111109" y="181899"/>
                      </a:cubicBezTo>
                      <a:lnTo>
                        <a:pt x="111109" y="156496"/>
                      </a:lnTo>
                      <a:lnTo>
                        <a:pt x="110442" y="156496"/>
                      </a:lnTo>
                      <a:cubicBezTo>
                        <a:pt x="104299" y="167631"/>
                        <a:pt x="96469" y="181175"/>
                        <a:pt x="69723" y="181175"/>
                      </a:cubicBezTo>
                      <a:cubicBezTo>
                        <a:pt x="23565" y="181175"/>
                        <a:pt x="7144" y="145094"/>
                        <a:pt x="7144" y="92945"/>
                      </a:cubicBezTo>
                      <a:cubicBezTo>
                        <a:pt x="7144" y="49663"/>
                        <a:pt x="21822" y="7144"/>
                        <a:pt x="65408" y="7144"/>
                      </a:cubicBezTo>
                      <a:cubicBezTo>
                        <a:pt x="92183" y="7144"/>
                        <a:pt x="103679" y="26460"/>
                        <a:pt x="110452" y="38576"/>
                      </a:cubicBezTo>
                      <a:lnTo>
                        <a:pt x="111119" y="38576"/>
                      </a:lnTo>
                      <a:lnTo>
                        <a:pt x="111119" y="11116"/>
                      </a:lnTo>
                      <a:lnTo>
                        <a:pt x="154391" y="11116"/>
                      </a:lnTo>
                      <a:lnTo>
                        <a:pt x="154391" y="186852"/>
                      </a:lnTo>
                      <a:close/>
                      <a:moveTo>
                        <a:pt x="82905" y="156505"/>
                      </a:moveTo>
                      <a:cubicBezTo>
                        <a:pt x="109004" y="156505"/>
                        <a:pt x="109004" y="119015"/>
                        <a:pt x="109004" y="96831"/>
                      </a:cubicBezTo>
                      <a:cubicBezTo>
                        <a:pt x="109004" y="71095"/>
                        <a:pt x="107870" y="33957"/>
                        <a:pt x="82572" y="33957"/>
                      </a:cubicBezTo>
                      <a:cubicBezTo>
                        <a:pt x="57140" y="33957"/>
                        <a:pt x="53940" y="70771"/>
                        <a:pt x="53940" y="95764"/>
                      </a:cubicBezTo>
                      <a:cubicBezTo>
                        <a:pt x="53940" y="119329"/>
                        <a:pt x="57140" y="156505"/>
                        <a:pt x="82905" y="156505"/>
                      </a:cubicBezTo>
                      <a:close/>
                    </a:path>
                  </a:pathLst>
                </a:custGeom>
                <a:solidFill>
                  <a:schemeClr val="bg1"/>
                </a:solidFill>
                <a:ln w="9525" cap="flat">
                  <a:noFill/>
                  <a:prstDash val="solid"/>
                  <a:miter/>
                </a:ln>
              </p:spPr>
              <p:txBody>
                <a:bodyPr rtlCol="0" anchor="ctr"/>
                <a:lstStyle/>
                <a:p>
                  <a:endParaRPr lang="ja-JP" altLang="en-US"/>
                </a:p>
              </p:txBody>
            </p:sp>
            <p:sp>
              <p:nvSpPr>
                <p:cNvPr id="1082" name="フリーフォーム: 図形 34"/>
                <p:cNvSpPr/>
                <p:nvPr/>
              </p:nvSpPr>
              <p:spPr>
                <a:xfrm>
                  <a:off x="2982530" y="5565625"/>
                  <a:ext cx="152400" cy="190500"/>
                </a:xfrm>
                <a:custGeom>
                  <a:avLst/>
                  <a:gdLst>
                    <a:gd name="connsiteX0" fmla="*/ 148685 w 152400"/>
                    <a:gd name="connsiteY0" fmla="*/ 173345 h 190500"/>
                    <a:gd name="connsiteX1" fmla="*/ 93659 w 152400"/>
                    <a:gd name="connsiteY1" fmla="*/ 185099 h 190500"/>
                    <a:gd name="connsiteX2" fmla="*/ 7144 w 152400"/>
                    <a:gd name="connsiteY2" fmla="*/ 88259 h 190500"/>
                    <a:gd name="connsiteX3" fmla="*/ 82887 w 152400"/>
                    <a:gd name="connsiteY3" fmla="*/ 7144 h 190500"/>
                    <a:gd name="connsiteX4" fmla="*/ 151847 w 152400"/>
                    <a:gd name="connsiteY4" fmla="*/ 71085 h 190500"/>
                    <a:gd name="connsiteX5" fmla="*/ 151847 w 152400"/>
                    <a:gd name="connsiteY5" fmla="*/ 77581 h 190500"/>
                    <a:gd name="connsiteX6" fmla="*/ 50387 w 152400"/>
                    <a:gd name="connsiteY6" fmla="*/ 77581 h 190500"/>
                    <a:gd name="connsiteX7" fmla="*/ 115462 w 152400"/>
                    <a:gd name="connsiteY7" fmla="*/ 162973 h 190500"/>
                    <a:gd name="connsiteX8" fmla="*/ 148685 w 152400"/>
                    <a:gd name="connsiteY8" fmla="*/ 155486 h 190500"/>
                    <a:gd name="connsiteX9" fmla="*/ 148685 w 152400"/>
                    <a:gd name="connsiteY9" fmla="*/ 173345 h 190500"/>
                    <a:gd name="connsiteX10" fmla="*/ 110128 w 152400"/>
                    <a:gd name="connsiteY10" fmla="*/ 59684 h 190500"/>
                    <a:gd name="connsiteX11" fmla="*/ 81534 w 152400"/>
                    <a:gd name="connsiteY11" fmla="*/ 23965 h 190500"/>
                    <a:gd name="connsiteX12" fmla="*/ 50387 w 152400"/>
                    <a:gd name="connsiteY12" fmla="*/ 59684 h 190500"/>
                    <a:gd name="connsiteX13" fmla="*/ 110128 w 152400"/>
                    <a:gd name="connsiteY13" fmla="*/ 5968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90500">
                      <a:moveTo>
                        <a:pt x="148685" y="173345"/>
                      </a:moveTo>
                      <a:cubicBezTo>
                        <a:pt x="129359" y="181527"/>
                        <a:pt x="118681" y="185099"/>
                        <a:pt x="93659" y="185099"/>
                      </a:cubicBezTo>
                      <a:cubicBezTo>
                        <a:pt x="48920" y="185099"/>
                        <a:pt x="7144" y="159420"/>
                        <a:pt x="7144" y="88259"/>
                      </a:cubicBezTo>
                      <a:cubicBezTo>
                        <a:pt x="7144" y="41424"/>
                        <a:pt x="26794" y="7144"/>
                        <a:pt x="82887" y="7144"/>
                      </a:cubicBezTo>
                      <a:cubicBezTo>
                        <a:pt x="130083" y="7144"/>
                        <a:pt x="151847" y="32176"/>
                        <a:pt x="151847" y="71085"/>
                      </a:cubicBezTo>
                      <a:lnTo>
                        <a:pt x="151847" y="77581"/>
                      </a:lnTo>
                      <a:lnTo>
                        <a:pt x="50387" y="77581"/>
                      </a:lnTo>
                      <a:cubicBezTo>
                        <a:pt x="50387" y="106499"/>
                        <a:pt x="66856" y="162973"/>
                        <a:pt x="115462" y="162973"/>
                      </a:cubicBezTo>
                      <a:cubicBezTo>
                        <a:pt x="126844" y="162973"/>
                        <a:pt x="138322" y="159420"/>
                        <a:pt x="148685" y="155486"/>
                      </a:cubicBezTo>
                      <a:lnTo>
                        <a:pt x="148685" y="173345"/>
                      </a:lnTo>
                      <a:close/>
                      <a:moveTo>
                        <a:pt x="110128" y="59684"/>
                      </a:moveTo>
                      <a:cubicBezTo>
                        <a:pt x="110128" y="47520"/>
                        <a:pt x="105070" y="23965"/>
                        <a:pt x="81534" y="23965"/>
                      </a:cubicBezTo>
                      <a:cubicBezTo>
                        <a:pt x="56512" y="23965"/>
                        <a:pt x="51473" y="51873"/>
                        <a:pt x="50387" y="59684"/>
                      </a:cubicBezTo>
                      <a:lnTo>
                        <a:pt x="110128" y="59684"/>
                      </a:lnTo>
                      <a:close/>
                    </a:path>
                  </a:pathLst>
                </a:custGeom>
                <a:solidFill>
                  <a:schemeClr val="bg1"/>
                </a:solidFill>
                <a:ln w="9525" cap="flat">
                  <a:noFill/>
                  <a:prstDash val="solid"/>
                  <a:miter/>
                </a:ln>
              </p:spPr>
              <p:txBody>
                <a:bodyPr rtlCol="0" anchor="ctr"/>
                <a:lstStyle/>
                <a:p>
                  <a:endParaRPr lang="ja-JP" altLang="en-US"/>
                </a:p>
              </p:txBody>
            </p:sp>
            <p:sp>
              <p:nvSpPr>
                <p:cNvPr id="1083" name="フリーフォーム: 図形 35"/>
                <p:cNvSpPr/>
                <p:nvPr/>
              </p:nvSpPr>
              <p:spPr>
                <a:xfrm>
                  <a:off x="3161905" y="5565635"/>
                  <a:ext cx="152400" cy="180975"/>
                </a:xfrm>
                <a:custGeom>
                  <a:avLst/>
                  <a:gdLst>
                    <a:gd name="connsiteX0" fmla="*/ 7153 w 152400"/>
                    <a:gd name="connsiteY0" fmla="*/ 11116 h 180975"/>
                    <a:gd name="connsiteX1" fmla="*/ 50444 w 152400"/>
                    <a:gd name="connsiteY1" fmla="*/ 11116 h 180975"/>
                    <a:gd name="connsiteX2" fmla="*/ 50444 w 152400"/>
                    <a:gd name="connsiteY2" fmla="*/ 49330 h 180975"/>
                    <a:gd name="connsiteX3" fmla="*/ 51054 w 152400"/>
                    <a:gd name="connsiteY3" fmla="*/ 49330 h 180975"/>
                    <a:gd name="connsiteX4" fmla="*/ 106880 w 152400"/>
                    <a:gd name="connsiteY4" fmla="*/ 7144 h 180975"/>
                    <a:gd name="connsiteX5" fmla="*/ 149742 w 152400"/>
                    <a:gd name="connsiteY5" fmla="*/ 63951 h 180975"/>
                    <a:gd name="connsiteX6" fmla="*/ 149742 w 152400"/>
                    <a:gd name="connsiteY6" fmla="*/ 181175 h 180975"/>
                    <a:gd name="connsiteX7" fmla="*/ 106490 w 152400"/>
                    <a:gd name="connsiteY7" fmla="*/ 181175 h 180975"/>
                    <a:gd name="connsiteX8" fmla="*/ 106490 w 152400"/>
                    <a:gd name="connsiteY8" fmla="*/ 75047 h 180975"/>
                    <a:gd name="connsiteX9" fmla="*/ 87887 w 152400"/>
                    <a:gd name="connsiteY9" fmla="*/ 38214 h 180975"/>
                    <a:gd name="connsiteX10" fmla="*/ 50435 w 152400"/>
                    <a:gd name="connsiteY10" fmla="*/ 114376 h 180975"/>
                    <a:gd name="connsiteX11" fmla="*/ 50435 w 152400"/>
                    <a:gd name="connsiteY11" fmla="*/ 181175 h 180975"/>
                    <a:gd name="connsiteX12" fmla="*/ 7144 w 152400"/>
                    <a:gd name="connsiteY12" fmla="*/ 181175 h 180975"/>
                    <a:gd name="connsiteX13" fmla="*/ 7144 w 152400"/>
                    <a:gd name="connsiteY13"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7153" y="11116"/>
                      </a:moveTo>
                      <a:lnTo>
                        <a:pt x="50444" y="11116"/>
                      </a:lnTo>
                      <a:lnTo>
                        <a:pt x="50444" y="49330"/>
                      </a:lnTo>
                      <a:lnTo>
                        <a:pt x="51054" y="49330"/>
                      </a:lnTo>
                      <a:cubicBezTo>
                        <a:pt x="57922" y="35433"/>
                        <a:pt x="71799" y="7144"/>
                        <a:pt x="106880" y="7144"/>
                      </a:cubicBezTo>
                      <a:cubicBezTo>
                        <a:pt x="138674" y="7144"/>
                        <a:pt x="149742" y="27889"/>
                        <a:pt x="149742" y="63951"/>
                      </a:cubicBezTo>
                      <a:lnTo>
                        <a:pt x="149742" y="181175"/>
                      </a:lnTo>
                      <a:lnTo>
                        <a:pt x="106490" y="181175"/>
                      </a:lnTo>
                      <a:lnTo>
                        <a:pt x="106490" y="75047"/>
                      </a:lnTo>
                      <a:cubicBezTo>
                        <a:pt x="106490" y="53940"/>
                        <a:pt x="104718" y="38214"/>
                        <a:pt x="87887" y="38214"/>
                      </a:cubicBezTo>
                      <a:cubicBezTo>
                        <a:pt x="57560" y="38214"/>
                        <a:pt x="50435" y="87182"/>
                        <a:pt x="50435" y="114376"/>
                      </a:cubicBezTo>
                      <a:lnTo>
                        <a:pt x="50435" y="181175"/>
                      </a:lnTo>
                      <a:lnTo>
                        <a:pt x="7144" y="181175"/>
                      </a:lnTo>
                      <a:lnTo>
                        <a:pt x="7144" y="11116"/>
                      </a:lnTo>
                      <a:close/>
                    </a:path>
                  </a:pathLst>
                </a:custGeom>
                <a:solidFill>
                  <a:schemeClr val="bg1"/>
                </a:solidFill>
                <a:ln w="9525" cap="flat">
                  <a:noFill/>
                  <a:prstDash val="solid"/>
                  <a:miter/>
                </a:ln>
              </p:spPr>
              <p:txBody>
                <a:bodyPr rtlCol="0" anchor="ctr"/>
                <a:lstStyle/>
                <a:p>
                  <a:endParaRPr lang="ja-JP" altLang="en-US"/>
                </a:p>
              </p:txBody>
            </p:sp>
            <p:sp>
              <p:nvSpPr>
                <p:cNvPr id="1084" name="フリーフォーム: 図形 36"/>
                <p:cNvSpPr/>
                <p:nvPr/>
              </p:nvSpPr>
              <p:spPr>
                <a:xfrm>
                  <a:off x="3339851" y="5565635"/>
                  <a:ext cx="152400" cy="190500"/>
                </a:xfrm>
                <a:custGeom>
                  <a:avLst/>
                  <a:gdLst>
                    <a:gd name="connsiteX0" fmla="*/ 148686 w 152400"/>
                    <a:gd name="connsiteY0" fmla="*/ 174765 h 190500"/>
                    <a:gd name="connsiteX1" fmla="*/ 95774 w 152400"/>
                    <a:gd name="connsiteY1" fmla="*/ 185090 h 190500"/>
                    <a:gd name="connsiteX2" fmla="*/ 7144 w 152400"/>
                    <a:gd name="connsiteY2" fmla="*/ 89354 h 190500"/>
                    <a:gd name="connsiteX3" fmla="*/ 83991 w 152400"/>
                    <a:gd name="connsiteY3" fmla="*/ 7144 h 190500"/>
                    <a:gd name="connsiteX4" fmla="*/ 149771 w 152400"/>
                    <a:gd name="connsiteY4" fmla="*/ 68637 h 190500"/>
                    <a:gd name="connsiteX5" fmla="*/ 103613 w 152400"/>
                    <a:gd name="connsiteY5" fmla="*/ 68637 h 190500"/>
                    <a:gd name="connsiteX6" fmla="*/ 82182 w 152400"/>
                    <a:gd name="connsiteY6" fmla="*/ 23955 h 190500"/>
                    <a:gd name="connsiteX7" fmla="*/ 53921 w 152400"/>
                    <a:gd name="connsiteY7" fmla="*/ 74705 h 190500"/>
                    <a:gd name="connsiteX8" fmla="*/ 115110 w 152400"/>
                    <a:gd name="connsiteY8" fmla="*/ 162973 h 190500"/>
                    <a:gd name="connsiteX9" fmla="*/ 148667 w 152400"/>
                    <a:gd name="connsiteY9" fmla="*/ 156496 h 190500"/>
                    <a:gd name="connsiteX10" fmla="*/ 148667 w 152400"/>
                    <a:gd name="connsiteY10" fmla="*/ 1747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400" h="190500">
                      <a:moveTo>
                        <a:pt x="148686" y="174765"/>
                      </a:moveTo>
                      <a:cubicBezTo>
                        <a:pt x="131179" y="181175"/>
                        <a:pt x="117596" y="185090"/>
                        <a:pt x="95774" y="185090"/>
                      </a:cubicBezTo>
                      <a:cubicBezTo>
                        <a:pt x="46063" y="185090"/>
                        <a:pt x="7144" y="157572"/>
                        <a:pt x="7144" y="89354"/>
                      </a:cubicBezTo>
                      <a:cubicBezTo>
                        <a:pt x="7144" y="40405"/>
                        <a:pt x="30785" y="7144"/>
                        <a:pt x="83991" y="7144"/>
                      </a:cubicBezTo>
                      <a:cubicBezTo>
                        <a:pt x="134351" y="7144"/>
                        <a:pt x="149771" y="30004"/>
                        <a:pt x="149771" y="68637"/>
                      </a:cubicBezTo>
                      <a:lnTo>
                        <a:pt x="103613" y="68637"/>
                      </a:lnTo>
                      <a:cubicBezTo>
                        <a:pt x="103613" y="38576"/>
                        <a:pt x="100784" y="23955"/>
                        <a:pt x="82182" y="23955"/>
                      </a:cubicBezTo>
                      <a:cubicBezTo>
                        <a:pt x="62551" y="23955"/>
                        <a:pt x="53921" y="50349"/>
                        <a:pt x="53921" y="74705"/>
                      </a:cubicBezTo>
                      <a:cubicBezTo>
                        <a:pt x="53921" y="119005"/>
                        <a:pt x="76115" y="162973"/>
                        <a:pt x="115110" y="162973"/>
                      </a:cubicBezTo>
                      <a:cubicBezTo>
                        <a:pt x="128264" y="162973"/>
                        <a:pt x="138256" y="160096"/>
                        <a:pt x="148667" y="156496"/>
                      </a:cubicBezTo>
                      <a:lnTo>
                        <a:pt x="148667" y="174765"/>
                      </a:lnTo>
                      <a:close/>
                    </a:path>
                  </a:pathLst>
                </a:custGeom>
                <a:solidFill>
                  <a:schemeClr val="bg1"/>
                </a:solidFill>
                <a:ln w="9525" cap="flat">
                  <a:noFill/>
                  <a:prstDash val="solid"/>
                  <a:miter/>
                </a:ln>
              </p:spPr>
              <p:txBody>
                <a:bodyPr rtlCol="0" anchor="ctr"/>
                <a:lstStyle/>
                <a:p>
                  <a:endParaRPr lang="ja-JP" altLang="en-US"/>
                </a:p>
              </p:txBody>
            </p:sp>
            <p:sp>
              <p:nvSpPr>
                <p:cNvPr id="1085" name="フリーフォーム: 図形 37"/>
                <p:cNvSpPr/>
                <p:nvPr/>
              </p:nvSpPr>
              <p:spPr>
                <a:xfrm>
                  <a:off x="3499938" y="5569606"/>
                  <a:ext cx="171450" cy="257175"/>
                </a:xfrm>
                <a:custGeom>
                  <a:avLst/>
                  <a:gdLst>
                    <a:gd name="connsiteX0" fmla="*/ 70809 w 171450"/>
                    <a:gd name="connsiteY0" fmla="*/ 179727 h 257175"/>
                    <a:gd name="connsiteX1" fmla="*/ 7144 w 171450"/>
                    <a:gd name="connsiteY1" fmla="*/ 7144 h 257175"/>
                    <a:gd name="connsiteX2" fmla="*/ 51454 w 171450"/>
                    <a:gd name="connsiteY2" fmla="*/ 7144 h 257175"/>
                    <a:gd name="connsiteX3" fmla="*/ 90097 w 171450"/>
                    <a:gd name="connsiteY3" fmla="*/ 123225 h 257175"/>
                    <a:gd name="connsiteX4" fmla="*/ 90726 w 171450"/>
                    <a:gd name="connsiteY4" fmla="*/ 123225 h 257175"/>
                    <a:gd name="connsiteX5" fmla="*/ 130445 w 171450"/>
                    <a:gd name="connsiteY5" fmla="*/ 7144 h 257175"/>
                    <a:gd name="connsiteX6" fmla="*/ 165497 w 171450"/>
                    <a:gd name="connsiteY6" fmla="*/ 7144 h 257175"/>
                    <a:gd name="connsiteX7" fmla="*/ 80363 w 171450"/>
                    <a:gd name="connsiteY7" fmla="*/ 253689 h 257175"/>
                    <a:gd name="connsiteX8" fmla="*/ 45387 w 171450"/>
                    <a:gd name="connsiteY8" fmla="*/ 253689 h 257175"/>
                    <a:gd name="connsiteX9" fmla="*/ 70809 w 171450"/>
                    <a:gd name="connsiteY9" fmla="*/ 17972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257175">
                      <a:moveTo>
                        <a:pt x="70809" y="179727"/>
                      </a:moveTo>
                      <a:lnTo>
                        <a:pt x="7144" y="7144"/>
                      </a:lnTo>
                      <a:lnTo>
                        <a:pt x="51454" y="7144"/>
                      </a:lnTo>
                      <a:lnTo>
                        <a:pt x="90097" y="123225"/>
                      </a:lnTo>
                      <a:lnTo>
                        <a:pt x="90726" y="123225"/>
                      </a:lnTo>
                      <a:lnTo>
                        <a:pt x="130445" y="7144"/>
                      </a:lnTo>
                      <a:lnTo>
                        <a:pt x="165497" y="7144"/>
                      </a:lnTo>
                      <a:lnTo>
                        <a:pt x="80363" y="253689"/>
                      </a:lnTo>
                      <a:lnTo>
                        <a:pt x="45387" y="253689"/>
                      </a:lnTo>
                      <a:lnTo>
                        <a:pt x="70809" y="179727"/>
                      </a:lnTo>
                      <a:close/>
                    </a:path>
                  </a:pathLst>
                </a:custGeom>
                <a:solidFill>
                  <a:schemeClr val="bg1"/>
                </a:solidFill>
                <a:ln w="9525" cap="flat">
                  <a:noFill/>
                  <a:prstDash val="solid"/>
                  <a:miter/>
                </a:ln>
              </p:spPr>
              <p:txBody>
                <a:bodyPr rtlCol="0" anchor="ctr"/>
                <a:lstStyle/>
                <a:p>
                  <a:endParaRPr lang="ja-JP" altLang="en-US"/>
                </a:p>
              </p:txBody>
            </p:sp>
          </p:grpSp>
          <p:grpSp>
            <p:nvGrpSpPr>
              <p:cNvPr id="1086" name="グループ化 111"/>
              <p:cNvGrpSpPr>
                <a:grpSpLocks noChangeAspect="1"/>
              </p:cNvGrpSpPr>
              <p:nvPr userDrawn="1"/>
            </p:nvGrpSpPr>
            <p:grpSpPr>
              <a:xfrm>
                <a:off x="2534400" y="6660000"/>
                <a:ext cx="3564000" cy="150760"/>
                <a:chOff x="427811" y="5856214"/>
                <a:chExt cx="3229242" cy="136598"/>
              </a:xfrm>
            </p:grpSpPr>
            <p:sp>
              <p:nvSpPr>
                <p:cNvPr id="1087" name="フリーフォーム: 図形 38"/>
                <p:cNvSpPr/>
                <p:nvPr/>
              </p:nvSpPr>
              <p:spPr>
                <a:xfrm>
                  <a:off x="427811" y="5857776"/>
                  <a:ext cx="104775" cy="104775"/>
                </a:xfrm>
                <a:custGeom>
                  <a:avLst/>
                  <a:gdLst>
                    <a:gd name="connsiteX0" fmla="*/ 7144 w 104775"/>
                    <a:gd name="connsiteY0" fmla="*/ 7144 h 104775"/>
                    <a:gd name="connsiteX1" fmla="*/ 27946 w 104775"/>
                    <a:gd name="connsiteY1" fmla="*/ 7144 h 104775"/>
                    <a:gd name="connsiteX2" fmla="*/ 54959 w 104775"/>
                    <a:gd name="connsiteY2" fmla="*/ 86487 h 104775"/>
                    <a:gd name="connsiteX3" fmla="*/ 55236 w 104775"/>
                    <a:gd name="connsiteY3" fmla="*/ 86487 h 104775"/>
                    <a:gd name="connsiteX4" fmla="*/ 82401 w 104775"/>
                    <a:gd name="connsiteY4" fmla="*/ 7144 h 104775"/>
                    <a:gd name="connsiteX5" fmla="*/ 102480 w 104775"/>
                    <a:gd name="connsiteY5" fmla="*/ 7144 h 104775"/>
                    <a:gd name="connsiteX6" fmla="*/ 102480 w 104775"/>
                    <a:gd name="connsiteY6" fmla="*/ 104737 h 104775"/>
                    <a:gd name="connsiteX7" fmla="*/ 88478 w 104775"/>
                    <a:gd name="connsiteY7" fmla="*/ 104737 h 104775"/>
                    <a:gd name="connsiteX8" fmla="*/ 88478 w 104775"/>
                    <a:gd name="connsiteY8" fmla="*/ 20421 h 104775"/>
                    <a:gd name="connsiteX9" fmla="*/ 88192 w 104775"/>
                    <a:gd name="connsiteY9" fmla="*/ 20421 h 104775"/>
                    <a:gd name="connsiteX10" fmla="*/ 59627 w 104775"/>
                    <a:gd name="connsiteY10" fmla="*/ 104737 h 104775"/>
                    <a:gd name="connsiteX11" fmla="*/ 47730 w 104775"/>
                    <a:gd name="connsiteY11" fmla="*/ 104737 h 104775"/>
                    <a:gd name="connsiteX12" fmla="*/ 19164 w 104775"/>
                    <a:gd name="connsiteY12" fmla="*/ 20421 h 104775"/>
                    <a:gd name="connsiteX13" fmla="*/ 18879 w 104775"/>
                    <a:gd name="connsiteY13" fmla="*/ 20421 h 104775"/>
                    <a:gd name="connsiteX14" fmla="*/ 18879 w 104775"/>
                    <a:gd name="connsiteY14" fmla="*/ 104737 h 104775"/>
                    <a:gd name="connsiteX15" fmla="*/ 7144 w 104775"/>
                    <a:gd name="connsiteY15" fmla="*/ 104737 h 104775"/>
                    <a:gd name="connsiteX16" fmla="*/ 7144 w 104775"/>
                    <a:gd name="connsiteY16"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7144" y="7144"/>
                      </a:moveTo>
                      <a:lnTo>
                        <a:pt x="27946" y="7144"/>
                      </a:lnTo>
                      <a:lnTo>
                        <a:pt x="54959" y="86487"/>
                      </a:lnTo>
                      <a:lnTo>
                        <a:pt x="55236" y="86487"/>
                      </a:lnTo>
                      <a:lnTo>
                        <a:pt x="82401" y="7144"/>
                      </a:lnTo>
                      <a:lnTo>
                        <a:pt x="102480" y="7144"/>
                      </a:lnTo>
                      <a:lnTo>
                        <a:pt x="102480" y="104737"/>
                      </a:lnTo>
                      <a:lnTo>
                        <a:pt x="88478" y="104737"/>
                      </a:lnTo>
                      <a:lnTo>
                        <a:pt x="88478" y="20421"/>
                      </a:lnTo>
                      <a:lnTo>
                        <a:pt x="88192" y="20421"/>
                      </a:lnTo>
                      <a:lnTo>
                        <a:pt x="59627" y="104737"/>
                      </a:lnTo>
                      <a:lnTo>
                        <a:pt x="47730" y="104737"/>
                      </a:lnTo>
                      <a:lnTo>
                        <a:pt x="19164" y="20421"/>
                      </a:lnTo>
                      <a:lnTo>
                        <a:pt x="18879" y="20421"/>
                      </a:lnTo>
                      <a:lnTo>
                        <a:pt x="18879" y="104737"/>
                      </a:lnTo>
                      <a:lnTo>
                        <a:pt x="7144" y="104737"/>
                      </a:lnTo>
                      <a:lnTo>
                        <a:pt x="7144" y="7144"/>
                      </a:lnTo>
                      <a:close/>
                    </a:path>
                  </a:pathLst>
                </a:custGeom>
                <a:solidFill>
                  <a:schemeClr val="bg1"/>
                </a:solidFill>
                <a:ln w="9525" cap="flat">
                  <a:noFill/>
                  <a:prstDash val="solid"/>
                  <a:miter/>
                </a:ln>
              </p:spPr>
              <p:txBody>
                <a:bodyPr rtlCol="0" anchor="ctr"/>
                <a:lstStyle/>
                <a:p>
                  <a:endParaRPr lang="ja-JP" altLang="en-US"/>
                </a:p>
              </p:txBody>
            </p:sp>
            <p:sp>
              <p:nvSpPr>
                <p:cNvPr id="1088" name="フリーフォーム: 図形 39"/>
                <p:cNvSpPr/>
                <p:nvPr/>
              </p:nvSpPr>
              <p:spPr>
                <a:xfrm>
                  <a:off x="545073" y="5857776"/>
                  <a:ext cx="28575" cy="104775"/>
                </a:xfrm>
                <a:custGeom>
                  <a:avLst/>
                  <a:gdLst>
                    <a:gd name="connsiteX0" fmla="*/ 7144 w 28575"/>
                    <a:gd name="connsiteY0" fmla="*/ 7144 h 104775"/>
                    <a:gd name="connsiteX1" fmla="*/ 22565 w 28575"/>
                    <a:gd name="connsiteY1" fmla="*/ 7144 h 104775"/>
                    <a:gd name="connsiteX2" fmla="*/ 22565 w 28575"/>
                    <a:gd name="connsiteY2" fmla="*/ 21279 h 104775"/>
                    <a:gd name="connsiteX3" fmla="*/ 7144 w 28575"/>
                    <a:gd name="connsiteY3" fmla="*/ 21279 h 104775"/>
                    <a:gd name="connsiteX4" fmla="*/ 7144 w 28575"/>
                    <a:gd name="connsiteY4" fmla="*/ 7144 h 104775"/>
                    <a:gd name="connsiteX5" fmla="*/ 7706 w 28575"/>
                    <a:gd name="connsiteY5" fmla="*/ 37405 h 104775"/>
                    <a:gd name="connsiteX6" fmla="*/ 21993 w 28575"/>
                    <a:gd name="connsiteY6" fmla="*/ 37405 h 104775"/>
                    <a:gd name="connsiteX7" fmla="*/ 21993 w 28575"/>
                    <a:gd name="connsiteY7" fmla="*/ 104727 h 104775"/>
                    <a:gd name="connsiteX8" fmla="*/ 7706 w 28575"/>
                    <a:gd name="connsiteY8" fmla="*/ 104727 h 104775"/>
                    <a:gd name="connsiteX9" fmla="*/ 7706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65" y="7144"/>
                      </a:lnTo>
                      <a:lnTo>
                        <a:pt x="22565" y="21279"/>
                      </a:lnTo>
                      <a:lnTo>
                        <a:pt x="7144" y="21279"/>
                      </a:lnTo>
                      <a:lnTo>
                        <a:pt x="7144" y="7144"/>
                      </a:lnTo>
                      <a:close/>
                      <a:moveTo>
                        <a:pt x="7706" y="37405"/>
                      </a:moveTo>
                      <a:lnTo>
                        <a:pt x="21993" y="37405"/>
                      </a:lnTo>
                      <a:lnTo>
                        <a:pt x="21993" y="104727"/>
                      </a:lnTo>
                      <a:lnTo>
                        <a:pt x="7706" y="104727"/>
                      </a:lnTo>
                      <a:lnTo>
                        <a:pt x="7706" y="37405"/>
                      </a:lnTo>
                      <a:close/>
                    </a:path>
                  </a:pathLst>
                </a:custGeom>
                <a:solidFill>
                  <a:schemeClr val="bg1"/>
                </a:solidFill>
                <a:ln w="9525" cap="flat">
                  <a:noFill/>
                  <a:prstDash val="solid"/>
                  <a:miter/>
                </a:ln>
              </p:spPr>
              <p:txBody>
                <a:bodyPr rtlCol="0" anchor="ctr"/>
                <a:lstStyle/>
                <a:p>
                  <a:endParaRPr lang="ja-JP" altLang="en-US"/>
                </a:p>
              </p:txBody>
            </p:sp>
            <p:sp>
              <p:nvSpPr>
                <p:cNvPr id="1089" name="フリーフォーム: 図形 40"/>
                <p:cNvSpPr/>
                <p:nvPr/>
              </p:nvSpPr>
              <p:spPr>
                <a:xfrm>
                  <a:off x="581697"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0 w 66675"/>
                    <a:gd name="connsiteY4" fmla="*/ 7144 h 76200"/>
                    <a:gd name="connsiteX5" fmla="*/ 62303 w 66675"/>
                    <a:gd name="connsiteY5" fmla="*/ 26803 h 76200"/>
                    <a:gd name="connsiteX6" fmla="*/ 62303 w 66675"/>
                    <a:gd name="connsiteY6" fmla="*/ 76029 h 76200"/>
                    <a:gd name="connsiteX7" fmla="*/ 48016 w 66675"/>
                    <a:gd name="connsiteY7" fmla="*/ 76029 h 76200"/>
                    <a:gd name="connsiteX8" fmla="*/ 48016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74" y="19736"/>
                        <a:pt x="30490" y="7144"/>
                        <a:pt x="45330" y="7144"/>
                      </a:cubicBezTo>
                      <a:cubicBezTo>
                        <a:pt x="57217" y="7144"/>
                        <a:pt x="62303" y="17040"/>
                        <a:pt x="62303" y="26803"/>
                      </a:cubicBezTo>
                      <a:lnTo>
                        <a:pt x="62303" y="76029"/>
                      </a:lnTo>
                      <a:lnTo>
                        <a:pt x="48016" y="76029"/>
                      </a:lnTo>
                      <a:lnTo>
                        <a:pt x="48016" y="33871"/>
                      </a:lnTo>
                      <a:cubicBezTo>
                        <a:pt x="48016" y="25384"/>
                        <a:pt x="46739" y="17745"/>
                        <a:pt x="39529" y="17745"/>
                      </a:cubicBezTo>
                      <a:cubicBezTo>
                        <a:pt x="2538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090" name="フリーフォーム: 図形 41"/>
                <p:cNvSpPr/>
                <p:nvPr/>
              </p:nvSpPr>
              <p:spPr>
                <a:xfrm>
                  <a:off x="657945" y="5857776"/>
                  <a:ext cx="28575" cy="104775"/>
                </a:xfrm>
                <a:custGeom>
                  <a:avLst/>
                  <a:gdLst>
                    <a:gd name="connsiteX0" fmla="*/ 7144 w 28575"/>
                    <a:gd name="connsiteY0" fmla="*/ 7144 h 104775"/>
                    <a:gd name="connsiteX1" fmla="*/ 22555 w 28575"/>
                    <a:gd name="connsiteY1" fmla="*/ 7144 h 104775"/>
                    <a:gd name="connsiteX2" fmla="*/ 22555 w 28575"/>
                    <a:gd name="connsiteY2" fmla="*/ 21279 h 104775"/>
                    <a:gd name="connsiteX3" fmla="*/ 7144 w 28575"/>
                    <a:gd name="connsiteY3" fmla="*/ 21279 h 104775"/>
                    <a:gd name="connsiteX4" fmla="*/ 7144 w 28575"/>
                    <a:gd name="connsiteY4" fmla="*/ 7144 h 104775"/>
                    <a:gd name="connsiteX5" fmla="*/ 7715 w 28575"/>
                    <a:gd name="connsiteY5" fmla="*/ 37405 h 104775"/>
                    <a:gd name="connsiteX6" fmla="*/ 22003 w 28575"/>
                    <a:gd name="connsiteY6" fmla="*/ 37405 h 104775"/>
                    <a:gd name="connsiteX7" fmla="*/ 22003 w 28575"/>
                    <a:gd name="connsiteY7" fmla="*/ 104727 h 104775"/>
                    <a:gd name="connsiteX8" fmla="*/ 7715 w 28575"/>
                    <a:gd name="connsiteY8" fmla="*/ 104727 h 104775"/>
                    <a:gd name="connsiteX9" fmla="*/ 7715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55" y="7144"/>
                      </a:lnTo>
                      <a:lnTo>
                        <a:pt x="22555" y="21279"/>
                      </a:lnTo>
                      <a:lnTo>
                        <a:pt x="7144" y="21279"/>
                      </a:lnTo>
                      <a:lnTo>
                        <a:pt x="7144" y="7144"/>
                      </a:lnTo>
                      <a:close/>
                      <a:moveTo>
                        <a:pt x="7715" y="37405"/>
                      </a:moveTo>
                      <a:lnTo>
                        <a:pt x="22003" y="37405"/>
                      </a:lnTo>
                      <a:lnTo>
                        <a:pt x="22003" y="104727"/>
                      </a:lnTo>
                      <a:lnTo>
                        <a:pt x="7715" y="104727"/>
                      </a:lnTo>
                      <a:lnTo>
                        <a:pt x="7715" y="37405"/>
                      </a:lnTo>
                      <a:close/>
                    </a:path>
                  </a:pathLst>
                </a:custGeom>
                <a:solidFill>
                  <a:schemeClr val="bg1"/>
                </a:solidFill>
                <a:ln w="9525" cap="flat">
                  <a:noFill/>
                  <a:prstDash val="solid"/>
                  <a:miter/>
                </a:ln>
              </p:spPr>
              <p:txBody>
                <a:bodyPr rtlCol="0" anchor="ctr"/>
                <a:lstStyle/>
                <a:p>
                  <a:endParaRPr lang="ja-JP" altLang="en-US"/>
                </a:p>
              </p:txBody>
            </p:sp>
            <p:sp>
              <p:nvSpPr>
                <p:cNvPr id="1091" name="フリーフォーム: 図形 42"/>
                <p:cNvSpPr/>
                <p:nvPr/>
              </p:nvSpPr>
              <p:spPr>
                <a:xfrm>
                  <a:off x="691606" y="5886465"/>
                  <a:ext cx="57150" cy="76200"/>
                </a:xfrm>
                <a:custGeom>
                  <a:avLst/>
                  <a:gdLst>
                    <a:gd name="connsiteX0" fmla="*/ 46606 w 57150"/>
                    <a:gd name="connsiteY0" fmla="*/ 22003 h 76200"/>
                    <a:gd name="connsiteX1" fmla="*/ 29642 w 57150"/>
                    <a:gd name="connsiteY1" fmla="*/ 15364 h 76200"/>
                    <a:gd name="connsiteX2" fmla="*/ 20021 w 57150"/>
                    <a:gd name="connsiteY2" fmla="*/ 22431 h 76200"/>
                    <a:gd name="connsiteX3" fmla="*/ 50854 w 57150"/>
                    <a:gd name="connsiteY3" fmla="*/ 57236 h 76200"/>
                    <a:gd name="connsiteX4" fmla="*/ 25251 w 57150"/>
                    <a:gd name="connsiteY4" fmla="*/ 77591 h 76200"/>
                    <a:gd name="connsiteX5" fmla="*/ 7277 w 57150"/>
                    <a:gd name="connsiteY5" fmla="*/ 74628 h 76200"/>
                    <a:gd name="connsiteX6" fmla="*/ 7277 w 57150"/>
                    <a:gd name="connsiteY6" fmla="*/ 61474 h 76200"/>
                    <a:gd name="connsiteX7" fmla="*/ 25946 w 57150"/>
                    <a:gd name="connsiteY7" fmla="*/ 68542 h 76200"/>
                    <a:gd name="connsiteX8" fmla="*/ 37548 w 57150"/>
                    <a:gd name="connsiteY8" fmla="*/ 60055 h 76200"/>
                    <a:gd name="connsiteX9" fmla="*/ 7144 w 57150"/>
                    <a:gd name="connsiteY9" fmla="*/ 26527 h 76200"/>
                    <a:gd name="connsiteX10" fmla="*/ 30756 w 57150"/>
                    <a:gd name="connsiteY10" fmla="*/ 7144 h 76200"/>
                    <a:gd name="connsiteX11" fmla="*/ 46596 w 57150"/>
                    <a:gd name="connsiteY11" fmla="*/ 9820 h 76200"/>
                    <a:gd name="connsiteX12" fmla="*/ 4659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06" y="22003"/>
                      </a:moveTo>
                      <a:cubicBezTo>
                        <a:pt x="41796" y="18745"/>
                        <a:pt x="36433" y="15364"/>
                        <a:pt x="29642" y="15364"/>
                      </a:cubicBezTo>
                      <a:cubicBezTo>
                        <a:pt x="25108" y="15364"/>
                        <a:pt x="20021" y="17336"/>
                        <a:pt x="20021" y="22431"/>
                      </a:cubicBezTo>
                      <a:cubicBezTo>
                        <a:pt x="20021" y="34595"/>
                        <a:pt x="50854" y="35728"/>
                        <a:pt x="50854" y="57236"/>
                      </a:cubicBezTo>
                      <a:cubicBezTo>
                        <a:pt x="50854" y="71656"/>
                        <a:pt x="39538" y="77591"/>
                        <a:pt x="25251" y="77591"/>
                      </a:cubicBezTo>
                      <a:cubicBezTo>
                        <a:pt x="16621" y="77591"/>
                        <a:pt x="10678" y="75771"/>
                        <a:pt x="7277" y="74628"/>
                      </a:cubicBezTo>
                      <a:lnTo>
                        <a:pt x="7277" y="61474"/>
                      </a:lnTo>
                      <a:cubicBezTo>
                        <a:pt x="11382" y="64303"/>
                        <a:pt x="18031" y="68542"/>
                        <a:pt x="25946" y="68542"/>
                      </a:cubicBezTo>
                      <a:cubicBezTo>
                        <a:pt x="34147" y="68542"/>
                        <a:pt x="37548" y="64303"/>
                        <a:pt x="37548" y="60055"/>
                      </a:cubicBezTo>
                      <a:cubicBezTo>
                        <a:pt x="37548" y="48168"/>
                        <a:pt x="7144" y="45768"/>
                        <a:pt x="7144" y="26527"/>
                      </a:cubicBezTo>
                      <a:cubicBezTo>
                        <a:pt x="7144" y="16335"/>
                        <a:pt x="13935" y="7144"/>
                        <a:pt x="30756" y="7144"/>
                      </a:cubicBezTo>
                      <a:cubicBezTo>
                        <a:pt x="37976" y="7144"/>
                        <a:pt x="44196" y="9115"/>
                        <a:pt x="46596" y="9820"/>
                      </a:cubicBezTo>
                      <a:lnTo>
                        <a:pt x="46596" y="22003"/>
                      </a:lnTo>
                      <a:close/>
                    </a:path>
                  </a:pathLst>
                </a:custGeom>
                <a:solidFill>
                  <a:schemeClr val="bg1"/>
                </a:solidFill>
                <a:ln w="9525" cap="flat">
                  <a:noFill/>
                  <a:prstDash val="solid"/>
                  <a:miter/>
                </a:ln>
              </p:spPr>
              <p:txBody>
                <a:bodyPr rtlCol="0" anchor="ctr"/>
                <a:lstStyle/>
                <a:p>
                  <a:endParaRPr lang="ja-JP" altLang="en-US"/>
                </a:p>
              </p:txBody>
            </p:sp>
            <p:sp>
              <p:nvSpPr>
                <p:cNvPr id="1092" name="フリーフォーム: 図形 43"/>
                <p:cNvSpPr/>
                <p:nvPr/>
              </p:nvSpPr>
              <p:spPr>
                <a:xfrm>
                  <a:off x="745356" y="5863567"/>
                  <a:ext cx="57150" cy="104775"/>
                </a:xfrm>
                <a:custGeom>
                  <a:avLst/>
                  <a:gdLst>
                    <a:gd name="connsiteX0" fmla="*/ 49016 w 57150"/>
                    <a:gd name="connsiteY0" fmla="*/ 99498 h 104775"/>
                    <a:gd name="connsiteX1" fmla="*/ 39119 w 57150"/>
                    <a:gd name="connsiteY1" fmla="*/ 100489 h 104775"/>
                    <a:gd name="connsiteX2" fmla="*/ 17897 w 57150"/>
                    <a:gd name="connsiteY2" fmla="*/ 83372 h 104775"/>
                    <a:gd name="connsiteX3" fmla="*/ 17897 w 57150"/>
                    <a:gd name="connsiteY3" fmla="*/ 38967 h 104775"/>
                    <a:gd name="connsiteX4" fmla="*/ 7144 w 57150"/>
                    <a:gd name="connsiteY4" fmla="*/ 38967 h 104775"/>
                    <a:gd name="connsiteX5" fmla="*/ 7144 w 57150"/>
                    <a:gd name="connsiteY5" fmla="*/ 31623 h 104775"/>
                    <a:gd name="connsiteX6" fmla="*/ 17897 w 57150"/>
                    <a:gd name="connsiteY6" fmla="*/ 31623 h 104775"/>
                    <a:gd name="connsiteX7" fmla="*/ 17897 w 57150"/>
                    <a:gd name="connsiteY7" fmla="*/ 15773 h 104775"/>
                    <a:gd name="connsiteX8" fmla="*/ 32185 w 57150"/>
                    <a:gd name="connsiteY8" fmla="*/ 7144 h 104775"/>
                    <a:gd name="connsiteX9" fmla="*/ 32185 w 57150"/>
                    <a:gd name="connsiteY9" fmla="*/ 31623 h 104775"/>
                    <a:gd name="connsiteX10" fmla="*/ 50568 w 57150"/>
                    <a:gd name="connsiteY10" fmla="*/ 31623 h 104775"/>
                    <a:gd name="connsiteX11" fmla="*/ 50568 w 57150"/>
                    <a:gd name="connsiteY11" fmla="*/ 38967 h 104775"/>
                    <a:gd name="connsiteX12" fmla="*/ 32185 w 57150"/>
                    <a:gd name="connsiteY12" fmla="*/ 38967 h 104775"/>
                    <a:gd name="connsiteX13" fmla="*/ 32185 w 57150"/>
                    <a:gd name="connsiteY13" fmla="*/ 77714 h 104775"/>
                    <a:gd name="connsiteX14" fmla="*/ 42367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77" y="100489"/>
                        <a:pt x="39119" y="100489"/>
                      </a:cubicBezTo>
                      <a:cubicBezTo>
                        <a:pt x="25679" y="100489"/>
                        <a:pt x="17897" y="96393"/>
                        <a:pt x="17897" y="83372"/>
                      </a:cubicBezTo>
                      <a:lnTo>
                        <a:pt x="17897" y="38967"/>
                      </a:lnTo>
                      <a:lnTo>
                        <a:pt x="7144" y="38967"/>
                      </a:lnTo>
                      <a:lnTo>
                        <a:pt x="7144" y="31623"/>
                      </a:lnTo>
                      <a:lnTo>
                        <a:pt x="17897" y="31623"/>
                      </a:lnTo>
                      <a:lnTo>
                        <a:pt x="17897" y="15773"/>
                      </a:lnTo>
                      <a:lnTo>
                        <a:pt x="32185" y="7144"/>
                      </a:lnTo>
                      <a:lnTo>
                        <a:pt x="32185" y="31623"/>
                      </a:lnTo>
                      <a:lnTo>
                        <a:pt x="50568" y="31623"/>
                      </a:lnTo>
                      <a:lnTo>
                        <a:pt x="50568" y="38967"/>
                      </a:lnTo>
                      <a:lnTo>
                        <a:pt x="32185" y="38967"/>
                      </a:lnTo>
                      <a:lnTo>
                        <a:pt x="32185" y="77714"/>
                      </a:lnTo>
                      <a:cubicBezTo>
                        <a:pt x="32185" y="87611"/>
                        <a:pt x="33176" y="92430"/>
                        <a:pt x="42367" y="92430"/>
                      </a:cubicBezTo>
                      <a:cubicBezTo>
                        <a:pt x="44625" y="92430"/>
                        <a:pt x="47034" y="92154"/>
                        <a:pt x="49006" y="91297"/>
                      </a:cubicBezTo>
                      <a:lnTo>
                        <a:pt x="49006" y="99498"/>
                      </a:lnTo>
                      <a:close/>
                    </a:path>
                  </a:pathLst>
                </a:custGeom>
                <a:solidFill>
                  <a:schemeClr val="bg1"/>
                </a:solidFill>
                <a:ln w="9525" cap="flat">
                  <a:noFill/>
                  <a:prstDash val="solid"/>
                  <a:miter/>
                </a:ln>
              </p:spPr>
              <p:txBody>
                <a:bodyPr rtlCol="0" anchor="ctr"/>
                <a:lstStyle/>
                <a:p>
                  <a:endParaRPr lang="ja-JP" altLang="en-US"/>
                </a:p>
              </p:txBody>
            </p:sp>
            <p:sp>
              <p:nvSpPr>
                <p:cNvPr id="1093" name="フリーフォーム: 図形 44"/>
                <p:cNvSpPr/>
                <p:nvPr/>
              </p:nvSpPr>
              <p:spPr>
                <a:xfrm>
                  <a:off x="801515"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094" name="フリーフォーム: 図形 45"/>
                <p:cNvSpPr/>
                <p:nvPr/>
              </p:nvSpPr>
              <p:spPr>
                <a:xfrm>
                  <a:off x="841253" y="5888037"/>
                  <a:ext cx="76200" cy="104775"/>
                </a:xfrm>
                <a:custGeom>
                  <a:avLst/>
                  <a:gdLst>
                    <a:gd name="connsiteX0" fmla="*/ 33033 w 76200"/>
                    <a:gd name="connsiteY0" fmla="*/ 75181 h 104775"/>
                    <a:gd name="connsiteX1" fmla="*/ 7144 w 76200"/>
                    <a:gd name="connsiteY1" fmla="*/ 7144 h 104775"/>
                    <a:gd name="connsiteX2" fmla="*/ 22003 w 76200"/>
                    <a:gd name="connsiteY2" fmla="*/ 7144 h 104775"/>
                    <a:gd name="connsiteX3" fmla="*/ 39681 w 76200"/>
                    <a:gd name="connsiteY3" fmla="*/ 55235 h 104775"/>
                    <a:gd name="connsiteX4" fmla="*/ 39957 w 76200"/>
                    <a:gd name="connsiteY4" fmla="*/ 55235 h 104775"/>
                    <a:gd name="connsiteX5" fmla="*/ 55797 w 76200"/>
                    <a:gd name="connsiteY5" fmla="*/ 7144 h 104775"/>
                    <a:gd name="connsiteX6" fmla="*/ 69237 w 76200"/>
                    <a:gd name="connsiteY6" fmla="*/ 7144 h 104775"/>
                    <a:gd name="connsiteX7" fmla="*/ 34576 w 76200"/>
                    <a:gd name="connsiteY7" fmla="*/ 104737 h 104775"/>
                    <a:gd name="connsiteX8" fmla="*/ 23117 w 76200"/>
                    <a:gd name="connsiteY8" fmla="*/ 104737 h 104775"/>
                    <a:gd name="connsiteX9" fmla="*/ 33033 w 76200"/>
                    <a:gd name="connsiteY9" fmla="*/ 7518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104775">
                      <a:moveTo>
                        <a:pt x="33033" y="75181"/>
                      </a:moveTo>
                      <a:lnTo>
                        <a:pt x="7144" y="7144"/>
                      </a:lnTo>
                      <a:lnTo>
                        <a:pt x="22003" y="7144"/>
                      </a:lnTo>
                      <a:lnTo>
                        <a:pt x="39681" y="55235"/>
                      </a:lnTo>
                      <a:lnTo>
                        <a:pt x="39957" y="55235"/>
                      </a:lnTo>
                      <a:lnTo>
                        <a:pt x="55797" y="7144"/>
                      </a:lnTo>
                      <a:lnTo>
                        <a:pt x="69237" y="7144"/>
                      </a:lnTo>
                      <a:lnTo>
                        <a:pt x="34576" y="104737"/>
                      </a:lnTo>
                      <a:lnTo>
                        <a:pt x="23117" y="104737"/>
                      </a:lnTo>
                      <a:lnTo>
                        <a:pt x="33033" y="75181"/>
                      </a:lnTo>
                      <a:close/>
                    </a:path>
                  </a:pathLst>
                </a:custGeom>
                <a:solidFill>
                  <a:schemeClr val="bg1"/>
                </a:solidFill>
                <a:ln w="9525" cap="flat">
                  <a:noFill/>
                  <a:prstDash val="solid"/>
                  <a:miter/>
                </a:ln>
              </p:spPr>
              <p:txBody>
                <a:bodyPr rtlCol="0" anchor="ctr"/>
                <a:lstStyle/>
                <a:p>
                  <a:endParaRPr lang="ja-JP" altLang="en-US"/>
                </a:p>
              </p:txBody>
            </p:sp>
            <p:sp>
              <p:nvSpPr>
                <p:cNvPr id="1095" name="フリーフォーム: 図形 46"/>
                <p:cNvSpPr/>
                <p:nvPr/>
              </p:nvSpPr>
              <p:spPr>
                <a:xfrm>
                  <a:off x="948762" y="5886475"/>
                  <a:ext cx="66675" cy="76200"/>
                </a:xfrm>
                <a:custGeom>
                  <a:avLst/>
                  <a:gdLst>
                    <a:gd name="connsiteX0" fmla="*/ 7144 w 66675"/>
                    <a:gd name="connsiteY0" fmla="*/ 42358 h 76200"/>
                    <a:gd name="connsiteX1" fmla="*/ 36843 w 66675"/>
                    <a:gd name="connsiteY1" fmla="*/ 7144 h 76200"/>
                    <a:gd name="connsiteX2" fmla="*/ 66694 w 66675"/>
                    <a:gd name="connsiteY2" fmla="*/ 42358 h 76200"/>
                    <a:gd name="connsiteX3" fmla="*/ 36843 w 66675"/>
                    <a:gd name="connsiteY3" fmla="*/ 77571 h 76200"/>
                    <a:gd name="connsiteX4" fmla="*/ 7144 w 66675"/>
                    <a:gd name="connsiteY4" fmla="*/ 42358 h 76200"/>
                    <a:gd name="connsiteX5" fmla="*/ 36843 w 66675"/>
                    <a:gd name="connsiteY5" fmla="*/ 71647 h 76200"/>
                    <a:gd name="connsiteX6" fmla="*/ 51130 w 66675"/>
                    <a:gd name="connsiteY6" fmla="*/ 42367 h 76200"/>
                    <a:gd name="connsiteX7" fmla="*/ 36843 w 66675"/>
                    <a:gd name="connsiteY7" fmla="*/ 13087 h 76200"/>
                    <a:gd name="connsiteX8" fmla="*/ 22708 w 66675"/>
                    <a:gd name="connsiteY8" fmla="*/ 42367 h 76200"/>
                    <a:gd name="connsiteX9" fmla="*/ 36843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40" y="7144"/>
                        <a:pt x="36843" y="7144"/>
                      </a:cubicBezTo>
                      <a:cubicBezTo>
                        <a:pt x="56645" y="7144"/>
                        <a:pt x="66694" y="19593"/>
                        <a:pt x="66694" y="42358"/>
                      </a:cubicBezTo>
                      <a:cubicBezTo>
                        <a:pt x="66694" y="65122"/>
                        <a:pt x="56645" y="77571"/>
                        <a:pt x="36843" y="77571"/>
                      </a:cubicBezTo>
                      <a:cubicBezTo>
                        <a:pt x="17040" y="77571"/>
                        <a:pt x="7144" y="65132"/>
                        <a:pt x="7144" y="42358"/>
                      </a:cubicBezTo>
                      <a:close/>
                      <a:moveTo>
                        <a:pt x="36843" y="71647"/>
                      </a:moveTo>
                      <a:cubicBezTo>
                        <a:pt x="49578" y="71647"/>
                        <a:pt x="51130" y="54683"/>
                        <a:pt x="51130" y="42367"/>
                      </a:cubicBezTo>
                      <a:cubicBezTo>
                        <a:pt x="51130" y="30070"/>
                        <a:pt x="49578" y="13087"/>
                        <a:pt x="36843" y="13087"/>
                      </a:cubicBezTo>
                      <a:cubicBezTo>
                        <a:pt x="24260" y="13087"/>
                        <a:pt x="22708" y="30070"/>
                        <a:pt x="22708" y="42367"/>
                      </a:cubicBezTo>
                      <a:cubicBezTo>
                        <a:pt x="22698" y="54673"/>
                        <a:pt x="24251" y="71647"/>
                        <a:pt x="36843" y="71647"/>
                      </a:cubicBezTo>
                      <a:close/>
                    </a:path>
                  </a:pathLst>
                </a:custGeom>
                <a:solidFill>
                  <a:schemeClr val="bg1"/>
                </a:solidFill>
                <a:ln w="9525" cap="flat">
                  <a:noFill/>
                  <a:prstDash val="solid"/>
                  <a:miter/>
                </a:ln>
              </p:spPr>
              <p:txBody>
                <a:bodyPr rtlCol="0" anchor="ctr"/>
                <a:lstStyle/>
                <a:p>
                  <a:endParaRPr lang="ja-JP" altLang="en-US"/>
                </a:p>
              </p:txBody>
            </p:sp>
            <p:sp>
              <p:nvSpPr>
                <p:cNvPr id="1096" name="フリーフォーム: 図形 47"/>
                <p:cNvSpPr/>
                <p:nvPr/>
              </p:nvSpPr>
              <p:spPr>
                <a:xfrm>
                  <a:off x="1017637" y="5856214"/>
                  <a:ext cx="57150" cy="104775"/>
                </a:xfrm>
                <a:custGeom>
                  <a:avLst/>
                  <a:gdLst>
                    <a:gd name="connsiteX0" fmla="*/ 18878 w 57150"/>
                    <a:gd name="connsiteY0" fmla="*/ 46320 h 104775"/>
                    <a:gd name="connsiteX1" fmla="*/ 7144 w 57150"/>
                    <a:gd name="connsiteY1" fmla="*/ 46320 h 104775"/>
                    <a:gd name="connsiteX2" fmla="*/ 7144 w 57150"/>
                    <a:gd name="connsiteY2" fmla="*/ 38976 h 104775"/>
                    <a:gd name="connsiteX3" fmla="*/ 18878 w 57150"/>
                    <a:gd name="connsiteY3" fmla="*/ 38976 h 104775"/>
                    <a:gd name="connsiteX4" fmla="*/ 18878 w 57150"/>
                    <a:gd name="connsiteY4" fmla="*/ 32613 h 104775"/>
                    <a:gd name="connsiteX5" fmla="*/ 44482 w 57150"/>
                    <a:gd name="connsiteY5" fmla="*/ 7144 h 104775"/>
                    <a:gd name="connsiteX6" fmla="*/ 58769 w 57150"/>
                    <a:gd name="connsiteY6" fmla="*/ 8706 h 104775"/>
                    <a:gd name="connsiteX7" fmla="*/ 58769 w 57150"/>
                    <a:gd name="connsiteY7" fmla="*/ 18450 h 104775"/>
                    <a:gd name="connsiteX8" fmla="*/ 46177 w 57150"/>
                    <a:gd name="connsiteY8" fmla="*/ 15345 h 104775"/>
                    <a:gd name="connsiteX9" fmla="*/ 33166 w 57150"/>
                    <a:gd name="connsiteY9" fmla="*/ 30899 h 104775"/>
                    <a:gd name="connsiteX10" fmla="*/ 33166 w 57150"/>
                    <a:gd name="connsiteY10" fmla="*/ 38976 h 104775"/>
                    <a:gd name="connsiteX11" fmla="*/ 52264 w 57150"/>
                    <a:gd name="connsiteY11" fmla="*/ 38976 h 104775"/>
                    <a:gd name="connsiteX12" fmla="*/ 52264 w 57150"/>
                    <a:gd name="connsiteY12" fmla="*/ 46320 h 104775"/>
                    <a:gd name="connsiteX13" fmla="*/ 33166 w 57150"/>
                    <a:gd name="connsiteY13" fmla="*/ 46320 h 104775"/>
                    <a:gd name="connsiteX14" fmla="*/ 33166 w 57150"/>
                    <a:gd name="connsiteY14" fmla="*/ 106299 h 104775"/>
                    <a:gd name="connsiteX15" fmla="*/ 18878 w 57150"/>
                    <a:gd name="connsiteY15" fmla="*/ 106299 h 104775"/>
                    <a:gd name="connsiteX16" fmla="*/ 18878 w 57150"/>
                    <a:gd name="connsiteY16" fmla="*/ 463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18878" y="46320"/>
                      </a:moveTo>
                      <a:lnTo>
                        <a:pt x="7144" y="46320"/>
                      </a:lnTo>
                      <a:lnTo>
                        <a:pt x="7144" y="38976"/>
                      </a:lnTo>
                      <a:lnTo>
                        <a:pt x="18878" y="38976"/>
                      </a:lnTo>
                      <a:lnTo>
                        <a:pt x="18878" y="32613"/>
                      </a:lnTo>
                      <a:cubicBezTo>
                        <a:pt x="18878" y="20145"/>
                        <a:pt x="21860" y="7144"/>
                        <a:pt x="44482" y="7144"/>
                      </a:cubicBezTo>
                      <a:cubicBezTo>
                        <a:pt x="50273" y="7144"/>
                        <a:pt x="55378" y="8001"/>
                        <a:pt x="58769" y="8706"/>
                      </a:cubicBezTo>
                      <a:lnTo>
                        <a:pt x="58769" y="18450"/>
                      </a:lnTo>
                      <a:cubicBezTo>
                        <a:pt x="55788" y="17183"/>
                        <a:pt x="51978" y="15345"/>
                        <a:pt x="46177" y="15345"/>
                      </a:cubicBezTo>
                      <a:cubicBezTo>
                        <a:pt x="34576" y="15345"/>
                        <a:pt x="33166" y="23698"/>
                        <a:pt x="33166" y="30899"/>
                      </a:cubicBezTo>
                      <a:lnTo>
                        <a:pt x="33166" y="38976"/>
                      </a:lnTo>
                      <a:lnTo>
                        <a:pt x="52264" y="38976"/>
                      </a:lnTo>
                      <a:lnTo>
                        <a:pt x="52264" y="46320"/>
                      </a:lnTo>
                      <a:lnTo>
                        <a:pt x="33166" y="46320"/>
                      </a:lnTo>
                      <a:lnTo>
                        <a:pt x="33166" y="106299"/>
                      </a:lnTo>
                      <a:lnTo>
                        <a:pt x="18878" y="106299"/>
                      </a:lnTo>
                      <a:lnTo>
                        <a:pt x="18878" y="46320"/>
                      </a:lnTo>
                      <a:close/>
                    </a:path>
                  </a:pathLst>
                </a:custGeom>
                <a:solidFill>
                  <a:schemeClr val="bg1"/>
                </a:solidFill>
                <a:ln w="9525" cap="flat">
                  <a:noFill/>
                  <a:prstDash val="solid"/>
                  <a:miter/>
                </a:ln>
              </p:spPr>
              <p:txBody>
                <a:bodyPr rtlCol="0" anchor="ctr"/>
                <a:lstStyle/>
                <a:p>
                  <a:endParaRPr lang="ja-JP" altLang="en-US"/>
                </a:p>
              </p:txBody>
            </p:sp>
            <p:sp>
              <p:nvSpPr>
                <p:cNvPr id="1097" name="フリーフォーム: 図形 48"/>
                <p:cNvSpPr/>
                <p:nvPr/>
              </p:nvSpPr>
              <p:spPr>
                <a:xfrm>
                  <a:off x="1114811" y="5857776"/>
                  <a:ext cx="57150" cy="104775"/>
                </a:xfrm>
                <a:custGeom>
                  <a:avLst/>
                  <a:gdLst>
                    <a:gd name="connsiteX0" fmla="*/ 7144 w 57150"/>
                    <a:gd name="connsiteY0" fmla="*/ 7144 h 104775"/>
                    <a:gd name="connsiteX1" fmla="*/ 22708 w 57150"/>
                    <a:gd name="connsiteY1" fmla="*/ 7144 h 104775"/>
                    <a:gd name="connsiteX2" fmla="*/ 22708 w 57150"/>
                    <a:gd name="connsiteY2" fmla="*/ 94545 h 104775"/>
                    <a:gd name="connsiteX3" fmla="*/ 58769 w 57150"/>
                    <a:gd name="connsiteY3" fmla="*/ 94545 h 104775"/>
                    <a:gd name="connsiteX4" fmla="*/ 58769 w 57150"/>
                    <a:gd name="connsiteY4" fmla="*/ 104737 h 104775"/>
                    <a:gd name="connsiteX5" fmla="*/ 7144 w 57150"/>
                    <a:gd name="connsiteY5" fmla="*/ 104737 h 104775"/>
                    <a:gd name="connsiteX6" fmla="*/ 7144 w 57150"/>
                    <a:gd name="connsiteY6"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04775">
                      <a:moveTo>
                        <a:pt x="7144" y="7144"/>
                      </a:moveTo>
                      <a:lnTo>
                        <a:pt x="22708" y="7144"/>
                      </a:lnTo>
                      <a:lnTo>
                        <a:pt x="22708" y="94545"/>
                      </a:lnTo>
                      <a:lnTo>
                        <a:pt x="58769" y="94545"/>
                      </a:lnTo>
                      <a:lnTo>
                        <a:pt x="58769" y="104737"/>
                      </a:lnTo>
                      <a:lnTo>
                        <a:pt x="7144" y="104737"/>
                      </a:lnTo>
                      <a:lnTo>
                        <a:pt x="7144" y="7144"/>
                      </a:lnTo>
                      <a:close/>
                    </a:path>
                  </a:pathLst>
                </a:custGeom>
                <a:solidFill>
                  <a:schemeClr val="bg1"/>
                </a:solidFill>
                <a:ln w="9525" cap="flat">
                  <a:noFill/>
                  <a:prstDash val="solid"/>
                  <a:miter/>
                </a:ln>
              </p:spPr>
              <p:txBody>
                <a:bodyPr rtlCol="0" anchor="ctr"/>
                <a:lstStyle/>
                <a:p>
                  <a:endParaRPr lang="ja-JP" altLang="en-US"/>
                </a:p>
              </p:txBody>
            </p:sp>
            <p:sp>
              <p:nvSpPr>
                <p:cNvPr id="1098" name="フリーフォーム: 図形 49"/>
                <p:cNvSpPr/>
                <p:nvPr/>
              </p:nvSpPr>
              <p:spPr>
                <a:xfrm>
                  <a:off x="1172523" y="5886475"/>
                  <a:ext cx="57150" cy="76200"/>
                </a:xfrm>
                <a:custGeom>
                  <a:avLst/>
                  <a:gdLst>
                    <a:gd name="connsiteX0" fmla="*/ 44768 w 57150"/>
                    <a:gd name="connsiteY0" fmla="*/ 66694 h 76200"/>
                    <a:gd name="connsiteX1" fmla="*/ 44491 w 57150"/>
                    <a:gd name="connsiteY1" fmla="*/ 66694 h 76200"/>
                    <a:gd name="connsiteX2" fmla="*/ 25537 w 57150"/>
                    <a:gd name="connsiteY2" fmla="*/ 77581 h 76200"/>
                    <a:gd name="connsiteX3" fmla="*/ 7144 w 57150"/>
                    <a:gd name="connsiteY3" fmla="*/ 60760 h 76200"/>
                    <a:gd name="connsiteX4" fmla="*/ 44768 w 57150"/>
                    <a:gd name="connsiteY4" fmla="*/ 38548 h 76200"/>
                    <a:gd name="connsiteX5" fmla="*/ 44768 w 57150"/>
                    <a:gd name="connsiteY5" fmla="*/ 32613 h 76200"/>
                    <a:gd name="connsiteX6" fmla="*/ 35290 w 57150"/>
                    <a:gd name="connsiteY6" fmla="*/ 13078 h 76200"/>
                    <a:gd name="connsiteX7" fmla="*/ 24394 w 57150"/>
                    <a:gd name="connsiteY7" fmla="*/ 27794 h 76200"/>
                    <a:gd name="connsiteX8" fmla="*/ 9401 w 57150"/>
                    <a:gd name="connsiteY8" fmla="*/ 27794 h 76200"/>
                    <a:gd name="connsiteX9" fmla="*/ 35290 w 57150"/>
                    <a:gd name="connsiteY9" fmla="*/ 7144 h 76200"/>
                    <a:gd name="connsiteX10" fmla="*/ 59055 w 57150"/>
                    <a:gd name="connsiteY10" fmla="*/ 32613 h 76200"/>
                    <a:gd name="connsiteX11" fmla="*/ 59055 w 57150"/>
                    <a:gd name="connsiteY11" fmla="*/ 76038 h 76200"/>
                    <a:gd name="connsiteX12" fmla="*/ 44768 w 57150"/>
                    <a:gd name="connsiteY12" fmla="*/ 76038 h 76200"/>
                    <a:gd name="connsiteX13" fmla="*/ 44768 w 57150"/>
                    <a:gd name="connsiteY13" fmla="*/ 66694 h 76200"/>
                    <a:gd name="connsiteX14" fmla="*/ 44768 w 57150"/>
                    <a:gd name="connsiteY14" fmla="*/ 44482 h 76200"/>
                    <a:gd name="connsiteX15" fmla="*/ 22708 w 57150"/>
                    <a:gd name="connsiteY15" fmla="*/ 58636 h 76200"/>
                    <a:gd name="connsiteX16" fmla="*/ 30909 w 57150"/>
                    <a:gd name="connsiteY16" fmla="*/ 68666 h 76200"/>
                    <a:gd name="connsiteX17" fmla="*/ 44768 w 57150"/>
                    <a:gd name="connsiteY17" fmla="*/ 52406 h 76200"/>
                    <a:gd name="connsiteX18" fmla="*/ 44768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68" y="66694"/>
                      </a:moveTo>
                      <a:lnTo>
                        <a:pt x="44491" y="66694"/>
                      </a:lnTo>
                      <a:cubicBezTo>
                        <a:pt x="42224" y="70656"/>
                        <a:pt x="36290" y="77581"/>
                        <a:pt x="25537" y="77581"/>
                      </a:cubicBezTo>
                      <a:cubicBezTo>
                        <a:pt x="14926" y="77581"/>
                        <a:pt x="7144" y="70085"/>
                        <a:pt x="7144" y="60760"/>
                      </a:cubicBezTo>
                      <a:cubicBezTo>
                        <a:pt x="7144" y="39957"/>
                        <a:pt x="35862" y="38976"/>
                        <a:pt x="44768" y="38548"/>
                      </a:cubicBezTo>
                      <a:lnTo>
                        <a:pt x="44768" y="32613"/>
                      </a:lnTo>
                      <a:cubicBezTo>
                        <a:pt x="44768" y="25251"/>
                        <a:pt x="44768" y="13078"/>
                        <a:pt x="35290" y="13078"/>
                      </a:cubicBezTo>
                      <a:cubicBezTo>
                        <a:pt x="26518" y="13078"/>
                        <a:pt x="24965" y="19869"/>
                        <a:pt x="24394" y="27794"/>
                      </a:cubicBezTo>
                      <a:lnTo>
                        <a:pt x="9401" y="27794"/>
                      </a:lnTo>
                      <a:cubicBezTo>
                        <a:pt x="10106" y="17745"/>
                        <a:pt x="14069" y="7144"/>
                        <a:pt x="35290" y="7144"/>
                      </a:cubicBezTo>
                      <a:cubicBezTo>
                        <a:pt x="57217" y="7144"/>
                        <a:pt x="59055" y="19440"/>
                        <a:pt x="59055" y="32613"/>
                      </a:cubicBezTo>
                      <a:lnTo>
                        <a:pt x="59055" y="76038"/>
                      </a:lnTo>
                      <a:lnTo>
                        <a:pt x="44768" y="76038"/>
                      </a:lnTo>
                      <a:lnTo>
                        <a:pt x="44768" y="66694"/>
                      </a:lnTo>
                      <a:close/>
                      <a:moveTo>
                        <a:pt x="44768" y="44482"/>
                      </a:moveTo>
                      <a:cubicBezTo>
                        <a:pt x="38824" y="44910"/>
                        <a:pt x="22708" y="46177"/>
                        <a:pt x="22708" y="58636"/>
                      </a:cubicBezTo>
                      <a:cubicBezTo>
                        <a:pt x="22708" y="64703"/>
                        <a:pt x="26241" y="68666"/>
                        <a:pt x="30909" y="68666"/>
                      </a:cubicBezTo>
                      <a:cubicBezTo>
                        <a:pt x="35862" y="68666"/>
                        <a:pt x="44768" y="63865"/>
                        <a:pt x="44768" y="52406"/>
                      </a:cubicBezTo>
                      <a:lnTo>
                        <a:pt x="44768" y="44482"/>
                      </a:lnTo>
                      <a:close/>
                    </a:path>
                  </a:pathLst>
                </a:custGeom>
                <a:solidFill>
                  <a:schemeClr val="bg1"/>
                </a:solidFill>
                <a:ln w="9525" cap="flat">
                  <a:noFill/>
                  <a:prstDash val="solid"/>
                  <a:miter/>
                </a:ln>
              </p:spPr>
              <p:txBody>
                <a:bodyPr rtlCol="0" anchor="ctr"/>
                <a:lstStyle/>
                <a:p>
                  <a:endParaRPr lang="ja-JP" altLang="en-US"/>
                </a:p>
              </p:txBody>
            </p:sp>
            <p:sp>
              <p:nvSpPr>
                <p:cNvPr id="1099" name="フリーフォーム: 図形 50"/>
                <p:cNvSpPr/>
                <p:nvPr/>
              </p:nvSpPr>
              <p:spPr>
                <a:xfrm>
                  <a:off x="1245075"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03 w 66675"/>
                    <a:gd name="connsiteY5" fmla="*/ 26803 h 76200"/>
                    <a:gd name="connsiteX6" fmla="*/ 62303 w 66675"/>
                    <a:gd name="connsiteY6" fmla="*/ 76029 h 76200"/>
                    <a:gd name="connsiteX7" fmla="*/ 48016 w 66675"/>
                    <a:gd name="connsiteY7" fmla="*/ 76029 h 76200"/>
                    <a:gd name="connsiteX8" fmla="*/ 48016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74" y="19736"/>
                        <a:pt x="30489" y="7144"/>
                        <a:pt x="45339" y="7144"/>
                      </a:cubicBezTo>
                      <a:cubicBezTo>
                        <a:pt x="57217" y="7144"/>
                        <a:pt x="62303" y="17040"/>
                        <a:pt x="62303" y="26803"/>
                      </a:cubicBezTo>
                      <a:lnTo>
                        <a:pt x="62303" y="76029"/>
                      </a:lnTo>
                      <a:lnTo>
                        <a:pt x="48016" y="76029"/>
                      </a:lnTo>
                      <a:lnTo>
                        <a:pt x="48016" y="33871"/>
                      </a:lnTo>
                      <a:cubicBezTo>
                        <a:pt x="48016" y="25384"/>
                        <a:pt x="46749" y="17745"/>
                        <a:pt x="39529" y="17745"/>
                      </a:cubicBezTo>
                      <a:cubicBezTo>
                        <a:pt x="2538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00" name="フリーフォーム: 図形 51"/>
                <p:cNvSpPr/>
                <p:nvPr/>
              </p:nvSpPr>
              <p:spPr>
                <a:xfrm>
                  <a:off x="1316379" y="5857776"/>
                  <a:ext cx="66675" cy="104775"/>
                </a:xfrm>
                <a:custGeom>
                  <a:avLst/>
                  <a:gdLst>
                    <a:gd name="connsiteX0" fmla="*/ 50283 w 66675"/>
                    <a:gd name="connsiteY0" fmla="*/ 93697 h 104775"/>
                    <a:gd name="connsiteX1" fmla="*/ 49997 w 66675"/>
                    <a:gd name="connsiteY1" fmla="*/ 93697 h 104775"/>
                    <a:gd name="connsiteX2" fmla="*/ 32461 w 66675"/>
                    <a:gd name="connsiteY2" fmla="*/ 106270 h 104775"/>
                    <a:gd name="connsiteX3" fmla="*/ 7144 w 66675"/>
                    <a:gd name="connsiteY3" fmla="*/ 71056 h 104775"/>
                    <a:gd name="connsiteX4" fmla="*/ 32461 w 66675"/>
                    <a:gd name="connsiteY4" fmla="*/ 35843 h 104775"/>
                    <a:gd name="connsiteX5" fmla="*/ 49997 w 66675"/>
                    <a:gd name="connsiteY5" fmla="*/ 46729 h 104775"/>
                    <a:gd name="connsiteX6" fmla="*/ 50283 w 66675"/>
                    <a:gd name="connsiteY6" fmla="*/ 46729 h 104775"/>
                    <a:gd name="connsiteX7" fmla="*/ 50283 w 66675"/>
                    <a:gd name="connsiteY7" fmla="*/ 7144 h 104775"/>
                    <a:gd name="connsiteX8" fmla="*/ 64570 w 66675"/>
                    <a:gd name="connsiteY8" fmla="*/ 7144 h 104775"/>
                    <a:gd name="connsiteX9" fmla="*/ 64570 w 66675"/>
                    <a:gd name="connsiteY9" fmla="*/ 104737 h 104775"/>
                    <a:gd name="connsiteX10" fmla="*/ 50283 w 66675"/>
                    <a:gd name="connsiteY10" fmla="*/ 104737 h 104775"/>
                    <a:gd name="connsiteX11" fmla="*/ 50283 w 66675"/>
                    <a:gd name="connsiteY11" fmla="*/ 93697 h 104775"/>
                    <a:gd name="connsiteX12" fmla="*/ 36271 w 66675"/>
                    <a:gd name="connsiteY12" fmla="*/ 97241 h 104775"/>
                    <a:gd name="connsiteX13" fmla="*/ 49711 w 66675"/>
                    <a:gd name="connsiteY13" fmla="*/ 71066 h 104775"/>
                    <a:gd name="connsiteX14" fmla="*/ 36271 w 66675"/>
                    <a:gd name="connsiteY14" fmla="*/ 44053 h 104775"/>
                    <a:gd name="connsiteX15" fmla="*/ 22689 w 66675"/>
                    <a:gd name="connsiteY15" fmla="*/ 71066 h 104775"/>
                    <a:gd name="connsiteX16" fmla="*/ 36271 w 66675"/>
                    <a:gd name="connsiteY16" fmla="*/ 9724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0283" y="93697"/>
                      </a:moveTo>
                      <a:lnTo>
                        <a:pt x="49997" y="93697"/>
                      </a:lnTo>
                      <a:cubicBezTo>
                        <a:pt x="48016" y="98222"/>
                        <a:pt x="43358" y="106270"/>
                        <a:pt x="32461" y="106270"/>
                      </a:cubicBezTo>
                      <a:cubicBezTo>
                        <a:pt x="13078" y="106270"/>
                        <a:pt x="7144" y="90440"/>
                        <a:pt x="7144" y="71056"/>
                      </a:cubicBezTo>
                      <a:cubicBezTo>
                        <a:pt x="7144" y="50835"/>
                        <a:pt x="14640" y="35843"/>
                        <a:pt x="32461" y="35843"/>
                      </a:cubicBezTo>
                      <a:cubicBezTo>
                        <a:pt x="43910" y="35843"/>
                        <a:pt x="48016" y="43062"/>
                        <a:pt x="49997" y="46729"/>
                      </a:cubicBezTo>
                      <a:lnTo>
                        <a:pt x="50283" y="46729"/>
                      </a:lnTo>
                      <a:lnTo>
                        <a:pt x="50283" y="7144"/>
                      </a:lnTo>
                      <a:lnTo>
                        <a:pt x="64570" y="7144"/>
                      </a:lnTo>
                      <a:lnTo>
                        <a:pt x="64570" y="104737"/>
                      </a:lnTo>
                      <a:lnTo>
                        <a:pt x="50283" y="104737"/>
                      </a:lnTo>
                      <a:lnTo>
                        <a:pt x="50283" y="93697"/>
                      </a:lnTo>
                      <a:close/>
                      <a:moveTo>
                        <a:pt x="36271" y="97241"/>
                      </a:moveTo>
                      <a:cubicBezTo>
                        <a:pt x="48006" y="97241"/>
                        <a:pt x="49711" y="82248"/>
                        <a:pt x="49711" y="71066"/>
                      </a:cubicBezTo>
                      <a:cubicBezTo>
                        <a:pt x="49711" y="59331"/>
                        <a:pt x="48578" y="44053"/>
                        <a:pt x="36271" y="44053"/>
                      </a:cubicBezTo>
                      <a:cubicBezTo>
                        <a:pt x="25098" y="44053"/>
                        <a:pt x="22689" y="59331"/>
                        <a:pt x="22689" y="71066"/>
                      </a:cubicBezTo>
                      <a:cubicBezTo>
                        <a:pt x="22689" y="82239"/>
                        <a:pt x="24822" y="97241"/>
                        <a:pt x="36271" y="97241"/>
                      </a:cubicBezTo>
                      <a:close/>
                    </a:path>
                  </a:pathLst>
                </a:custGeom>
                <a:solidFill>
                  <a:schemeClr val="bg1"/>
                </a:solidFill>
                <a:ln w="9525" cap="flat">
                  <a:noFill/>
                  <a:prstDash val="solid"/>
                  <a:miter/>
                </a:ln>
              </p:spPr>
              <p:txBody>
                <a:bodyPr rtlCol="0" anchor="ctr"/>
                <a:lstStyle/>
                <a:p>
                  <a:endParaRPr lang="ja-JP" altLang="en-US"/>
                </a:p>
              </p:txBody>
            </p:sp>
            <p:sp>
              <p:nvSpPr>
                <p:cNvPr id="1101" name="フリーフォーム: 図形 52"/>
                <p:cNvSpPr/>
                <p:nvPr/>
              </p:nvSpPr>
              <p:spPr>
                <a:xfrm>
                  <a:off x="1392189" y="5938252"/>
                  <a:ext cx="28575" cy="38100"/>
                </a:xfrm>
                <a:custGeom>
                  <a:avLst/>
                  <a:gdLst>
                    <a:gd name="connsiteX0" fmla="*/ 8411 w 28575"/>
                    <a:gd name="connsiteY0" fmla="*/ 7144 h 38100"/>
                    <a:gd name="connsiteX1" fmla="*/ 24822 w 28575"/>
                    <a:gd name="connsiteY1" fmla="*/ 7144 h 38100"/>
                    <a:gd name="connsiteX2" fmla="*/ 18459 w 28575"/>
                    <a:gd name="connsiteY2" fmla="*/ 39253 h 38100"/>
                    <a:gd name="connsiteX3" fmla="*/ 7144 w 28575"/>
                    <a:gd name="connsiteY3" fmla="*/ 39253 h 38100"/>
                    <a:gd name="connsiteX4" fmla="*/ 8411 w 28575"/>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8411" y="7144"/>
                      </a:moveTo>
                      <a:lnTo>
                        <a:pt x="24822" y="7144"/>
                      </a:lnTo>
                      <a:lnTo>
                        <a:pt x="18459" y="39253"/>
                      </a:lnTo>
                      <a:lnTo>
                        <a:pt x="7144" y="39253"/>
                      </a:lnTo>
                      <a:lnTo>
                        <a:pt x="8411" y="7144"/>
                      </a:lnTo>
                      <a:close/>
                    </a:path>
                  </a:pathLst>
                </a:custGeom>
                <a:solidFill>
                  <a:schemeClr val="bg1"/>
                </a:solidFill>
                <a:ln w="9525" cap="flat">
                  <a:noFill/>
                  <a:prstDash val="solid"/>
                  <a:miter/>
                </a:ln>
              </p:spPr>
              <p:txBody>
                <a:bodyPr rtlCol="0" anchor="ctr"/>
                <a:lstStyle/>
                <a:p>
                  <a:endParaRPr lang="ja-JP" altLang="en-US"/>
                </a:p>
              </p:txBody>
            </p:sp>
            <p:sp>
              <p:nvSpPr>
                <p:cNvPr id="1102" name="フリーフォーム: 図形 53"/>
                <p:cNvSpPr/>
                <p:nvPr/>
              </p:nvSpPr>
              <p:spPr>
                <a:xfrm>
                  <a:off x="1466722" y="5857776"/>
                  <a:ext cx="28575" cy="104775"/>
                </a:xfrm>
                <a:custGeom>
                  <a:avLst/>
                  <a:gdLst>
                    <a:gd name="connsiteX0" fmla="*/ 7144 w 28575"/>
                    <a:gd name="connsiteY0" fmla="*/ 7144 h 104775"/>
                    <a:gd name="connsiteX1" fmla="*/ 22708 w 28575"/>
                    <a:gd name="connsiteY1" fmla="*/ 7144 h 104775"/>
                    <a:gd name="connsiteX2" fmla="*/ 22708 w 28575"/>
                    <a:gd name="connsiteY2" fmla="*/ 104737 h 104775"/>
                    <a:gd name="connsiteX3" fmla="*/ 7144 w 28575"/>
                    <a:gd name="connsiteY3" fmla="*/ 104737 h 104775"/>
                    <a:gd name="connsiteX4" fmla="*/ 7144 w 28575"/>
                    <a:gd name="connsiteY4" fmla="*/ 714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104775">
                      <a:moveTo>
                        <a:pt x="7144" y="7144"/>
                      </a:moveTo>
                      <a:lnTo>
                        <a:pt x="22708" y="7144"/>
                      </a:lnTo>
                      <a:lnTo>
                        <a:pt x="22708" y="104737"/>
                      </a:lnTo>
                      <a:lnTo>
                        <a:pt x="7144" y="104737"/>
                      </a:lnTo>
                      <a:lnTo>
                        <a:pt x="7144" y="7144"/>
                      </a:lnTo>
                      <a:close/>
                    </a:path>
                  </a:pathLst>
                </a:custGeom>
                <a:solidFill>
                  <a:schemeClr val="bg1"/>
                </a:solidFill>
                <a:ln w="9525" cap="flat">
                  <a:noFill/>
                  <a:prstDash val="solid"/>
                  <a:miter/>
                </a:ln>
              </p:spPr>
              <p:txBody>
                <a:bodyPr rtlCol="0" anchor="ctr"/>
                <a:lstStyle/>
                <a:p>
                  <a:endParaRPr lang="ja-JP" altLang="en-US"/>
                </a:p>
              </p:txBody>
            </p:sp>
            <p:sp>
              <p:nvSpPr>
                <p:cNvPr id="1103" name="フリーフォーム: 図形 54"/>
                <p:cNvSpPr/>
                <p:nvPr/>
              </p:nvSpPr>
              <p:spPr>
                <a:xfrm>
                  <a:off x="1504622"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13 w 66675"/>
                    <a:gd name="connsiteY5" fmla="*/ 26803 h 76200"/>
                    <a:gd name="connsiteX6" fmla="*/ 62313 w 66675"/>
                    <a:gd name="connsiteY6" fmla="*/ 76029 h 76200"/>
                    <a:gd name="connsiteX7" fmla="*/ 48025 w 66675"/>
                    <a:gd name="connsiteY7" fmla="*/ 76029 h 76200"/>
                    <a:gd name="connsiteX8" fmla="*/ 48025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84" y="19736"/>
                        <a:pt x="30490" y="7144"/>
                        <a:pt x="45339" y="7144"/>
                      </a:cubicBezTo>
                      <a:cubicBezTo>
                        <a:pt x="57217" y="7144"/>
                        <a:pt x="62313" y="17040"/>
                        <a:pt x="62313" y="26803"/>
                      </a:cubicBezTo>
                      <a:lnTo>
                        <a:pt x="62313" y="76029"/>
                      </a:lnTo>
                      <a:lnTo>
                        <a:pt x="48025" y="76029"/>
                      </a:lnTo>
                      <a:lnTo>
                        <a:pt x="48025" y="33871"/>
                      </a:lnTo>
                      <a:cubicBezTo>
                        <a:pt x="48025" y="25384"/>
                        <a:pt x="46749" y="17745"/>
                        <a:pt x="39529" y="17745"/>
                      </a:cubicBezTo>
                      <a:cubicBezTo>
                        <a:pt x="2539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04" name="フリーフォーム: 図形 55"/>
                <p:cNvSpPr/>
                <p:nvPr/>
              </p:nvSpPr>
              <p:spPr>
                <a:xfrm>
                  <a:off x="1573945" y="5856214"/>
                  <a:ext cx="57150" cy="104775"/>
                </a:xfrm>
                <a:custGeom>
                  <a:avLst/>
                  <a:gdLst>
                    <a:gd name="connsiteX0" fmla="*/ 18878 w 57150"/>
                    <a:gd name="connsiteY0" fmla="*/ 46320 h 104775"/>
                    <a:gd name="connsiteX1" fmla="*/ 7144 w 57150"/>
                    <a:gd name="connsiteY1" fmla="*/ 46320 h 104775"/>
                    <a:gd name="connsiteX2" fmla="*/ 7144 w 57150"/>
                    <a:gd name="connsiteY2" fmla="*/ 38976 h 104775"/>
                    <a:gd name="connsiteX3" fmla="*/ 18878 w 57150"/>
                    <a:gd name="connsiteY3" fmla="*/ 38976 h 104775"/>
                    <a:gd name="connsiteX4" fmla="*/ 18878 w 57150"/>
                    <a:gd name="connsiteY4" fmla="*/ 32613 h 104775"/>
                    <a:gd name="connsiteX5" fmla="*/ 44482 w 57150"/>
                    <a:gd name="connsiteY5" fmla="*/ 7144 h 104775"/>
                    <a:gd name="connsiteX6" fmla="*/ 58769 w 57150"/>
                    <a:gd name="connsiteY6" fmla="*/ 8706 h 104775"/>
                    <a:gd name="connsiteX7" fmla="*/ 58769 w 57150"/>
                    <a:gd name="connsiteY7" fmla="*/ 18450 h 104775"/>
                    <a:gd name="connsiteX8" fmla="*/ 46177 w 57150"/>
                    <a:gd name="connsiteY8" fmla="*/ 15345 h 104775"/>
                    <a:gd name="connsiteX9" fmla="*/ 33166 w 57150"/>
                    <a:gd name="connsiteY9" fmla="*/ 30899 h 104775"/>
                    <a:gd name="connsiteX10" fmla="*/ 33166 w 57150"/>
                    <a:gd name="connsiteY10" fmla="*/ 38976 h 104775"/>
                    <a:gd name="connsiteX11" fmla="*/ 52264 w 57150"/>
                    <a:gd name="connsiteY11" fmla="*/ 38976 h 104775"/>
                    <a:gd name="connsiteX12" fmla="*/ 52264 w 57150"/>
                    <a:gd name="connsiteY12" fmla="*/ 46320 h 104775"/>
                    <a:gd name="connsiteX13" fmla="*/ 33166 w 57150"/>
                    <a:gd name="connsiteY13" fmla="*/ 46320 h 104775"/>
                    <a:gd name="connsiteX14" fmla="*/ 33166 w 57150"/>
                    <a:gd name="connsiteY14" fmla="*/ 106299 h 104775"/>
                    <a:gd name="connsiteX15" fmla="*/ 18878 w 57150"/>
                    <a:gd name="connsiteY15" fmla="*/ 106299 h 104775"/>
                    <a:gd name="connsiteX16" fmla="*/ 18878 w 57150"/>
                    <a:gd name="connsiteY16" fmla="*/ 463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18878" y="46320"/>
                      </a:moveTo>
                      <a:lnTo>
                        <a:pt x="7144" y="46320"/>
                      </a:lnTo>
                      <a:lnTo>
                        <a:pt x="7144" y="38976"/>
                      </a:lnTo>
                      <a:lnTo>
                        <a:pt x="18878" y="38976"/>
                      </a:lnTo>
                      <a:lnTo>
                        <a:pt x="18878" y="32613"/>
                      </a:lnTo>
                      <a:cubicBezTo>
                        <a:pt x="18878" y="20145"/>
                        <a:pt x="21860" y="7144"/>
                        <a:pt x="44482" y="7144"/>
                      </a:cubicBezTo>
                      <a:cubicBezTo>
                        <a:pt x="50273" y="7144"/>
                        <a:pt x="55378" y="8001"/>
                        <a:pt x="58769" y="8706"/>
                      </a:cubicBezTo>
                      <a:lnTo>
                        <a:pt x="58769" y="18450"/>
                      </a:lnTo>
                      <a:cubicBezTo>
                        <a:pt x="55788" y="17183"/>
                        <a:pt x="51978" y="15345"/>
                        <a:pt x="46177" y="15345"/>
                      </a:cubicBezTo>
                      <a:cubicBezTo>
                        <a:pt x="34576" y="15345"/>
                        <a:pt x="33166" y="23698"/>
                        <a:pt x="33166" y="30899"/>
                      </a:cubicBezTo>
                      <a:lnTo>
                        <a:pt x="33166" y="38976"/>
                      </a:lnTo>
                      <a:lnTo>
                        <a:pt x="52264" y="38976"/>
                      </a:lnTo>
                      <a:lnTo>
                        <a:pt x="52264" y="46320"/>
                      </a:lnTo>
                      <a:lnTo>
                        <a:pt x="33166" y="46320"/>
                      </a:lnTo>
                      <a:lnTo>
                        <a:pt x="33166" y="106299"/>
                      </a:lnTo>
                      <a:lnTo>
                        <a:pt x="18878" y="106299"/>
                      </a:lnTo>
                      <a:lnTo>
                        <a:pt x="18878" y="46320"/>
                      </a:lnTo>
                      <a:close/>
                    </a:path>
                  </a:pathLst>
                </a:custGeom>
                <a:solidFill>
                  <a:schemeClr val="bg1"/>
                </a:solidFill>
                <a:ln w="9525" cap="flat">
                  <a:noFill/>
                  <a:prstDash val="solid"/>
                  <a:miter/>
                </a:ln>
              </p:spPr>
              <p:txBody>
                <a:bodyPr rtlCol="0" anchor="ctr"/>
                <a:lstStyle/>
                <a:p>
                  <a:endParaRPr lang="ja-JP" altLang="en-US"/>
                </a:p>
              </p:txBody>
            </p:sp>
            <p:sp>
              <p:nvSpPr>
                <p:cNvPr id="1105" name="フリーフォーム: 図形 56"/>
                <p:cNvSpPr/>
                <p:nvPr/>
              </p:nvSpPr>
              <p:spPr>
                <a:xfrm>
                  <a:off x="1630943"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1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1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06" name="フリーフォーム: 図形 57"/>
                <p:cNvSpPr/>
                <p:nvPr/>
              </p:nvSpPr>
              <p:spPr>
                <a:xfrm>
                  <a:off x="1676348" y="5886475"/>
                  <a:ext cx="57150" cy="76200"/>
                </a:xfrm>
                <a:custGeom>
                  <a:avLst/>
                  <a:gdLst>
                    <a:gd name="connsiteX0" fmla="*/ 44758 w 57150"/>
                    <a:gd name="connsiteY0" fmla="*/ 66694 h 76200"/>
                    <a:gd name="connsiteX1" fmla="*/ 44482 w 57150"/>
                    <a:gd name="connsiteY1" fmla="*/ 66694 h 76200"/>
                    <a:gd name="connsiteX2" fmla="*/ 25527 w 57150"/>
                    <a:gd name="connsiteY2" fmla="*/ 77581 h 76200"/>
                    <a:gd name="connsiteX3" fmla="*/ 7144 w 57150"/>
                    <a:gd name="connsiteY3" fmla="*/ 60760 h 76200"/>
                    <a:gd name="connsiteX4" fmla="*/ 44758 w 57150"/>
                    <a:gd name="connsiteY4" fmla="*/ 38548 h 76200"/>
                    <a:gd name="connsiteX5" fmla="*/ 44758 w 57150"/>
                    <a:gd name="connsiteY5" fmla="*/ 32613 h 76200"/>
                    <a:gd name="connsiteX6" fmla="*/ 35290 w 57150"/>
                    <a:gd name="connsiteY6" fmla="*/ 13078 h 76200"/>
                    <a:gd name="connsiteX7" fmla="*/ 24393 w 57150"/>
                    <a:gd name="connsiteY7" fmla="*/ 27794 h 76200"/>
                    <a:gd name="connsiteX8" fmla="*/ 9401 w 57150"/>
                    <a:gd name="connsiteY8" fmla="*/ 27794 h 76200"/>
                    <a:gd name="connsiteX9" fmla="*/ 35290 w 57150"/>
                    <a:gd name="connsiteY9" fmla="*/ 7144 h 76200"/>
                    <a:gd name="connsiteX10" fmla="*/ 59045 w 57150"/>
                    <a:gd name="connsiteY10" fmla="*/ 32613 h 76200"/>
                    <a:gd name="connsiteX11" fmla="*/ 59045 w 57150"/>
                    <a:gd name="connsiteY11" fmla="*/ 76038 h 76200"/>
                    <a:gd name="connsiteX12" fmla="*/ 44758 w 57150"/>
                    <a:gd name="connsiteY12" fmla="*/ 76038 h 76200"/>
                    <a:gd name="connsiteX13" fmla="*/ 44758 w 57150"/>
                    <a:gd name="connsiteY13" fmla="*/ 66694 h 76200"/>
                    <a:gd name="connsiteX14" fmla="*/ 44758 w 57150"/>
                    <a:gd name="connsiteY14" fmla="*/ 44482 h 76200"/>
                    <a:gd name="connsiteX15" fmla="*/ 22698 w 57150"/>
                    <a:gd name="connsiteY15" fmla="*/ 58636 h 76200"/>
                    <a:gd name="connsiteX16" fmla="*/ 30899 w 57150"/>
                    <a:gd name="connsiteY16" fmla="*/ 68666 h 76200"/>
                    <a:gd name="connsiteX17" fmla="*/ 44758 w 57150"/>
                    <a:gd name="connsiteY17" fmla="*/ 52406 h 76200"/>
                    <a:gd name="connsiteX18" fmla="*/ 44758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58" y="66694"/>
                      </a:moveTo>
                      <a:lnTo>
                        <a:pt x="44482" y="66694"/>
                      </a:lnTo>
                      <a:cubicBezTo>
                        <a:pt x="42224" y="70656"/>
                        <a:pt x="36281" y="77581"/>
                        <a:pt x="25527" y="77581"/>
                      </a:cubicBezTo>
                      <a:cubicBezTo>
                        <a:pt x="14916" y="77581"/>
                        <a:pt x="7144" y="70085"/>
                        <a:pt x="7144" y="60760"/>
                      </a:cubicBezTo>
                      <a:cubicBezTo>
                        <a:pt x="7144" y="39957"/>
                        <a:pt x="35852" y="38976"/>
                        <a:pt x="44758" y="38548"/>
                      </a:cubicBezTo>
                      <a:lnTo>
                        <a:pt x="44758" y="32613"/>
                      </a:lnTo>
                      <a:cubicBezTo>
                        <a:pt x="44758" y="25251"/>
                        <a:pt x="44758" y="13078"/>
                        <a:pt x="35290" y="13078"/>
                      </a:cubicBezTo>
                      <a:cubicBezTo>
                        <a:pt x="26518" y="13078"/>
                        <a:pt x="24965" y="19869"/>
                        <a:pt x="24393" y="27794"/>
                      </a:cubicBezTo>
                      <a:lnTo>
                        <a:pt x="9401" y="27794"/>
                      </a:lnTo>
                      <a:cubicBezTo>
                        <a:pt x="10106" y="17745"/>
                        <a:pt x="14068" y="7144"/>
                        <a:pt x="35290" y="7144"/>
                      </a:cubicBezTo>
                      <a:cubicBezTo>
                        <a:pt x="57217" y="7144"/>
                        <a:pt x="59045" y="19440"/>
                        <a:pt x="59045" y="32613"/>
                      </a:cubicBezTo>
                      <a:lnTo>
                        <a:pt x="59045" y="76038"/>
                      </a:lnTo>
                      <a:lnTo>
                        <a:pt x="44758" y="76038"/>
                      </a:lnTo>
                      <a:lnTo>
                        <a:pt x="44758" y="66694"/>
                      </a:lnTo>
                      <a:close/>
                      <a:moveTo>
                        <a:pt x="44758" y="44482"/>
                      </a:moveTo>
                      <a:cubicBezTo>
                        <a:pt x="38824" y="44910"/>
                        <a:pt x="22698" y="46177"/>
                        <a:pt x="22698" y="58636"/>
                      </a:cubicBezTo>
                      <a:cubicBezTo>
                        <a:pt x="22698" y="64703"/>
                        <a:pt x="26232" y="68666"/>
                        <a:pt x="30899" y="68666"/>
                      </a:cubicBezTo>
                      <a:cubicBezTo>
                        <a:pt x="35852" y="68666"/>
                        <a:pt x="44758" y="63865"/>
                        <a:pt x="44758" y="52406"/>
                      </a:cubicBezTo>
                      <a:lnTo>
                        <a:pt x="44758" y="44482"/>
                      </a:lnTo>
                      <a:close/>
                    </a:path>
                  </a:pathLst>
                </a:custGeom>
                <a:solidFill>
                  <a:schemeClr val="bg1"/>
                </a:solidFill>
                <a:ln w="9525" cap="flat">
                  <a:noFill/>
                  <a:prstDash val="solid"/>
                  <a:miter/>
                </a:ln>
              </p:spPr>
              <p:txBody>
                <a:bodyPr rtlCol="0" anchor="ctr"/>
                <a:lstStyle/>
                <a:p>
                  <a:endParaRPr lang="ja-JP" altLang="en-US"/>
                </a:p>
              </p:txBody>
            </p:sp>
            <p:sp>
              <p:nvSpPr>
                <p:cNvPr id="1107" name="フリーフォーム: 図形 58"/>
                <p:cNvSpPr/>
                <p:nvPr/>
              </p:nvSpPr>
              <p:spPr>
                <a:xfrm>
                  <a:off x="1745938" y="5886465"/>
                  <a:ext cx="57150" cy="76200"/>
                </a:xfrm>
                <a:custGeom>
                  <a:avLst/>
                  <a:gdLst>
                    <a:gd name="connsiteX0" fmla="*/ 46606 w 57150"/>
                    <a:gd name="connsiteY0" fmla="*/ 22003 h 76200"/>
                    <a:gd name="connsiteX1" fmla="*/ 29632 w 57150"/>
                    <a:gd name="connsiteY1" fmla="*/ 15364 h 76200"/>
                    <a:gd name="connsiteX2" fmla="*/ 20021 w 57150"/>
                    <a:gd name="connsiteY2" fmla="*/ 22431 h 76200"/>
                    <a:gd name="connsiteX3" fmla="*/ 50844 w 57150"/>
                    <a:gd name="connsiteY3" fmla="*/ 57236 h 76200"/>
                    <a:gd name="connsiteX4" fmla="*/ 25241 w 57150"/>
                    <a:gd name="connsiteY4" fmla="*/ 77591 h 76200"/>
                    <a:gd name="connsiteX5" fmla="*/ 7277 w 57150"/>
                    <a:gd name="connsiteY5" fmla="*/ 74628 h 76200"/>
                    <a:gd name="connsiteX6" fmla="*/ 7277 w 57150"/>
                    <a:gd name="connsiteY6" fmla="*/ 61474 h 76200"/>
                    <a:gd name="connsiteX7" fmla="*/ 25946 w 57150"/>
                    <a:gd name="connsiteY7" fmla="*/ 68542 h 76200"/>
                    <a:gd name="connsiteX8" fmla="*/ 37547 w 57150"/>
                    <a:gd name="connsiteY8" fmla="*/ 60055 h 76200"/>
                    <a:gd name="connsiteX9" fmla="*/ 7144 w 57150"/>
                    <a:gd name="connsiteY9" fmla="*/ 26527 h 76200"/>
                    <a:gd name="connsiteX10" fmla="*/ 3075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06" y="22003"/>
                      </a:moveTo>
                      <a:cubicBezTo>
                        <a:pt x="41796" y="18745"/>
                        <a:pt x="36423" y="15364"/>
                        <a:pt x="29632" y="15364"/>
                      </a:cubicBezTo>
                      <a:cubicBezTo>
                        <a:pt x="25098" y="15364"/>
                        <a:pt x="20021" y="17336"/>
                        <a:pt x="20021" y="22431"/>
                      </a:cubicBezTo>
                      <a:cubicBezTo>
                        <a:pt x="20021" y="34595"/>
                        <a:pt x="50844" y="35728"/>
                        <a:pt x="50844" y="57236"/>
                      </a:cubicBezTo>
                      <a:cubicBezTo>
                        <a:pt x="50844" y="71656"/>
                        <a:pt x="39529" y="77591"/>
                        <a:pt x="25241" y="77591"/>
                      </a:cubicBezTo>
                      <a:cubicBezTo>
                        <a:pt x="16621" y="77591"/>
                        <a:pt x="10678" y="75771"/>
                        <a:pt x="7277" y="74628"/>
                      </a:cubicBezTo>
                      <a:lnTo>
                        <a:pt x="7277" y="61474"/>
                      </a:lnTo>
                      <a:cubicBezTo>
                        <a:pt x="11382" y="64303"/>
                        <a:pt x="18031" y="68542"/>
                        <a:pt x="25946" y="68542"/>
                      </a:cubicBezTo>
                      <a:cubicBezTo>
                        <a:pt x="34147" y="68542"/>
                        <a:pt x="37547" y="64303"/>
                        <a:pt x="37547" y="60055"/>
                      </a:cubicBezTo>
                      <a:cubicBezTo>
                        <a:pt x="37547" y="48168"/>
                        <a:pt x="7144" y="45768"/>
                        <a:pt x="7144" y="26527"/>
                      </a:cubicBezTo>
                      <a:cubicBezTo>
                        <a:pt x="7144" y="16335"/>
                        <a:pt x="13935" y="7144"/>
                        <a:pt x="30756" y="7144"/>
                      </a:cubicBezTo>
                      <a:cubicBezTo>
                        <a:pt x="37976" y="7144"/>
                        <a:pt x="44196" y="9115"/>
                        <a:pt x="46606" y="9820"/>
                      </a:cubicBezTo>
                      <a:lnTo>
                        <a:pt x="46606" y="22003"/>
                      </a:lnTo>
                      <a:close/>
                    </a:path>
                  </a:pathLst>
                </a:custGeom>
                <a:solidFill>
                  <a:schemeClr val="bg1"/>
                </a:solidFill>
                <a:ln w="9525" cap="flat">
                  <a:noFill/>
                  <a:prstDash val="solid"/>
                  <a:miter/>
                </a:ln>
              </p:spPr>
              <p:txBody>
                <a:bodyPr rtlCol="0" anchor="ctr"/>
                <a:lstStyle/>
                <a:p>
                  <a:endParaRPr lang="ja-JP" altLang="en-US"/>
                </a:p>
              </p:txBody>
            </p:sp>
            <p:sp>
              <p:nvSpPr>
                <p:cNvPr id="1108" name="フリーフォーム: 図形 59"/>
                <p:cNvSpPr/>
                <p:nvPr/>
              </p:nvSpPr>
              <p:spPr>
                <a:xfrm>
                  <a:off x="1799678" y="5863567"/>
                  <a:ext cx="57150" cy="104775"/>
                </a:xfrm>
                <a:custGeom>
                  <a:avLst/>
                  <a:gdLst>
                    <a:gd name="connsiteX0" fmla="*/ 49016 w 57150"/>
                    <a:gd name="connsiteY0" fmla="*/ 99498 h 104775"/>
                    <a:gd name="connsiteX1" fmla="*/ 39119 w 57150"/>
                    <a:gd name="connsiteY1" fmla="*/ 100489 h 104775"/>
                    <a:gd name="connsiteX2" fmla="*/ 17897 w 57150"/>
                    <a:gd name="connsiteY2" fmla="*/ 83372 h 104775"/>
                    <a:gd name="connsiteX3" fmla="*/ 17897 w 57150"/>
                    <a:gd name="connsiteY3" fmla="*/ 38967 h 104775"/>
                    <a:gd name="connsiteX4" fmla="*/ 7144 w 57150"/>
                    <a:gd name="connsiteY4" fmla="*/ 38967 h 104775"/>
                    <a:gd name="connsiteX5" fmla="*/ 7144 w 57150"/>
                    <a:gd name="connsiteY5" fmla="*/ 31623 h 104775"/>
                    <a:gd name="connsiteX6" fmla="*/ 17897 w 57150"/>
                    <a:gd name="connsiteY6" fmla="*/ 31623 h 104775"/>
                    <a:gd name="connsiteX7" fmla="*/ 17897 w 57150"/>
                    <a:gd name="connsiteY7" fmla="*/ 15773 h 104775"/>
                    <a:gd name="connsiteX8" fmla="*/ 32185 w 57150"/>
                    <a:gd name="connsiteY8" fmla="*/ 7144 h 104775"/>
                    <a:gd name="connsiteX9" fmla="*/ 32185 w 57150"/>
                    <a:gd name="connsiteY9" fmla="*/ 31623 h 104775"/>
                    <a:gd name="connsiteX10" fmla="*/ 50578 w 57150"/>
                    <a:gd name="connsiteY10" fmla="*/ 31623 h 104775"/>
                    <a:gd name="connsiteX11" fmla="*/ 50578 w 57150"/>
                    <a:gd name="connsiteY11" fmla="*/ 38967 h 104775"/>
                    <a:gd name="connsiteX12" fmla="*/ 32185 w 57150"/>
                    <a:gd name="connsiteY12" fmla="*/ 38967 h 104775"/>
                    <a:gd name="connsiteX13" fmla="*/ 32185 w 57150"/>
                    <a:gd name="connsiteY13" fmla="*/ 77714 h 104775"/>
                    <a:gd name="connsiteX14" fmla="*/ 42376 w 57150"/>
                    <a:gd name="connsiteY14" fmla="*/ 92430 h 104775"/>
                    <a:gd name="connsiteX15" fmla="*/ 49016 w 57150"/>
                    <a:gd name="connsiteY15" fmla="*/ 91297 h 104775"/>
                    <a:gd name="connsiteX16" fmla="*/ 4901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76" y="100489"/>
                        <a:pt x="39119" y="100489"/>
                      </a:cubicBezTo>
                      <a:cubicBezTo>
                        <a:pt x="25679" y="100489"/>
                        <a:pt x="17897" y="96393"/>
                        <a:pt x="17897" y="83372"/>
                      </a:cubicBezTo>
                      <a:lnTo>
                        <a:pt x="17897" y="38967"/>
                      </a:lnTo>
                      <a:lnTo>
                        <a:pt x="7144" y="38967"/>
                      </a:lnTo>
                      <a:lnTo>
                        <a:pt x="7144" y="31623"/>
                      </a:lnTo>
                      <a:lnTo>
                        <a:pt x="17897" y="31623"/>
                      </a:lnTo>
                      <a:lnTo>
                        <a:pt x="17897" y="15773"/>
                      </a:lnTo>
                      <a:lnTo>
                        <a:pt x="32185" y="7144"/>
                      </a:lnTo>
                      <a:lnTo>
                        <a:pt x="32185" y="31623"/>
                      </a:lnTo>
                      <a:lnTo>
                        <a:pt x="50578" y="31623"/>
                      </a:lnTo>
                      <a:lnTo>
                        <a:pt x="50578" y="38967"/>
                      </a:lnTo>
                      <a:lnTo>
                        <a:pt x="32185" y="38967"/>
                      </a:lnTo>
                      <a:lnTo>
                        <a:pt x="32185" y="77714"/>
                      </a:lnTo>
                      <a:cubicBezTo>
                        <a:pt x="32185" y="87611"/>
                        <a:pt x="33176" y="92430"/>
                        <a:pt x="42376" y="92430"/>
                      </a:cubicBezTo>
                      <a:cubicBezTo>
                        <a:pt x="44634" y="92430"/>
                        <a:pt x="47044" y="92154"/>
                        <a:pt x="49016" y="91297"/>
                      </a:cubicBezTo>
                      <a:lnTo>
                        <a:pt x="49016" y="99498"/>
                      </a:lnTo>
                      <a:close/>
                    </a:path>
                  </a:pathLst>
                </a:custGeom>
                <a:solidFill>
                  <a:schemeClr val="bg1"/>
                </a:solidFill>
                <a:ln w="9525" cap="flat">
                  <a:noFill/>
                  <a:prstDash val="solid"/>
                  <a:miter/>
                </a:ln>
              </p:spPr>
              <p:txBody>
                <a:bodyPr rtlCol="0" anchor="ctr"/>
                <a:lstStyle/>
                <a:p>
                  <a:endParaRPr lang="ja-JP" altLang="en-US"/>
                </a:p>
              </p:txBody>
            </p:sp>
            <p:sp>
              <p:nvSpPr>
                <p:cNvPr id="1109" name="フリーフォーム: 図形 60"/>
                <p:cNvSpPr/>
                <p:nvPr/>
              </p:nvSpPr>
              <p:spPr>
                <a:xfrm>
                  <a:off x="1855837"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1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1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10" name="フリーフォーム: 図形 61"/>
                <p:cNvSpPr/>
                <p:nvPr/>
              </p:nvSpPr>
              <p:spPr>
                <a:xfrm>
                  <a:off x="1905634" y="5888037"/>
                  <a:ext cx="66675" cy="76200"/>
                </a:xfrm>
                <a:custGeom>
                  <a:avLst/>
                  <a:gdLst>
                    <a:gd name="connsiteX0" fmla="*/ 47873 w 66675"/>
                    <a:gd name="connsiteY0" fmla="*/ 58493 h 76200"/>
                    <a:gd name="connsiteX1" fmla="*/ 47597 w 66675"/>
                    <a:gd name="connsiteY1" fmla="*/ 58493 h 76200"/>
                    <a:gd name="connsiteX2" fmla="*/ 24117 w 66675"/>
                    <a:gd name="connsiteY2" fmla="*/ 76019 h 76200"/>
                    <a:gd name="connsiteX3" fmla="*/ 7144 w 66675"/>
                    <a:gd name="connsiteY3" fmla="*/ 56369 h 76200"/>
                    <a:gd name="connsiteX4" fmla="*/ 7144 w 66675"/>
                    <a:gd name="connsiteY4" fmla="*/ 7144 h 76200"/>
                    <a:gd name="connsiteX5" fmla="*/ 21431 w 66675"/>
                    <a:gd name="connsiteY5" fmla="*/ 7144 h 76200"/>
                    <a:gd name="connsiteX6" fmla="*/ 21431 w 66675"/>
                    <a:gd name="connsiteY6" fmla="*/ 49282 h 76200"/>
                    <a:gd name="connsiteX7" fmla="*/ 29918 w 66675"/>
                    <a:gd name="connsiteY7" fmla="*/ 65408 h 76200"/>
                    <a:gd name="connsiteX8" fmla="*/ 48015 w 66675"/>
                    <a:gd name="connsiteY8" fmla="*/ 34995 h 76200"/>
                    <a:gd name="connsiteX9" fmla="*/ 48015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7" y="58493"/>
                      </a:lnTo>
                      <a:cubicBezTo>
                        <a:pt x="45339" y="63446"/>
                        <a:pt x="38967" y="76019"/>
                        <a:pt x="24117" y="76019"/>
                      </a:cubicBezTo>
                      <a:cubicBezTo>
                        <a:pt x="12230" y="76019"/>
                        <a:pt x="7144" y="66122"/>
                        <a:pt x="7144" y="56369"/>
                      </a:cubicBezTo>
                      <a:lnTo>
                        <a:pt x="7144" y="7144"/>
                      </a:lnTo>
                      <a:lnTo>
                        <a:pt x="21431" y="7144"/>
                      </a:lnTo>
                      <a:lnTo>
                        <a:pt x="21431" y="49282"/>
                      </a:lnTo>
                      <a:cubicBezTo>
                        <a:pt x="21431" y="57788"/>
                        <a:pt x="22708" y="65408"/>
                        <a:pt x="29918" y="65408"/>
                      </a:cubicBezTo>
                      <a:cubicBezTo>
                        <a:pt x="44063" y="65408"/>
                        <a:pt x="48015" y="43348"/>
                        <a:pt x="48015" y="34995"/>
                      </a:cubicBezTo>
                      <a:lnTo>
                        <a:pt x="48015" y="7144"/>
                      </a:lnTo>
                      <a:lnTo>
                        <a:pt x="62303" y="7144"/>
                      </a:lnTo>
                      <a:lnTo>
                        <a:pt x="62303" y="74466"/>
                      </a:lnTo>
                      <a:lnTo>
                        <a:pt x="47873" y="74466"/>
                      </a:lnTo>
                      <a:lnTo>
                        <a:pt x="47873" y="58493"/>
                      </a:lnTo>
                      <a:close/>
                    </a:path>
                  </a:pathLst>
                </a:custGeom>
                <a:solidFill>
                  <a:schemeClr val="bg1"/>
                </a:solidFill>
                <a:ln w="9525" cap="flat">
                  <a:noFill/>
                  <a:prstDash val="solid"/>
                  <a:miter/>
                </a:ln>
              </p:spPr>
              <p:txBody>
                <a:bodyPr rtlCol="0" anchor="ctr"/>
                <a:lstStyle/>
                <a:p>
                  <a:endParaRPr lang="ja-JP" altLang="en-US"/>
                </a:p>
              </p:txBody>
            </p:sp>
            <p:sp>
              <p:nvSpPr>
                <p:cNvPr id="1111" name="フリーフォーム: 図形 62"/>
                <p:cNvSpPr/>
                <p:nvPr/>
              </p:nvSpPr>
              <p:spPr>
                <a:xfrm>
                  <a:off x="1976776" y="5886465"/>
                  <a:ext cx="66675" cy="76200"/>
                </a:xfrm>
                <a:custGeom>
                  <a:avLst/>
                  <a:gdLst>
                    <a:gd name="connsiteX0" fmla="*/ 58912 w 66675"/>
                    <a:gd name="connsiteY0" fmla="*/ 74200 h 76200"/>
                    <a:gd name="connsiteX1" fmla="*/ 40948 w 66675"/>
                    <a:gd name="connsiteY1" fmla="*/ 77581 h 76200"/>
                    <a:gd name="connsiteX2" fmla="*/ 7144 w 66675"/>
                    <a:gd name="connsiteY2" fmla="*/ 39681 h 76200"/>
                    <a:gd name="connsiteX3" fmla="*/ 35709 w 66675"/>
                    <a:gd name="connsiteY3" fmla="*/ 7144 h 76200"/>
                    <a:gd name="connsiteX4" fmla="*/ 59893 w 66675"/>
                    <a:gd name="connsiteY4" fmla="*/ 30623 h 76200"/>
                    <a:gd name="connsiteX5" fmla="*/ 44910 w 66675"/>
                    <a:gd name="connsiteY5" fmla="*/ 30623 h 76200"/>
                    <a:gd name="connsiteX6" fmla="*/ 35147 w 66675"/>
                    <a:gd name="connsiteY6" fmla="*/ 13078 h 76200"/>
                    <a:gd name="connsiteX7" fmla="*/ 22698 w 66675"/>
                    <a:gd name="connsiteY7" fmla="*/ 34862 h 76200"/>
                    <a:gd name="connsiteX8" fmla="*/ 46892 w 66675"/>
                    <a:gd name="connsiteY8" fmla="*/ 70075 h 76200"/>
                    <a:gd name="connsiteX9" fmla="*/ 58912 w 66675"/>
                    <a:gd name="connsiteY9" fmla="*/ 67542 h 76200"/>
                    <a:gd name="connsiteX10" fmla="*/ 58912 w 66675"/>
                    <a:gd name="connsiteY10" fmla="*/ 74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 h="76200">
                      <a:moveTo>
                        <a:pt x="58912" y="74200"/>
                      </a:moveTo>
                      <a:cubicBezTo>
                        <a:pt x="53121" y="76324"/>
                        <a:pt x="47034" y="77581"/>
                        <a:pt x="40948" y="77581"/>
                      </a:cubicBezTo>
                      <a:cubicBezTo>
                        <a:pt x="19593" y="77581"/>
                        <a:pt x="7144" y="64703"/>
                        <a:pt x="7144" y="39681"/>
                      </a:cubicBezTo>
                      <a:cubicBezTo>
                        <a:pt x="7144" y="19593"/>
                        <a:pt x="16335" y="7144"/>
                        <a:pt x="35709" y="7144"/>
                      </a:cubicBezTo>
                      <a:cubicBezTo>
                        <a:pt x="53816" y="7144"/>
                        <a:pt x="59893" y="16764"/>
                        <a:pt x="59893" y="30623"/>
                      </a:cubicBezTo>
                      <a:lnTo>
                        <a:pt x="44910" y="30623"/>
                      </a:lnTo>
                      <a:cubicBezTo>
                        <a:pt x="44910" y="22565"/>
                        <a:pt x="44053" y="13078"/>
                        <a:pt x="35147" y="13078"/>
                      </a:cubicBezTo>
                      <a:cubicBezTo>
                        <a:pt x="26946" y="13078"/>
                        <a:pt x="22698" y="22698"/>
                        <a:pt x="22698" y="34862"/>
                      </a:cubicBezTo>
                      <a:cubicBezTo>
                        <a:pt x="22698" y="51273"/>
                        <a:pt x="29632" y="70075"/>
                        <a:pt x="46892" y="70075"/>
                      </a:cubicBezTo>
                      <a:cubicBezTo>
                        <a:pt x="50987" y="70075"/>
                        <a:pt x="54950" y="69085"/>
                        <a:pt x="58912" y="67542"/>
                      </a:cubicBezTo>
                      <a:lnTo>
                        <a:pt x="58912" y="74200"/>
                      </a:lnTo>
                      <a:close/>
                    </a:path>
                  </a:pathLst>
                </a:custGeom>
                <a:solidFill>
                  <a:schemeClr val="bg1"/>
                </a:solidFill>
                <a:ln w="9525" cap="flat">
                  <a:noFill/>
                  <a:prstDash val="solid"/>
                  <a:miter/>
                </a:ln>
              </p:spPr>
              <p:txBody>
                <a:bodyPr rtlCol="0" anchor="ctr"/>
                <a:lstStyle/>
                <a:p>
                  <a:endParaRPr lang="ja-JP" altLang="en-US"/>
                </a:p>
              </p:txBody>
            </p:sp>
            <p:sp>
              <p:nvSpPr>
                <p:cNvPr id="1112" name="フリーフォーム: 図形 63"/>
                <p:cNvSpPr/>
                <p:nvPr/>
              </p:nvSpPr>
              <p:spPr>
                <a:xfrm>
                  <a:off x="2035469" y="5863567"/>
                  <a:ext cx="57150" cy="104775"/>
                </a:xfrm>
                <a:custGeom>
                  <a:avLst/>
                  <a:gdLst>
                    <a:gd name="connsiteX0" fmla="*/ 49016 w 57150"/>
                    <a:gd name="connsiteY0" fmla="*/ 99498 h 104775"/>
                    <a:gd name="connsiteX1" fmla="*/ 39119 w 57150"/>
                    <a:gd name="connsiteY1" fmla="*/ 100489 h 104775"/>
                    <a:gd name="connsiteX2" fmla="*/ 17898 w 57150"/>
                    <a:gd name="connsiteY2" fmla="*/ 83372 h 104775"/>
                    <a:gd name="connsiteX3" fmla="*/ 17898 w 57150"/>
                    <a:gd name="connsiteY3" fmla="*/ 38967 h 104775"/>
                    <a:gd name="connsiteX4" fmla="*/ 7144 w 57150"/>
                    <a:gd name="connsiteY4" fmla="*/ 38967 h 104775"/>
                    <a:gd name="connsiteX5" fmla="*/ 7144 w 57150"/>
                    <a:gd name="connsiteY5" fmla="*/ 31623 h 104775"/>
                    <a:gd name="connsiteX6" fmla="*/ 17898 w 57150"/>
                    <a:gd name="connsiteY6" fmla="*/ 31623 h 104775"/>
                    <a:gd name="connsiteX7" fmla="*/ 17898 w 57150"/>
                    <a:gd name="connsiteY7" fmla="*/ 15773 h 104775"/>
                    <a:gd name="connsiteX8" fmla="*/ 32185 w 57150"/>
                    <a:gd name="connsiteY8" fmla="*/ 7144 h 104775"/>
                    <a:gd name="connsiteX9" fmla="*/ 32185 w 57150"/>
                    <a:gd name="connsiteY9" fmla="*/ 31623 h 104775"/>
                    <a:gd name="connsiteX10" fmla="*/ 50568 w 57150"/>
                    <a:gd name="connsiteY10" fmla="*/ 31623 h 104775"/>
                    <a:gd name="connsiteX11" fmla="*/ 50568 w 57150"/>
                    <a:gd name="connsiteY11" fmla="*/ 38967 h 104775"/>
                    <a:gd name="connsiteX12" fmla="*/ 32185 w 57150"/>
                    <a:gd name="connsiteY12" fmla="*/ 38967 h 104775"/>
                    <a:gd name="connsiteX13" fmla="*/ 32185 w 57150"/>
                    <a:gd name="connsiteY13" fmla="*/ 77714 h 104775"/>
                    <a:gd name="connsiteX14" fmla="*/ 42358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67" y="100489"/>
                        <a:pt x="39119" y="100489"/>
                      </a:cubicBezTo>
                      <a:cubicBezTo>
                        <a:pt x="25680" y="100489"/>
                        <a:pt x="17898" y="96393"/>
                        <a:pt x="17898" y="83372"/>
                      </a:cubicBezTo>
                      <a:lnTo>
                        <a:pt x="17898" y="38967"/>
                      </a:lnTo>
                      <a:lnTo>
                        <a:pt x="7144" y="38967"/>
                      </a:lnTo>
                      <a:lnTo>
                        <a:pt x="7144" y="31623"/>
                      </a:lnTo>
                      <a:lnTo>
                        <a:pt x="17898" y="31623"/>
                      </a:lnTo>
                      <a:lnTo>
                        <a:pt x="17898" y="15773"/>
                      </a:lnTo>
                      <a:lnTo>
                        <a:pt x="32185" y="7144"/>
                      </a:lnTo>
                      <a:lnTo>
                        <a:pt x="32185" y="31623"/>
                      </a:lnTo>
                      <a:lnTo>
                        <a:pt x="50568" y="31623"/>
                      </a:lnTo>
                      <a:lnTo>
                        <a:pt x="50568" y="38967"/>
                      </a:lnTo>
                      <a:lnTo>
                        <a:pt x="32185" y="38967"/>
                      </a:lnTo>
                      <a:lnTo>
                        <a:pt x="32185" y="77714"/>
                      </a:lnTo>
                      <a:cubicBezTo>
                        <a:pt x="32185" y="87611"/>
                        <a:pt x="33176" y="92430"/>
                        <a:pt x="42358" y="92430"/>
                      </a:cubicBezTo>
                      <a:cubicBezTo>
                        <a:pt x="44625" y="92430"/>
                        <a:pt x="47025" y="92154"/>
                        <a:pt x="49006" y="91297"/>
                      </a:cubicBezTo>
                      <a:lnTo>
                        <a:pt x="49006" y="99498"/>
                      </a:lnTo>
                      <a:close/>
                    </a:path>
                  </a:pathLst>
                </a:custGeom>
                <a:solidFill>
                  <a:schemeClr val="bg1"/>
                </a:solidFill>
                <a:ln w="9525" cap="flat">
                  <a:noFill/>
                  <a:prstDash val="solid"/>
                  <a:miter/>
                </a:ln>
              </p:spPr>
              <p:txBody>
                <a:bodyPr rtlCol="0" anchor="ctr"/>
                <a:lstStyle/>
                <a:p>
                  <a:endParaRPr lang="ja-JP" altLang="en-US"/>
                </a:p>
              </p:txBody>
            </p:sp>
            <p:sp>
              <p:nvSpPr>
                <p:cNvPr id="1113" name="フリーフォーム: 図形 64"/>
                <p:cNvSpPr/>
                <p:nvPr/>
              </p:nvSpPr>
              <p:spPr>
                <a:xfrm>
                  <a:off x="2091629" y="5888037"/>
                  <a:ext cx="66675" cy="76200"/>
                </a:xfrm>
                <a:custGeom>
                  <a:avLst/>
                  <a:gdLst>
                    <a:gd name="connsiteX0" fmla="*/ 47873 w 66675"/>
                    <a:gd name="connsiteY0" fmla="*/ 58493 h 76200"/>
                    <a:gd name="connsiteX1" fmla="*/ 47596 w 66675"/>
                    <a:gd name="connsiteY1" fmla="*/ 58493 h 76200"/>
                    <a:gd name="connsiteX2" fmla="*/ 24117 w 66675"/>
                    <a:gd name="connsiteY2" fmla="*/ 76019 h 76200"/>
                    <a:gd name="connsiteX3" fmla="*/ 7144 w 66675"/>
                    <a:gd name="connsiteY3" fmla="*/ 56369 h 76200"/>
                    <a:gd name="connsiteX4" fmla="*/ 7144 w 66675"/>
                    <a:gd name="connsiteY4" fmla="*/ 7144 h 76200"/>
                    <a:gd name="connsiteX5" fmla="*/ 21431 w 66675"/>
                    <a:gd name="connsiteY5" fmla="*/ 7144 h 76200"/>
                    <a:gd name="connsiteX6" fmla="*/ 21431 w 66675"/>
                    <a:gd name="connsiteY6" fmla="*/ 49282 h 76200"/>
                    <a:gd name="connsiteX7" fmla="*/ 29918 w 66675"/>
                    <a:gd name="connsiteY7" fmla="*/ 65408 h 76200"/>
                    <a:gd name="connsiteX8" fmla="*/ 48025 w 66675"/>
                    <a:gd name="connsiteY8" fmla="*/ 34995 h 76200"/>
                    <a:gd name="connsiteX9" fmla="*/ 48025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6" y="58493"/>
                      </a:lnTo>
                      <a:cubicBezTo>
                        <a:pt x="45339" y="63446"/>
                        <a:pt x="38967" y="76019"/>
                        <a:pt x="24117" y="76019"/>
                      </a:cubicBezTo>
                      <a:cubicBezTo>
                        <a:pt x="12230" y="76019"/>
                        <a:pt x="7144" y="66122"/>
                        <a:pt x="7144" y="56369"/>
                      </a:cubicBezTo>
                      <a:lnTo>
                        <a:pt x="7144" y="7144"/>
                      </a:lnTo>
                      <a:lnTo>
                        <a:pt x="21431" y="7144"/>
                      </a:lnTo>
                      <a:lnTo>
                        <a:pt x="21431" y="49282"/>
                      </a:lnTo>
                      <a:cubicBezTo>
                        <a:pt x="21431" y="57788"/>
                        <a:pt x="22708" y="65408"/>
                        <a:pt x="29918" y="65408"/>
                      </a:cubicBezTo>
                      <a:cubicBezTo>
                        <a:pt x="44062" y="65408"/>
                        <a:pt x="48025" y="43348"/>
                        <a:pt x="48025" y="34995"/>
                      </a:cubicBezTo>
                      <a:lnTo>
                        <a:pt x="48025" y="7144"/>
                      </a:lnTo>
                      <a:lnTo>
                        <a:pt x="62303" y="7144"/>
                      </a:lnTo>
                      <a:lnTo>
                        <a:pt x="62303" y="74466"/>
                      </a:lnTo>
                      <a:lnTo>
                        <a:pt x="47873" y="74466"/>
                      </a:lnTo>
                      <a:lnTo>
                        <a:pt x="47873" y="58493"/>
                      </a:lnTo>
                      <a:close/>
                    </a:path>
                  </a:pathLst>
                </a:custGeom>
                <a:solidFill>
                  <a:schemeClr val="bg1"/>
                </a:solidFill>
                <a:ln w="9525" cap="flat">
                  <a:noFill/>
                  <a:prstDash val="solid"/>
                  <a:miter/>
                </a:ln>
              </p:spPr>
              <p:txBody>
                <a:bodyPr rtlCol="0" anchor="ctr"/>
                <a:lstStyle/>
                <a:p>
                  <a:endParaRPr lang="ja-JP" altLang="en-US"/>
                </a:p>
              </p:txBody>
            </p:sp>
            <p:sp>
              <p:nvSpPr>
                <p:cNvPr id="1114" name="フリーフォーム: 図形 65"/>
                <p:cNvSpPr/>
                <p:nvPr/>
              </p:nvSpPr>
              <p:spPr>
                <a:xfrm>
                  <a:off x="2167724"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15" name="フリーフォーム: 図形 66"/>
                <p:cNvSpPr/>
                <p:nvPr/>
              </p:nvSpPr>
              <p:spPr>
                <a:xfrm>
                  <a:off x="2212568" y="5886465"/>
                  <a:ext cx="66675" cy="76200"/>
                </a:xfrm>
                <a:custGeom>
                  <a:avLst/>
                  <a:gdLst>
                    <a:gd name="connsiteX0" fmla="*/ 60465 w 66675"/>
                    <a:gd name="connsiteY0" fmla="*/ 73771 h 76200"/>
                    <a:gd name="connsiteX1" fmla="*/ 40805 w 66675"/>
                    <a:gd name="connsiteY1" fmla="*/ 77581 h 76200"/>
                    <a:gd name="connsiteX2" fmla="*/ 7144 w 66675"/>
                    <a:gd name="connsiteY2" fmla="*/ 39405 h 76200"/>
                    <a:gd name="connsiteX3" fmla="*/ 35861 w 66675"/>
                    <a:gd name="connsiteY3" fmla="*/ 7144 h 76200"/>
                    <a:gd name="connsiteX4" fmla="*/ 61751 w 66675"/>
                    <a:gd name="connsiteY4" fmla="*/ 34728 h 76200"/>
                    <a:gd name="connsiteX5" fmla="*/ 21441 w 66675"/>
                    <a:gd name="connsiteY5" fmla="*/ 34728 h 76200"/>
                    <a:gd name="connsiteX6" fmla="*/ 47606 w 66675"/>
                    <a:gd name="connsiteY6" fmla="*/ 70075 h 76200"/>
                    <a:gd name="connsiteX7" fmla="*/ 60484 w 66675"/>
                    <a:gd name="connsiteY7" fmla="*/ 67246 h 76200"/>
                    <a:gd name="connsiteX8" fmla="*/ 60484 w 66675"/>
                    <a:gd name="connsiteY8" fmla="*/ 73771 h 76200"/>
                    <a:gd name="connsiteX9" fmla="*/ 47730 w 66675"/>
                    <a:gd name="connsiteY9" fmla="*/ 28232 h 76200"/>
                    <a:gd name="connsiteX10" fmla="*/ 35281 w 66675"/>
                    <a:gd name="connsiteY10" fmla="*/ 13087 h 76200"/>
                    <a:gd name="connsiteX11" fmla="*/ 21850 w 66675"/>
                    <a:gd name="connsiteY11" fmla="*/ 28232 h 76200"/>
                    <a:gd name="connsiteX12" fmla="*/ 47730 w 66675"/>
                    <a:gd name="connsiteY12" fmla="*/ 2823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75" h="76200">
                      <a:moveTo>
                        <a:pt x="60465" y="73771"/>
                      </a:moveTo>
                      <a:cubicBezTo>
                        <a:pt x="54521" y="76172"/>
                        <a:pt x="49292" y="77581"/>
                        <a:pt x="40805" y="77581"/>
                      </a:cubicBezTo>
                      <a:cubicBezTo>
                        <a:pt x="22136" y="77581"/>
                        <a:pt x="7144" y="66551"/>
                        <a:pt x="7144" y="39405"/>
                      </a:cubicBezTo>
                      <a:cubicBezTo>
                        <a:pt x="7144" y="20726"/>
                        <a:pt x="14640" y="7144"/>
                        <a:pt x="35861" y="7144"/>
                      </a:cubicBezTo>
                      <a:cubicBezTo>
                        <a:pt x="57645" y="7144"/>
                        <a:pt x="61751" y="21707"/>
                        <a:pt x="61751" y="34728"/>
                      </a:cubicBezTo>
                      <a:lnTo>
                        <a:pt x="21441" y="34728"/>
                      </a:lnTo>
                      <a:cubicBezTo>
                        <a:pt x="21441" y="48015"/>
                        <a:pt x="27384" y="70075"/>
                        <a:pt x="47606" y="70075"/>
                      </a:cubicBezTo>
                      <a:cubicBezTo>
                        <a:pt x="51997" y="70075"/>
                        <a:pt x="56236" y="69237"/>
                        <a:pt x="60484" y="67246"/>
                      </a:cubicBezTo>
                      <a:lnTo>
                        <a:pt x="60484" y="73771"/>
                      </a:lnTo>
                      <a:close/>
                      <a:moveTo>
                        <a:pt x="47730" y="28232"/>
                      </a:moveTo>
                      <a:cubicBezTo>
                        <a:pt x="47730" y="23003"/>
                        <a:pt x="45901" y="13087"/>
                        <a:pt x="35281" y="13087"/>
                      </a:cubicBezTo>
                      <a:cubicBezTo>
                        <a:pt x="24251" y="13087"/>
                        <a:pt x="22127" y="24412"/>
                        <a:pt x="21850" y="28232"/>
                      </a:cubicBezTo>
                      <a:lnTo>
                        <a:pt x="47730" y="28232"/>
                      </a:lnTo>
                      <a:close/>
                    </a:path>
                  </a:pathLst>
                </a:custGeom>
                <a:solidFill>
                  <a:schemeClr val="bg1"/>
                </a:solidFill>
                <a:ln w="9525" cap="flat">
                  <a:noFill/>
                  <a:prstDash val="solid"/>
                  <a:miter/>
                </a:ln>
              </p:spPr>
              <p:txBody>
                <a:bodyPr rtlCol="0" anchor="ctr"/>
                <a:lstStyle/>
                <a:p>
                  <a:endParaRPr lang="ja-JP" altLang="en-US"/>
                </a:p>
              </p:txBody>
            </p:sp>
            <p:sp>
              <p:nvSpPr>
                <p:cNvPr id="1116" name="フリーフォーム: 図形 67"/>
                <p:cNvSpPr/>
                <p:nvPr/>
              </p:nvSpPr>
              <p:spPr>
                <a:xfrm>
                  <a:off x="2280605" y="5938252"/>
                  <a:ext cx="28575" cy="38100"/>
                </a:xfrm>
                <a:custGeom>
                  <a:avLst/>
                  <a:gdLst>
                    <a:gd name="connsiteX0" fmla="*/ 8411 w 28575"/>
                    <a:gd name="connsiteY0" fmla="*/ 7144 h 38100"/>
                    <a:gd name="connsiteX1" fmla="*/ 24822 w 28575"/>
                    <a:gd name="connsiteY1" fmla="*/ 7144 h 38100"/>
                    <a:gd name="connsiteX2" fmla="*/ 18459 w 28575"/>
                    <a:gd name="connsiteY2" fmla="*/ 39253 h 38100"/>
                    <a:gd name="connsiteX3" fmla="*/ 7144 w 28575"/>
                    <a:gd name="connsiteY3" fmla="*/ 39253 h 38100"/>
                    <a:gd name="connsiteX4" fmla="*/ 8411 w 28575"/>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8411" y="7144"/>
                      </a:moveTo>
                      <a:lnTo>
                        <a:pt x="24822" y="7144"/>
                      </a:lnTo>
                      <a:lnTo>
                        <a:pt x="18459" y="39253"/>
                      </a:lnTo>
                      <a:lnTo>
                        <a:pt x="7144" y="39253"/>
                      </a:lnTo>
                      <a:lnTo>
                        <a:pt x="8411" y="7144"/>
                      </a:lnTo>
                      <a:close/>
                    </a:path>
                  </a:pathLst>
                </a:custGeom>
                <a:solidFill>
                  <a:schemeClr val="bg1"/>
                </a:solidFill>
                <a:ln w="9525" cap="flat">
                  <a:noFill/>
                  <a:prstDash val="solid"/>
                  <a:miter/>
                </a:ln>
              </p:spPr>
              <p:txBody>
                <a:bodyPr rtlCol="0" anchor="ctr"/>
                <a:lstStyle/>
                <a:p>
                  <a:endParaRPr lang="ja-JP" altLang="en-US"/>
                </a:p>
              </p:txBody>
            </p:sp>
            <p:sp>
              <p:nvSpPr>
                <p:cNvPr id="1117" name="フリーフォーム: 図形 68"/>
                <p:cNvSpPr/>
                <p:nvPr/>
              </p:nvSpPr>
              <p:spPr>
                <a:xfrm>
                  <a:off x="2343260" y="5857766"/>
                  <a:ext cx="76200" cy="104775"/>
                </a:xfrm>
                <a:custGeom>
                  <a:avLst/>
                  <a:gdLst>
                    <a:gd name="connsiteX0" fmla="*/ 30756 w 76200"/>
                    <a:gd name="connsiteY0" fmla="*/ 16469 h 104775"/>
                    <a:gd name="connsiteX1" fmla="*/ 7144 w 76200"/>
                    <a:gd name="connsiteY1" fmla="*/ 16469 h 104775"/>
                    <a:gd name="connsiteX2" fmla="*/ 7144 w 76200"/>
                    <a:gd name="connsiteY2" fmla="*/ 7144 h 104775"/>
                    <a:gd name="connsiteX3" fmla="*/ 69942 w 76200"/>
                    <a:gd name="connsiteY3" fmla="*/ 7144 h 104775"/>
                    <a:gd name="connsiteX4" fmla="*/ 69942 w 76200"/>
                    <a:gd name="connsiteY4" fmla="*/ 16469 h 104775"/>
                    <a:gd name="connsiteX5" fmla="*/ 46329 w 76200"/>
                    <a:gd name="connsiteY5" fmla="*/ 16469 h 104775"/>
                    <a:gd name="connsiteX6" fmla="*/ 46329 w 76200"/>
                    <a:gd name="connsiteY6" fmla="*/ 104747 h 104775"/>
                    <a:gd name="connsiteX7" fmla="*/ 30766 w 76200"/>
                    <a:gd name="connsiteY7" fmla="*/ 104747 h 104775"/>
                    <a:gd name="connsiteX8" fmla="*/ 30766 w 76200"/>
                    <a:gd name="connsiteY8" fmla="*/ 164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4775">
                      <a:moveTo>
                        <a:pt x="30756" y="16469"/>
                      </a:moveTo>
                      <a:lnTo>
                        <a:pt x="7144" y="16469"/>
                      </a:lnTo>
                      <a:lnTo>
                        <a:pt x="7144" y="7144"/>
                      </a:lnTo>
                      <a:lnTo>
                        <a:pt x="69942" y="7144"/>
                      </a:lnTo>
                      <a:lnTo>
                        <a:pt x="69942" y="16469"/>
                      </a:lnTo>
                      <a:lnTo>
                        <a:pt x="46329" y="16469"/>
                      </a:lnTo>
                      <a:lnTo>
                        <a:pt x="46329" y="104747"/>
                      </a:lnTo>
                      <a:lnTo>
                        <a:pt x="30766" y="104747"/>
                      </a:lnTo>
                      <a:lnTo>
                        <a:pt x="30766" y="16469"/>
                      </a:lnTo>
                      <a:close/>
                    </a:path>
                  </a:pathLst>
                </a:custGeom>
                <a:solidFill>
                  <a:schemeClr val="bg1"/>
                </a:solidFill>
                <a:ln w="9525" cap="flat">
                  <a:noFill/>
                  <a:prstDash val="solid"/>
                  <a:miter/>
                </a:ln>
              </p:spPr>
              <p:txBody>
                <a:bodyPr rtlCol="0" anchor="ctr"/>
                <a:lstStyle/>
                <a:p>
                  <a:endParaRPr lang="ja-JP" altLang="en-US"/>
                </a:p>
              </p:txBody>
            </p:sp>
            <p:sp>
              <p:nvSpPr>
                <p:cNvPr id="1118" name="フリーフォーム: 図形 69"/>
                <p:cNvSpPr/>
                <p:nvPr/>
              </p:nvSpPr>
              <p:spPr>
                <a:xfrm>
                  <a:off x="2416669"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19" name="フリーフォーム: 図形 70"/>
                <p:cNvSpPr/>
                <p:nvPr/>
              </p:nvSpPr>
              <p:spPr>
                <a:xfrm>
                  <a:off x="2462075" y="5886475"/>
                  <a:ext cx="57150" cy="76200"/>
                </a:xfrm>
                <a:custGeom>
                  <a:avLst/>
                  <a:gdLst>
                    <a:gd name="connsiteX0" fmla="*/ 44777 w 57150"/>
                    <a:gd name="connsiteY0" fmla="*/ 66694 h 76200"/>
                    <a:gd name="connsiteX1" fmla="*/ 44482 w 57150"/>
                    <a:gd name="connsiteY1" fmla="*/ 66694 h 76200"/>
                    <a:gd name="connsiteX2" fmla="*/ 25537 w 57150"/>
                    <a:gd name="connsiteY2" fmla="*/ 77581 h 76200"/>
                    <a:gd name="connsiteX3" fmla="*/ 7144 w 57150"/>
                    <a:gd name="connsiteY3" fmla="*/ 60760 h 76200"/>
                    <a:gd name="connsiteX4" fmla="*/ 44777 w 57150"/>
                    <a:gd name="connsiteY4" fmla="*/ 38548 h 76200"/>
                    <a:gd name="connsiteX5" fmla="*/ 44777 w 57150"/>
                    <a:gd name="connsiteY5" fmla="*/ 32613 h 76200"/>
                    <a:gd name="connsiteX6" fmla="*/ 35290 w 57150"/>
                    <a:gd name="connsiteY6" fmla="*/ 13078 h 76200"/>
                    <a:gd name="connsiteX7" fmla="*/ 24394 w 57150"/>
                    <a:gd name="connsiteY7" fmla="*/ 27794 h 76200"/>
                    <a:gd name="connsiteX8" fmla="*/ 9401 w 57150"/>
                    <a:gd name="connsiteY8" fmla="*/ 27794 h 76200"/>
                    <a:gd name="connsiteX9" fmla="*/ 35290 w 57150"/>
                    <a:gd name="connsiteY9" fmla="*/ 7144 h 76200"/>
                    <a:gd name="connsiteX10" fmla="*/ 59064 w 57150"/>
                    <a:gd name="connsiteY10" fmla="*/ 32613 h 76200"/>
                    <a:gd name="connsiteX11" fmla="*/ 59064 w 57150"/>
                    <a:gd name="connsiteY11" fmla="*/ 76038 h 76200"/>
                    <a:gd name="connsiteX12" fmla="*/ 44777 w 57150"/>
                    <a:gd name="connsiteY12" fmla="*/ 76038 h 76200"/>
                    <a:gd name="connsiteX13" fmla="*/ 44777 w 57150"/>
                    <a:gd name="connsiteY13" fmla="*/ 66694 h 76200"/>
                    <a:gd name="connsiteX14" fmla="*/ 44777 w 57150"/>
                    <a:gd name="connsiteY14" fmla="*/ 44482 h 76200"/>
                    <a:gd name="connsiteX15" fmla="*/ 22708 w 57150"/>
                    <a:gd name="connsiteY15" fmla="*/ 58636 h 76200"/>
                    <a:gd name="connsiteX16" fmla="*/ 30899 w 57150"/>
                    <a:gd name="connsiteY16" fmla="*/ 68666 h 76200"/>
                    <a:gd name="connsiteX17" fmla="*/ 44777 w 57150"/>
                    <a:gd name="connsiteY17" fmla="*/ 52406 h 76200"/>
                    <a:gd name="connsiteX18" fmla="*/ 44777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77" y="66694"/>
                      </a:moveTo>
                      <a:lnTo>
                        <a:pt x="44482" y="66694"/>
                      </a:lnTo>
                      <a:cubicBezTo>
                        <a:pt x="42224" y="70656"/>
                        <a:pt x="36281" y="77581"/>
                        <a:pt x="25537" y="77581"/>
                      </a:cubicBezTo>
                      <a:cubicBezTo>
                        <a:pt x="14926" y="77581"/>
                        <a:pt x="7144" y="70085"/>
                        <a:pt x="7144" y="60760"/>
                      </a:cubicBezTo>
                      <a:cubicBezTo>
                        <a:pt x="7144" y="39957"/>
                        <a:pt x="35861" y="38976"/>
                        <a:pt x="44777" y="38548"/>
                      </a:cubicBezTo>
                      <a:lnTo>
                        <a:pt x="44777" y="32613"/>
                      </a:lnTo>
                      <a:cubicBezTo>
                        <a:pt x="44777" y="25251"/>
                        <a:pt x="44777" y="13078"/>
                        <a:pt x="35290" y="13078"/>
                      </a:cubicBezTo>
                      <a:cubicBezTo>
                        <a:pt x="26518" y="13078"/>
                        <a:pt x="24965" y="19869"/>
                        <a:pt x="24394" y="27794"/>
                      </a:cubicBezTo>
                      <a:lnTo>
                        <a:pt x="9401" y="27794"/>
                      </a:lnTo>
                      <a:cubicBezTo>
                        <a:pt x="10106" y="17745"/>
                        <a:pt x="14068" y="7144"/>
                        <a:pt x="35290" y="7144"/>
                      </a:cubicBezTo>
                      <a:cubicBezTo>
                        <a:pt x="57217" y="7144"/>
                        <a:pt x="59064" y="19440"/>
                        <a:pt x="59064" y="32613"/>
                      </a:cubicBezTo>
                      <a:lnTo>
                        <a:pt x="59064" y="76038"/>
                      </a:lnTo>
                      <a:lnTo>
                        <a:pt x="44777" y="76038"/>
                      </a:lnTo>
                      <a:lnTo>
                        <a:pt x="44777" y="66694"/>
                      </a:lnTo>
                      <a:close/>
                      <a:moveTo>
                        <a:pt x="44777" y="44482"/>
                      </a:moveTo>
                      <a:cubicBezTo>
                        <a:pt x="38824" y="44910"/>
                        <a:pt x="22708" y="46177"/>
                        <a:pt x="22708" y="58636"/>
                      </a:cubicBezTo>
                      <a:cubicBezTo>
                        <a:pt x="22708" y="64703"/>
                        <a:pt x="26241" y="68666"/>
                        <a:pt x="30899" y="68666"/>
                      </a:cubicBezTo>
                      <a:cubicBezTo>
                        <a:pt x="35861" y="68666"/>
                        <a:pt x="44777" y="63865"/>
                        <a:pt x="44777" y="52406"/>
                      </a:cubicBezTo>
                      <a:lnTo>
                        <a:pt x="44777" y="44482"/>
                      </a:lnTo>
                      <a:close/>
                    </a:path>
                  </a:pathLst>
                </a:custGeom>
                <a:solidFill>
                  <a:schemeClr val="bg1"/>
                </a:solidFill>
                <a:ln w="9525" cap="flat">
                  <a:noFill/>
                  <a:prstDash val="solid"/>
                  <a:miter/>
                </a:ln>
              </p:spPr>
              <p:txBody>
                <a:bodyPr rtlCol="0" anchor="ctr"/>
                <a:lstStyle/>
                <a:p>
                  <a:endParaRPr lang="ja-JP" altLang="en-US"/>
                </a:p>
              </p:txBody>
            </p:sp>
            <p:sp>
              <p:nvSpPr>
                <p:cNvPr id="1120" name="フリーフォーム: 図形 71"/>
                <p:cNvSpPr/>
                <p:nvPr/>
              </p:nvSpPr>
              <p:spPr>
                <a:xfrm>
                  <a:off x="2534627" y="5886475"/>
                  <a:ext cx="66675" cy="76200"/>
                </a:xfrm>
                <a:custGeom>
                  <a:avLst/>
                  <a:gdLst>
                    <a:gd name="connsiteX0" fmla="*/ 7153 w 66675"/>
                    <a:gd name="connsiteY0" fmla="*/ 8706 h 76200"/>
                    <a:gd name="connsiteX1" fmla="*/ 21431 w 66675"/>
                    <a:gd name="connsiteY1" fmla="*/ 8706 h 76200"/>
                    <a:gd name="connsiteX2" fmla="*/ 21431 w 66675"/>
                    <a:gd name="connsiteY2" fmla="*/ 24689 h 76200"/>
                    <a:gd name="connsiteX3" fmla="*/ 21717 w 66675"/>
                    <a:gd name="connsiteY3" fmla="*/ 24689 h 76200"/>
                    <a:gd name="connsiteX4" fmla="*/ 45329 w 66675"/>
                    <a:gd name="connsiteY4" fmla="*/ 7144 h 76200"/>
                    <a:gd name="connsiteX5" fmla="*/ 62303 w 66675"/>
                    <a:gd name="connsiteY5" fmla="*/ 26803 h 76200"/>
                    <a:gd name="connsiteX6" fmla="*/ 62303 w 66675"/>
                    <a:gd name="connsiteY6" fmla="*/ 76029 h 76200"/>
                    <a:gd name="connsiteX7" fmla="*/ 48015 w 66675"/>
                    <a:gd name="connsiteY7" fmla="*/ 76029 h 76200"/>
                    <a:gd name="connsiteX8" fmla="*/ 48015 w 66675"/>
                    <a:gd name="connsiteY8" fmla="*/ 33871 h 76200"/>
                    <a:gd name="connsiteX9" fmla="*/ 39529 w 66675"/>
                    <a:gd name="connsiteY9" fmla="*/ 17745 h 76200"/>
                    <a:gd name="connsiteX10" fmla="*/ 21422 w 66675"/>
                    <a:gd name="connsiteY10" fmla="*/ 48158 h 76200"/>
                    <a:gd name="connsiteX11" fmla="*/ 21422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31" y="8706"/>
                      </a:lnTo>
                      <a:lnTo>
                        <a:pt x="21431" y="24689"/>
                      </a:lnTo>
                      <a:lnTo>
                        <a:pt x="21717" y="24689"/>
                      </a:lnTo>
                      <a:cubicBezTo>
                        <a:pt x="23974" y="19736"/>
                        <a:pt x="30489" y="7144"/>
                        <a:pt x="45329" y="7144"/>
                      </a:cubicBezTo>
                      <a:cubicBezTo>
                        <a:pt x="57217" y="7144"/>
                        <a:pt x="62303" y="17040"/>
                        <a:pt x="62303" y="26803"/>
                      </a:cubicBezTo>
                      <a:lnTo>
                        <a:pt x="62303" y="76029"/>
                      </a:lnTo>
                      <a:lnTo>
                        <a:pt x="48015" y="76029"/>
                      </a:lnTo>
                      <a:lnTo>
                        <a:pt x="48015" y="33871"/>
                      </a:lnTo>
                      <a:cubicBezTo>
                        <a:pt x="48015" y="25384"/>
                        <a:pt x="46739" y="17745"/>
                        <a:pt x="39529" y="17745"/>
                      </a:cubicBezTo>
                      <a:cubicBezTo>
                        <a:pt x="25384" y="17745"/>
                        <a:pt x="21422" y="39805"/>
                        <a:pt x="21422" y="48158"/>
                      </a:cubicBezTo>
                      <a:lnTo>
                        <a:pt x="21422"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21" name="フリーフォーム: 図形 72"/>
                <p:cNvSpPr/>
                <p:nvPr/>
              </p:nvSpPr>
              <p:spPr>
                <a:xfrm>
                  <a:off x="2607750" y="5886465"/>
                  <a:ext cx="57150" cy="76200"/>
                </a:xfrm>
                <a:custGeom>
                  <a:avLst/>
                  <a:gdLst>
                    <a:gd name="connsiteX0" fmla="*/ 46615 w 57150"/>
                    <a:gd name="connsiteY0" fmla="*/ 22003 h 76200"/>
                    <a:gd name="connsiteX1" fmla="*/ 29642 w 57150"/>
                    <a:gd name="connsiteY1" fmla="*/ 15364 h 76200"/>
                    <a:gd name="connsiteX2" fmla="*/ 20022 w 57150"/>
                    <a:gd name="connsiteY2" fmla="*/ 22431 h 76200"/>
                    <a:gd name="connsiteX3" fmla="*/ 50854 w 57150"/>
                    <a:gd name="connsiteY3" fmla="*/ 57236 h 76200"/>
                    <a:gd name="connsiteX4" fmla="*/ 25251 w 57150"/>
                    <a:gd name="connsiteY4" fmla="*/ 77591 h 76200"/>
                    <a:gd name="connsiteX5" fmla="*/ 7277 w 57150"/>
                    <a:gd name="connsiteY5" fmla="*/ 74628 h 76200"/>
                    <a:gd name="connsiteX6" fmla="*/ 7277 w 57150"/>
                    <a:gd name="connsiteY6" fmla="*/ 61474 h 76200"/>
                    <a:gd name="connsiteX7" fmla="*/ 25956 w 57150"/>
                    <a:gd name="connsiteY7" fmla="*/ 68542 h 76200"/>
                    <a:gd name="connsiteX8" fmla="*/ 37557 w 57150"/>
                    <a:gd name="connsiteY8" fmla="*/ 60055 h 76200"/>
                    <a:gd name="connsiteX9" fmla="*/ 7144 w 57150"/>
                    <a:gd name="connsiteY9" fmla="*/ 26527 h 76200"/>
                    <a:gd name="connsiteX10" fmla="*/ 3076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15" y="22003"/>
                      </a:moveTo>
                      <a:cubicBezTo>
                        <a:pt x="41805" y="18745"/>
                        <a:pt x="36433" y="15364"/>
                        <a:pt x="29642" y="15364"/>
                      </a:cubicBezTo>
                      <a:cubicBezTo>
                        <a:pt x="25108" y="15364"/>
                        <a:pt x="20022" y="17336"/>
                        <a:pt x="20022" y="22431"/>
                      </a:cubicBezTo>
                      <a:cubicBezTo>
                        <a:pt x="20022" y="34595"/>
                        <a:pt x="50854" y="35728"/>
                        <a:pt x="50854" y="57236"/>
                      </a:cubicBezTo>
                      <a:cubicBezTo>
                        <a:pt x="50854" y="71656"/>
                        <a:pt x="39538" y="77591"/>
                        <a:pt x="25251" y="77591"/>
                      </a:cubicBezTo>
                      <a:cubicBezTo>
                        <a:pt x="16621" y="77591"/>
                        <a:pt x="10678" y="75771"/>
                        <a:pt x="7277" y="74628"/>
                      </a:cubicBezTo>
                      <a:lnTo>
                        <a:pt x="7277" y="61474"/>
                      </a:lnTo>
                      <a:cubicBezTo>
                        <a:pt x="11382" y="64303"/>
                        <a:pt x="18031" y="68542"/>
                        <a:pt x="25956" y="68542"/>
                      </a:cubicBezTo>
                      <a:cubicBezTo>
                        <a:pt x="34157" y="68542"/>
                        <a:pt x="37557" y="64303"/>
                        <a:pt x="37557" y="60055"/>
                      </a:cubicBezTo>
                      <a:cubicBezTo>
                        <a:pt x="37557" y="48168"/>
                        <a:pt x="7144" y="45768"/>
                        <a:pt x="7144" y="26527"/>
                      </a:cubicBezTo>
                      <a:cubicBezTo>
                        <a:pt x="7144" y="16335"/>
                        <a:pt x="13935" y="7144"/>
                        <a:pt x="30766" y="7144"/>
                      </a:cubicBezTo>
                      <a:cubicBezTo>
                        <a:pt x="37976" y="7144"/>
                        <a:pt x="44196" y="9115"/>
                        <a:pt x="46606" y="9820"/>
                      </a:cubicBezTo>
                      <a:lnTo>
                        <a:pt x="46606" y="22003"/>
                      </a:lnTo>
                      <a:close/>
                    </a:path>
                  </a:pathLst>
                </a:custGeom>
                <a:solidFill>
                  <a:schemeClr val="bg1"/>
                </a:solidFill>
                <a:ln w="9525" cap="flat">
                  <a:noFill/>
                  <a:prstDash val="solid"/>
                  <a:miter/>
                </a:ln>
              </p:spPr>
              <p:txBody>
                <a:bodyPr rtlCol="0" anchor="ctr"/>
                <a:lstStyle/>
                <a:p>
                  <a:endParaRPr lang="ja-JP" altLang="en-US"/>
                </a:p>
              </p:txBody>
            </p:sp>
            <p:sp>
              <p:nvSpPr>
                <p:cNvPr id="1122" name="フリーフォーム: 図形 73"/>
                <p:cNvSpPr/>
                <p:nvPr/>
              </p:nvSpPr>
              <p:spPr>
                <a:xfrm>
                  <a:off x="2668015" y="5886475"/>
                  <a:ext cx="66675" cy="104775"/>
                </a:xfrm>
                <a:custGeom>
                  <a:avLst/>
                  <a:gdLst>
                    <a:gd name="connsiteX0" fmla="*/ 7144 w 66675"/>
                    <a:gd name="connsiteY0" fmla="*/ 8706 h 104775"/>
                    <a:gd name="connsiteX1" fmla="*/ 21431 w 66675"/>
                    <a:gd name="connsiteY1" fmla="*/ 8706 h 104775"/>
                    <a:gd name="connsiteX2" fmla="*/ 21431 w 66675"/>
                    <a:gd name="connsiteY2" fmla="*/ 19736 h 104775"/>
                    <a:gd name="connsiteX3" fmla="*/ 21707 w 66675"/>
                    <a:gd name="connsiteY3" fmla="*/ 19736 h 104775"/>
                    <a:gd name="connsiteX4" fmla="*/ 39110 w 66675"/>
                    <a:gd name="connsiteY4" fmla="*/ 7144 h 104775"/>
                    <a:gd name="connsiteX5" fmla="*/ 64570 w 66675"/>
                    <a:gd name="connsiteY5" fmla="*/ 42358 h 104775"/>
                    <a:gd name="connsiteX6" fmla="*/ 39110 w 66675"/>
                    <a:gd name="connsiteY6" fmla="*/ 77571 h 104775"/>
                    <a:gd name="connsiteX7" fmla="*/ 21707 w 66675"/>
                    <a:gd name="connsiteY7" fmla="*/ 66684 h 104775"/>
                    <a:gd name="connsiteX8" fmla="*/ 21431 w 66675"/>
                    <a:gd name="connsiteY8" fmla="*/ 66684 h 104775"/>
                    <a:gd name="connsiteX9" fmla="*/ 21431 w 66675"/>
                    <a:gd name="connsiteY9" fmla="*/ 106289 h 104775"/>
                    <a:gd name="connsiteX10" fmla="*/ 7144 w 66675"/>
                    <a:gd name="connsiteY10" fmla="*/ 106289 h 104775"/>
                    <a:gd name="connsiteX11" fmla="*/ 7144 w 66675"/>
                    <a:gd name="connsiteY11" fmla="*/ 8706 h 104775"/>
                    <a:gd name="connsiteX12" fmla="*/ 35423 w 66675"/>
                    <a:gd name="connsiteY12" fmla="*/ 69370 h 104775"/>
                    <a:gd name="connsiteX13" fmla="*/ 49006 w 66675"/>
                    <a:gd name="connsiteY13" fmla="*/ 42358 h 104775"/>
                    <a:gd name="connsiteX14" fmla="*/ 35423 w 66675"/>
                    <a:gd name="connsiteY14" fmla="*/ 16202 h 104775"/>
                    <a:gd name="connsiteX15" fmla="*/ 21993 w 66675"/>
                    <a:gd name="connsiteY15" fmla="*/ 42358 h 104775"/>
                    <a:gd name="connsiteX16" fmla="*/ 35423 w 66675"/>
                    <a:gd name="connsiteY16" fmla="*/ 6937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7144" y="8706"/>
                      </a:moveTo>
                      <a:lnTo>
                        <a:pt x="21431" y="8706"/>
                      </a:lnTo>
                      <a:lnTo>
                        <a:pt x="21431" y="19736"/>
                      </a:lnTo>
                      <a:lnTo>
                        <a:pt x="21707" y="19736"/>
                      </a:lnTo>
                      <a:cubicBezTo>
                        <a:pt x="23689" y="15192"/>
                        <a:pt x="28356" y="7144"/>
                        <a:pt x="39110" y="7144"/>
                      </a:cubicBezTo>
                      <a:cubicBezTo>
                        <a:pt x="58626" y="7144"/>
                        <a:pt x="64570" y="22993"/>
                        <a:pt x="64570" y="42358"/>
                      </a:cubicBezTo>
                      <a:cubicBezTo>
                        <a:pt x="64570" y="62579"/>
                        <a:pt x="57074" y="77571"/>
                        <a:pt x="39110" y="77571"/>
                      </a:cubicBezTo>
                      <a:cubicBezTo>
                        <a:pt x="27794" y="77571"/>
                        <a:pt x="23689" y="70371"/>
                        <a:pt x="21707" y="66684"/>
                      </a:cubicBezTo>
                      <a:lnTo>
                        <a:pt x="21431" y="66684"/>
                      </a:lnTo>
                      <a:lnTo>
                        <a:pt x="21431" y="106289"/>
                      </a:lnTo>
                      <a:lnTo>
                        <a:pt x="7144" y="106289"/>
                      </a:lnTo>
                      <a:lnTo>
                        <a:pt x="7144" y="8706"/>
                      </a:lnTo>
                      <a:close/>
                      <a:moveTo>
                        <a:pt x="35423" y="69370"/>
                      </a:moveTo>
                      <a:cubicBezTo>
                        <a:pt x="46606" y="69370"/>
                        <a:pt x="49006" y="54092"/>
                        <a:pt x="49006" y="42358"/>
                      </a:cubicBezTo>
                      <a:cubicBezTo>
                        <a:pt x="49006" y="31194"/>
                        <a:pt x="46882" y="16202"/>
                        <a:pt x="35423" y="16202"/>
                      </a:cubicBezTo>
                      <a:cubicBezTo>
                        <a:pt x="23689" y="16202"/>
                        <a:pt x="21993" y="31194"/>
                        <a:pt x="21993" y="42358"/>
                      </a:cubicBezTo>
                      <a:cubicBezTo>
                        <a:pt x="21993" y="54102"/>
                        <a:pt x="23117" y="69370"/>
                        <a:pt x="35423" y="69370"/>
                      </a:cubicBezTo>
                      <a:close/>
                    </a:path>
                  </a:pathLst>
                </a:custGeom>
                <a:solidFill>
                  <a:schemeClr val="bg1"/>
                </a:solidFill>
                <a:ln w="9525" cap="flat">
                  <a:noFill/>
                  <a:prstDash val="solid"/>
                  <a:miter/>
                </a:ln>
              </p:spPr>
              <p:txBody>
                <a:bodyPr rtlCol="0" anchor="ctr"/>
                <a:lstStyle/>
                <a:p>
                  <a:endParaRPr lang="ja-JP" altLang="en-US"/>
                </a:p>
              </p:txBody>
            </p:sp>
            <p:sp>
              <p:nvSpPr>
                <p:cNvPr id="1123" name="フリーフォーム: 図形 74"/>
                <p:cNvSpPr/>
                <p:nvPr/>
              </p:nvSpPr>
              <p:spPr>
                <a:xfrm>
                  <a:off x="2736614" y="5886475"/>
                  <a:ext cx="66675" cy="76200"/>
                </a:xfrm>
                <a:custGeom>
                  <a:avLst/>
                  <a:gdLst>
                    <a:gd name="connsiteX0" fmla="*/ 7144 w 66675"/>
                    <a:gd name="connsiteY0" fmla="*/ 42358 h 76200"/>
                    <a:gd name="connsiteX1" fmla="*/ 36852 w 66675"/>
                    <a:gd name="connsiteY1" fmla="*/ 7144 h 76200"/>
                    <a:gd name="connsiteX2" fmla="*/ 66694 w 66675"/>
                    <a:gd name="connsiteY2" fmla="*/ 42358 h 76200"/>
                    <a:gd name="connsiteX3" fmla="*/ 36852 w 66675"/>
                    <a:gd name="connsiteY3" fmla="*/ 77571 h 76200"/>
                    <a:gd name="connsiteX4" fmla="*/ 7144 w 66675"/>
                    <a:gd name="connsiteY4" fmla="*/ 42358 h 76200"/>
                    <a:gd name="connsiteX5" fmla="*/ 36852 w 66675"/>
                    <a:gd name="connsiteY5" fmla="*/ 71647 h 76200"/>
                    <a:gd name="connsiteX6" fmla="*/ 51130 w 66675"/>
                    <a:gd name="connsiteY6" fmla="*/ 42367 h 76200"/>
                    <a:gd name="connsiteX7" fmla="*/ 36852 w 66675"/>
                    <a:gd name="connsiteY7" fmla="*/ 13087 h 76200"/>
                    <a:gd name="connsiteX8" fmla="*/ 22708 w 66675"/>
                    <a:gd name="connsiteY8" fmla="*/ 42367 h 76200"/>
                    <a:gd name="connsiteX9" fmla="*/ 36852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50" y="7144"/>
                        <a:pt x="36852" y="7144"/>
                      </a:cubicBezTo>
                      <a:cubicBezTo>
                        <a:pt x="56645" y="7144"/>
                        <a:pt x="66694" y="19593"/>
                        <a:pt x="66694" y="42358"/>
                      </a:cubicBezTo>
                      <a:cubicBezTo>
                        <a:pt x="66694" y="65122"/>
                        <a:pt x="56645" y="77571"/>
                        <a:pt x="36852" y="77571"/>
                      </a:cubicBezTo>
                      <a:cubicBezTo>
                        <a:pt x="17050" y="77581"/>
                        <a:pt x="7144" y="65132"/>
                        <a:pt x="7144" y="42358"/>
                      </a:cubicBezTo>
                      <a:close/>
                      <a:moveTo>
                        <a:pt x="36852" y="71647"/>
                      </a:moveTo>
                      <a:cubicBezTo>
                        <a:pt x="49577" y="71647"/>
                        <a:pt x="51130" y="54683"/>
                        <a:pt x="51130" y="42367"/>
                      </a:cubicBezTo>
                      <a:cubicBezTo>
                        <a:pt x="51130" y="30070"/>
                        <a:pt x="49577" y="13087"/>
                        <a:pt x="36852" y="13087"/>
                      </a:cubicBezTo>
                      <a:cubicBezTo>
                        <a:pt x="24260" y="13087"/>
                        <a:pt x="22708" y="30070"/>
                        <a:pt x="22708" y="42367"/>
                      </a:cubicBezTo>
                      <a:cubicBezTo>
                        <a:pt x="22698" y="54673"/>
                        <a:pt x="24260" y="71647"/>
                        <a:pt x="36852" y="71647"/>
                      </a:cubicBezTo>
                      <a:close/>
                    </a:path>
                  </a:pathLst>
                </a:custGeom>
                <a:solidFill>
                  <a:schemeClr val="bg1"/>
                </a:solidFill>
                <a:ln w="9525" cap="flat">
                  <a:noFill/>
                  <a:prstDash val="solid"/>
                  <a:miter/>
                </a:ln>
              </p:spPr>
              <p:txBody>
                <a:bodyPr rtlCol="0" anchor="ctr"/>
                <a:lstStyle/>
                <a:p>
                  <a:endParaRPr lang="ja-JP" altLang="en-US"/>
                </a:p>
              </p:txBody>
            </p:sp>
            <p:sp>
              <p:nvSpPr>
                <p:cNvPr id="1124" name="フリーフォーム: 図形 75"/>
                <p:cNvSpPr/>
                <p:nvPr/>
              </p:nvSpPr>
              <p:spPr>
                <a:xfrm>
                  <a:off x="2812290" y="5886475"/>
                  <a:ext cx="47625" cy="76200"/>
                </a:xfrm>
                <a:custGeom>
                  <a:avLst/>
                  <a:gdLst>
                    <a:gd name="connsiteX0" fmla="*/ 7144 w 47625"/>
                    <a:gd name="connsiteY0" fmla="*/ 8706 h 76200"/>
                    <a:gd name="connsiteX1" fmla="*/ 21422 w 47625"/>
                    <a:gd name="connsiteY1" fmla="*/ 8706 h 76200"/>
                    <a:gd name="connsiteX2" fmla="*/ 21422 w 47625"/>
                    <a:gd name="connsiteY2" fmla="*/ 25822 h 76200"/>
                    <a:gd name="connsiteX3" fmla="*/ 21708 w 47625"/>
                    <a:gd name="connsiteY3" fmla="*/ 25822 h 76200"/>
                    <a:gd name="connsiteX4" fmla="*/ 43491 w 47625"/>
                    <a:gd name="connsiteY4" fmla="*/ 7144 h 76200"/>
                    <a:gd name="connsiteX5" fmla="*/ 43491 w 47625"/>
                    <a:gd name="connsiteY5" fmla="*/ 21993 h 76200"/>
                    <a:gd name="connsiteX6" fmla="*/ 21422 w 47625"/>
                    <a:gd name="connsiteY6" fmla="*/ 45196 h 76200"/>
                    <a:gd name="connsiteX7" fmla="*/ 21422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22" y="8706"/>
                      </a:lnTo>
                      <a:lnTo>
                        <a:pt x="21422" y="25822"/>
                      </a:lnTo>
                      <a:lnTo>
                        <a:pt x="21708" y="25822"/>
                      </a:lnTo>
                      <a:cubicBezTo>
                        <a:pt x="26232" y="16764"/>
                        <a:pt x="31185" y="8134"/>
                        <a:pt x="43491" y="7144"/>
                      </a:cubicBezTo>
                      <a:lnTo>
                        <a:pt x="43491" y="21993"/>
                      </a:lnTo>
                      <a:cubicBezTo>
                        <a:pt x="29775" y="22422"/>
                        <a:pt x="21422" y="27089"/>
                        <a:pt x="21422" y="45196"/>
                      </a:cubicBezTo>
                      <a:lnTo>
                        <a:pt x="21422"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25" name="フリーフォーム: 図形 76"/>
                <p:cNvSpPr/>
                <p:nvPr/>
              </p:nvSpPr>
              <p:spPr>
                <a:xfrm>
                  <a:off x="2855562" y="5863567"/>
                  <a:ext cx="57150" cy="104775"/>
                </a:xfrm>
                <a:custGeom>
                  <a:avLst/>
                  <a:gdLst>
                    <a:gd name="connsiteX0" fmla="*/ 49016 w 57150"/>
                    <a:gd name="connsiteY0" fmla="*/ 99498 h 104775"/>
                    <a:gd name="connsiteX1" fmla="*/ 39110 w 57150"/>
                    <a:gd name="connsiteY1" fmla="*/ 100489 h 104775"/>
                    <a:gd name="connsiteX2" fmla="*/ 17888 w 57150"/>
                    <a:gd name="connsiteY2" fmla="*/ 83372 h 104775"/>
                    <a:gd name="connsiteX3" fmla="*/ 17888 w 57150"/>
                    <a:gd name="connsiteY3" fmla="*/ 38967 h 104775"/>
                    <a:gd name="connsiteX4" fmla="*/ 7144 w 57150"/>
                    <a:gd name="connsiteY4" fmla="*/ 38967 h 104775"/>
                    <a:gd name="connsiteX5" fmla="*/ 7144 w 57150"/>
                    <a:gd name="connsiteY5" fmla="*/ 31623 h 104775"/>
                    <a:gd name="connsiteX6" fmla="*/ 17888 w 57150"/>
                    <a:gd name="connsiteY6" fmla="*/ 31623 h 104775"/>
                    <a:gd name="connsiteX7" fmla="*/ 17888 w 57150"/>
                    <a:gd name="connsiteY7" fmla="*/ 15773 h 104775"/>
                    <a:gd name="connsiteX8" fmla="*/ 32175 w 57150"/>
                    <a:gd name="connsiteY8" fmla="*/ 7144 h 104775"/>
                    <a:gd name="connsiteX9" fmla="*/ 32175 w 57150"/>
                    <a:gd name="connsiteY9" fmla="*/ 31623 h 104775"/>
                    <a:gd name="connsiteX10" fmla="*/ 50568 w 57150"/>
                    <a:gd name="connsiteY10" fmla="*/ 31623 h 104775"/>
                    <a:gd name="connsiteX11" fmla="*/ 50568 w 57150"/>
                    <a:gd name="connsiteY11" fmla="*/ 38967 h 104775"/>
                    <a:gd name="connsiteX12" fmla="*/ 32175 w 57150"/>
                    <a:gd name="connsiteY12" fmla="*/ 38967 h 104775"/>
                    <a:gd name="connsiteX13" fmla="*/ 32175 w 57150"/>
                    <a:gd name="connsiteY13" fmla="*/ 77714 h 104775"/>
                    <a:gd name="connsiteX14" fmla="*/ 42358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77" y="100203"/>
                        <a:pt x="42367" y="100489"/>
                        <a:pt x="39110" y="100489"/>
                      </a:cubicBezTo>
                      <a:cubicBezTo>
                        <a:pt x="25679" y="100489"/>
                        <a:pt x="17888" y="96393"/>
                        <a:pt x="17888" y="83372"/>
                      </a:cubicBezTo>
                      <a:lnTo>
                        <a:pt x="17888" y="38967"/>
                      </a:lnTo>
                      <a:lnTo>
                        <a:pt x="7144" y="38967"/>
                      </a:lnTo>
                      <a:lnTo>
                        <a:pt x="7144" y="31623"/>
                      </a:lnTo>
                      <a:lnTo>
                        <a:pt x="17888" y="31623"/>
                      </a:lnTo>
                      <a:lnTo>
                        <a:pt x="17888" y="15773"/>
                      </a:lnTo>
                      <a:lnTo>
                        <a:pt x="32175" y="7144"/>
                      </a:lnTo>
                      <a:lnTo>
                        <a:pt x="32175" y="31623"/>
                      </a:lnTo>
                      <a:lnTo>
                        <a:pt x="50568" y="31623"/>
                      </a:lnTo>
                      <a:lnTo>
                        <a:pt x="50568" y="38967"/>
                      </a:lnTo>
                      <a:lnTo>
                        <a:pt x="32175" y="38967"/>
                      </a:lnTo>
                      <a:lnTo>
                        <a:pt x="32175" y="77714"/>
                      </a:lnTo>
                      <a:cubicBezTo>
                        <a:pt x="32175" y="87611"/>
                        <a:pt x="33166" y="92430"/>
                        <a:pt x="42358" y="92430"/>
                      </a:cubicBezTo>
                      <a:cubicBezTo>
                        <a:pt x="44615" y="92430"/>
                        <a:pt x="47025" y="92154"/>
                        <a:pt x="49006" y="91297"/>
                      </a:cubicBezTo>
                      <a:lnTo>
                        <a:pt x="49006" y="99498"/>
                      </a:lnTo>
                      <a:close/>
                    </a:path>
                  </a:pathLst>
                </a:custGeom>
                <a:solidFill>
                  <a:schemeClr val="bg1"/>
                </a:solidFill>
                <a:ln w="9525" cap="flat">
                  <a:noFill/>
                  <a:prstDash val="solid"/>
                  <a:miter/>
                </a:ln>
              </p:spPr>
              <p:txBody>
                <a:bodyPr rtlCol="0" anchor="ctr"/>
                <a:lstStyle/>
                <a:p>
                  <a:endParaRPr lang="ja-JP" altLang="en-US"/>
                </a:p>
              </p:txBody>
            </p:sp>
            <p:sp>
              <p:nvSpPr>
                <p:cNvPr id="1126" name="フリーフォーム: 図形 77"/>
                <p:cNvSpPr/>
                <p:nvPr/>
              </p:nvSpPr>
              <p:spPr>
                <a:xfrm>
                  <a:off x="2946659" y="5886475"/>
                  <a:ext cx="57150" cy="76200"/>
                </a:xfrm>
                <a:custGeom>
                  <a:avLst/>
                  <a:gdLst>
                    <a:gd name="connsiteX0" fmla="*/ 44767 w 57150"/>
                    <a:gd name="connsiteY0" fmla="*/ 66694 h 76200"/>
                    <a:gd name="connsiteX1" fmla="*/ 44491 w 57150"/>
                    <a:gd name="connsiteY1" fmla="*/ 66694 h 76200"/>
                    <a:gd name="connsiteX2" fmla="*/ 25537 w 57150"/>
                    <a:gd name="connsiteY2" fmla="*/ 77581 h 76200"/>
                    <a:gd name="connsiteX3" fmla="*/ 7144 w 57150"/>
                    <a:gd name="connsiteY3" fmla="*/ 60760 h 76200"/>
                    <a:gd name="connsiteX4" fmla="*/ 44767 w 57150"/>
                    <a:gd name="connsiteY4" fmla="*/ 38548 h 76200"/>
                    <a:gd name="connsiteX5" fmla="*/ 44767 w 57150"/>
                    <a:gd name="connsiteY5" fmla="*/ 32613 h 76200"/>
                    <a:gd name="connsiteX6" fmla="*/ 35290 w 57150"/>
                    <a:gd name="connsiteY6" fmla="*/ 13078 h 76200"/>
                    <a:gd name="connsiteX7" fmla="*/ 24403 w 57150"/>
                    <a:gd name="connsiteY7" fmla="*/ 27794 h 76200"/>
                    <a:gd name="connsiteX8" fmla="*/ 9410 w 57150"/>
                    <a:gd name="connsiteY8" fmla="*/ 27794 h 76200"/>
                    <a:gd name="connsiteX9" fmla="*/ 35290 w 57150"/>
                    <a:gd name="connsiteY9" fmla="*/ 7144 h 76200"/>
                    <a:gd name="connsiteX10" fmla="*/ 59055 w 57150"/>
                    <a:gd name="connsiteY10" fmla="*/ 32613 h 76200"/>
                    <a:gd name="connsiteX11" fmla="*/ 59055 w 57150"/>
                    <a:gd name="connsiteY11" fmla="*/ 76038 h 76200"/>
                    <a:gd name="connsiteX12" fmla="*/ 44767 w 57150"/>
                    <a:gd name="connsiteY12" fmla="*/ 76038 h 76200"/>
                    <a:gd name="connsiteX13" fmla="*/ 44767 w 57150"/>
                    <a:gd name="connsiteY13" fmla="*/ 66694 h 76200"/>
                    <a:gd name="connsiteX14" fmla="*/ 44767 w 57150"/>
                    <a:gd name="connsiteY14" fmla="*/ 44482 h 76200"/>
                    <a:gd name="connsiteX15" fmla="*/ 22708 w 57150"/>
                    <a:gd name="connsiteY15" fmla="*/ 58636 h 76200"/>
                    <a:gd name="connsiteX16" fmla="*/ 30909 w 57150"/>
                    <a:gd name="connsiteY16" fmla="*/ 68666 h 76200"/>
                    <a:gd name="connsiteX17" fmla="*/ 44767 w 57150"/>
                    <a:gd name="connsiteY17" fmla="*/ 52406 h 76200"/>
                    <a:gd name="connsiteX18" fmla="*/ 44767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67" y="66694"/>
                      </a:moveTo>
                      <a:lnTo>
                        <a:pt x="44491" y="66694"/>
                      </a:lnTo>
                      <a:cubicBezTo>
                        <a:pt x="42234" y="70656"/>
                        <a:pt x="36290" y="77581"/>
                        <a:pt x="25537" y="77581"/>
                      </a:cubicBezTo>
                      <a:cubicBezTo>
                        <a:pt x="14935" y="77581"/>
                        <a:pt x="7144" y="70085"/>
                        <a:pt x="7144" y="60760"/>
                      </a:cubicBezTo>
                      <a:cubicBezTo>
                        <a:pt x="7144" y="39957"/>
                        <a:pt x="35861" y="38976"/>
                        <a:pt x="44767" y="38548"/>
                      </a:cubicBezTo>
                      <a:lnTo>
                        <a:pt x="44767" y="32613"/>
                      </a:lnTo>
                      <a:cubicBezTo>
                        <a:pt x="44767" y="25251"/>
                        <a:pt x="44767" y="13078"/>
                        <a:pt x="35290" y="13078"/>
                      </a:cubicBezTo>
                      <a:cubicBezTo>
                        <a:pt x="26527" y="13078"/>
                        <a:pt x="24965" y="19869"/>
                        <a:pt x="24403" y="27794"/>
                      </a:cubicBezTo>
                      <a:lnTo>
                        <a:pt x="9410" y="27794"/>
                      </a:lnTo>
                      <a:cubicBezTo>
                        <a:pt x="10115" y="17745"/>
                        <a:pt x="14078" y="7144"/>
                        <a:pt x="35290" y="7144"/>
                      </a:cubicBezTo>
                      <a:cubicBezTo>
                        <a:pt x="57217" y="7144"/>
                        <a:pt x="59055" y="19440"/>
                        <a:pt x="59055" y="32613"/>
                      </a:cubicBezTo>
                      <a:lnTo>
                        <a:pt x="59055" y="76038"/>
                      </a:lnTo>
                      <a:lnTo>
                        <a:pt x="44767" y="76038"/>
                      </a:lnTo>
                      <a:lnTo>
                        <a:pt x="44767" y="66694"/>
                      </a:lnTo>
                      <a:close/>
                      <a:moveTo>
                        <a:pt x="44767" y="44482"/>
                      </a:moveTo>
                      <a:cubicBezTo>
                        <a:pt x="38833" y="44910"/>
                        <a:pt x="22708" y="46177"/>
                        <a:pt x="22708" y="58636"/>
                      </a:cubicBezTo>
                      <a:cubicBezTo>
                        <a:pt x="22708" y="64703"/>
                        <a:pt x="26241" y="68666"/>
                        <a:pt x="30909" y="68666"/>
                      </a:cubicBezTo>
                      <a:cubicBezTo>
                        <a:pt x="35861" y="68666"/>
                        <a:pt x="44767" y="63865"/>
                        <a:pt x="44767" y="52406"/>
                      </a:cubicBezTo>
                      <a:lnTo>
                        <a:pt x="44767" y="44482"/>
                      </a:lnTo>
                      <a:close/>
                    </a:path>
                  </a:pathLst>
                </a:custGeom>
                <a:solidFill>
                  <a:schemeClr val="bg1"/>
                </a:solidFill>
                <a:ln w="9525" cap="flat">
                  <a:noFill/>
                  <a:prstDash val="solid"/>
                  <a:miter/>
                </a:ln>
              </p:spPr>
              <p:txBody>
                <a:bodyPr rtlCol="0" anchor="ctr"/>
                <a:lstStyle/>
                <a:p>
                  <a:endParaRPr lang="ja-JP" altLang="en-US"/>
                </a:p>
              </p:txBody>
            </p:sp>
            <p:sp>
              <p:nvSpPr>
                <p:cNvPr id="1127" name="フリーフォーム: 図形 78"/>
                <p:cNvSpPr/>
                <p:nvPr/>
              </p:nvSpPr>
              <p:spPr>
                <a:xfrm>
                  <a:off x="3019221"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13 w 66675"/>
                    <a:gd name="connsiteY5" fmla="*/ 26803 h 76200"/>
                    <a:gd name="connsiteX6" fmla="*/ 62313 w 66675"/>
                    <a:gd name="connsiteY6" fmla="*/ 76029 h 76200"/>
                    <a:gd name="connsiteX7" fmla="*/ 48025 w 66675"/>
                    <a:gd name="connsiteY7" fmla="*/ 76029 h 76200"/>
                    <a:gd name="connsiteX8" fmla="*/ 48025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84" y="19736"/>
                        <a:pt x="30490" y="7144"/>
                        <a:pt x="45339" y="7144"/>
                      </a:cubicBezTo>
                      <a:cubicBezTo>
                        <a:pt x="57217" y="7144"/>
                        <a:pt x="62313" y="17040"/>
                        <a:pt x="62313" y="26803"/>
                      </a:cubicBezTo>
                      <a:lnTo>
                        <a:pt x="62313" y="76029"/>
                      </a:lnTo>
                      <a:lnTo>
                        <a:pt x="48025" y="76029"/>
                      </a:lnTo>
                      <a:lnTo>
                        <a:pt x="48025" y="33871"/>
                      </a:lnTo>
                      <a:cubicBezTo>
                        <a:pt x="48025" y="25384"/>
                        <a:pt x="46749" y="17745"/>
                        <a:pt x="39529" y="17745"/>
                      </a:cubicBezTo>
                      <a:cubicBezTo>
                        <a:pt x="2539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28" name="フリーフォーム: 図形 79"/>
                <p:cNvSpPr/>
                <p:nvPr/>
              </p:nvSpPr>
              <p:spPr>
                <a:xfrm>
                  <a:off x="3090515" y="5857776"/>
                  <a:ext cx="66675" cy="104775"/>
                </a:xfrm>
                <a:custGeom>
                  <a:avLst/>
                  <a:gdLst>
                    <a:gd name="connsiteX0" fmla="*/ 50282 w 66675"/>
                    <a:gd name="connsiteY0" fmla="*/ 93697 h 104775"/>
                    <a:gd name="connsiteX1" fmla="*/ 50006 w 66675"/>
                    <a:gd name="connsiteY1" fmla="*/ 93697 h 104775"/>
                    <a:gd name="connsiteX2" fmla="*/ 32461 w 66675"/>
                    <a:gd name="connsiteY2" fmla="*/ 106270 h 104775"/>
                    <a:gd name="connsiteX3" fmla="*/ 7144 w 66675"/>
                    <a:gd name="connsiteY3" fmla="*/ 71056 h 104775"/>
                    <a:gd name="connsiteX4" fmla="*/ 32461 w 66675"/>
                    <a:gd name="connsiteY4" fmla="*/ 35843 h 104775"/>
                    <a:gd name="connsiteX5" fmla="*/ 50006 w 66675"/>
                    <a:gd name="connsiteY5" fmla="*/ 46729 h 104775"/>
                    <a:gd name="connsiteX6" fmla="*/ 50282 w 66675"/>
                    <a:gd name="connsiteY6" fmla="*/ 46729 h 104775"/>
                    <a:gd name="connsiteX7" fmla="*/ 50282 w 66675"/>
                    <a:gd name="connsiteY7" fmla="*/ 7144 h 104775"/>
                    <a:gd name="connsiteX8" fmla="*/ 64570 w 66675"/>
                    <a:gd name="connsiteY8" fmla="*/ 7144 h 104775"/>
                    <a:gd name="connsiteX9" fmla="*/ 64570 w 66675"/>
                    <a:gd name="connsiteY9" fmla="*/ 104737 h 104775"/>
                    <a:gd name="connsiteX10" fmla="*/ 50282 w 66675"/>
                    <a:gd name="connsiteY10" fmla="*/ 104737 h 104775"/>
                    <a:gd name="connsiteX11" fmla="*/ 50282 w 66675"/>
                    <a:gd name="connsiteY11" fmla="*/ 93697 h 104775"/>
                    <a:gd name="connsiteX12" fmla="*/ 36290 w 66675"/>
                    <a:gd name="connsiteY12" fmla="*/ 97241 h 104775"/>
                    <a:gd name="connsiteX13" fmla="*/ 49721 w 66675"/>
                    <a:gd name="connsiteY13" fmla="*/ 71066 h 104775"/>
                    <a:gd name="connsiteX14" fmla="*/ 36290 w 66675"/>
                    <a:gd name="connsiteY14" fmla="*/ 44053 h 104775"/>
                    <a:gd name="connsiteX15" fmla="*/ 22708 w 66675"/>
                    <a:gd name="connsiteY15" fmla="*/ 71066 h 104775"/>
                    <a:gd name="connsiteX16" fmla="*/ 36290 w 66675"/>
                    <a:gd name="connsiteY16" fmla="*/ 9724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0282" y="93697"/>
                      </a:moveTo>
                      <a:lnTo>
                        <a:pt x="50006" y="93697"/>
                      </a:lnTo>
                      <a:cubicBezTo>
                        <a:pt x="48025" y="98222"/>
                        <a:pt x="43358" y="106270"/>
                        <a:pt x="32461" y="106270"/>
                      </a:cubicBezTo>
                      <a:cubicBezTo>
                        <a:pt x="13087" y="106270"/>
                        <a:pt x="7144" y="90440"/>
                        <a:pt x="7144" y="71056"/>
                      </a:cubicBezTo>
                      <a:cubicBezTo>
                        <a:pt x="7144" y="50835"/>
                        <a:pt x="14640" y="35843"/>
                        <a:pt x="32461" y="35843"/>
                      </a:cubicBezTo>
                      <a:cubicBezTo>
                        <a:pt x="43920" y="35843"/>
                        <a:pt x="48025" y="43062"/>
                        <a:pt x="50006" y="46729"/>
                      </a:cubicBezTo>
                      <a:lnTo>
                        <a:pt x="50282" y="46729"/>
                      </a:lnTo>
                      <a:lnTo>
                        <a:pt x="50282" y="7144"/>
                      </a:lnTo>
                      <a:lnTo>
                        <a:pt x="64570" y="7144"/>
                      </a:lnTo>
                      <a:lnTo>
                        <a:pt x="64570" y="104737"/>
                      </a:lnTo>
                      <a:lnTo>
                        <a:pt x="50282" y="104737"/>
                      </a:lnTo>
                      <a:lnTo>
                        <a:pt x="50282" y="93697"/>
                      </a:lnTo>
                      <a:close/>
                      <a:moveTo>
                        <a:pt x="36290" y="97241"/>
                      </a:moveTo>
                      <a:cubicBezTo>
                        <a:pt x="48025" y="97241"/>
                        <a:pt x="49721" y="82248"/>
                        <a:pt x="49721" y="71066"/>
                      </a:cubicBezTo>
                      <a:cubicBezTo>
                        <a:pt x="49721" y="59331"/>
                        <a:pt x="48596" y="44053"/>
                        <a:pt x="36290" y="44053"/>
                      </a:cubicBezTo>
                      <a:cubicBezTo>
                        <a:pt x="25108" y="44053"/>
                        <a:pt x="22708" y="59331"/>
                        <a:pt x="22708" y="71066"/>
                      </a:cubicBezTo>
                      <a:cubicBezTo>
                        <a:pt x="22708" y="82239"/>
                        <a:pt x="24822" y="97241"/>
                        <a:pt x="36290" y="97241"/>
                      </a:cubicBezTo>
                      <a:close/>
                    </a:path>
                  </a:pathLst>
                </a:custGeom>
                <a:solidFill>
                  <a:schemeClr val="bg1"/>
                </a:solidFill>
                <a:ln w="9525" cap="flat">
                  <a:noFill/>
                  <a:prstDash val="solid"/>
                  <a:miter/>
                </a:ln>
              </p:spPr>
              <p:txBody>
                <a:bodyPr rtlCol="0" anchor="ctr"/>
                <a:lstStyle/>
                <a:p>
                  <a:endParaRPr lang="ja-JP" altLang="en-US"/>
                </a:p>
              </p:txBody>
            </p:sp>
            <p:sp>
              <p:nvSpPr>
                <p:cNvPr id="1129" name="フリーフォーム: 図形 80"/>
                <p:cNvSpPr/>
                <p:nvPr/>
              </p:nvSpPr>
              <p:spPr>
                <a:xfrm>
                  <a:off x="3197595" y="5857766"/>
                  <a:ext cx="76200" cy="104775"/>
                </a:xfrm>
                <a:custGeom>
                  <a:avLst/>
                  <a:gdLst>
                    <a:gd name="connsiteX0" fmla="*/ 30766 w 76200"/>
                    <a:gd name="connsiteY0" fmla="*/ 16469 h 104775"/>
                    <a:gd name="connsiteX1" fmla="*/ 7144 w 76200"/>
                    <a:gd name="connsiteY1" fmla="*/ 16469 h 104775"/>
                    <a:gd name="connsiteX2" fmla="*/ 7144 w 76200"/>
                    <a:gd name="connsiteY2" fmla="*/ 7144 h 104775"/>
                    <a:gd name="connsiteX3" fmla="*/ 69952 w 76200"/>
                    <a:gd name="connsiteY3" fmla="*/ 7144 h 104775"/>
                    <a:gd name="connsiteX4" fmla="*/ 69952 w 76200"/>
                    <a:gd name="connsiteY4" fmla="*/ 16469 h 104775"/>
                    <a:gd name="connsiteX5" fmla="*/ 46339 w 76200"/>
                    <a:gd name="connsiteY5" fmla="*/ 16469 h 104775"/>
                    <a:gd name="connsiteX6" fmla="*/ 46339 w 76200"/>
                    <a:gd name="connsiteY6" fmla="*/ 104747 h 104775"/>
                    <a:gd name="connsiteX7" fmla="*/ 30775 w 76200"/>
                    <a:gd name="connsiteY7" fmla="*/ 104747 h 104775"/>
                    <a:gd name="connsiteX8" fmla="*/ 30775 w 76200"/>
                    <a:gd name="connsiteY8" fmla="*/ 164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4775">
                      <a:moveTo>
                        <a:pt x="30766" y="16469"/>
                      </a:moveTo>
                      <a:lnTo>
                        <a:pt x="7144" y="16469"/>
                      </a:lnTo>
                      <a:lnTo>
                        <a:pt x="7144" y="7144"/>
                      </a:lnTo>
                      <a:lnTo>
                        <a:pt x="69952" y="7144"/>
                      </a:lnTo>
                      <a:lnTo>
                        <a:pt x="69952" y="16469"/>
                      </a:lnTo>
                      <a:lnTo>
                        <a:pt x="46339" y="16469"/>
                      </a:lnTo>
                      <a:lnTo>
                        <a:pt x="46339" y="104747"/>
                      </a:lnTo>
                      <a:lnTo>
                        <a:pt x="30775" y="104747"/>
                      </a:lnTo>
                      <a:lnTo>
                        <a:pt x="30775" y="16469"/>
                      </a:lnTo>
                      <a:close/>
                    </a:path>
                  </a:pathLst>
                </a:custGeom>
                <a:solidFill>
                  <a:schemeClr val="bg1"/>
                </a:solidFill>
                <a:ln w="9525" cap="flat">
                  <a:noFill/>
                  <a:prstDash val="solid"/>
                  <a:miter/>
                </a:ln>
              </p:spPr>
              <p:txBody>
                <a:bodyPr rtlCol="0" anchor="ctr"/>
                <a:lstStyle/>
                <a:p>
                  <a:endParaRPr lang="ja-JP" altLang="en-US"/>
                </a:p>
              </p:txBody>
            </p:sp>
            <p:sp>
              <p:nvSpPr>
                <p:cNvPr id="1130" name="フリーフォーム: 図形 81"/>
                <p:cNvSpPr/>
                <p:nvPr/>
              </p:nvSpPr>
              <p:spPr>
                <a:xfrm>
                  <a:off x="3266185" y="5886475"/>
                  <a:ext cx="66675" cy="76200"/>
                </a:xfrm>
                <a:custGeom>
                  <a:avLst/>
                  <a:gdLst>
                    <a:gd name="connsiteX0" fmla="*/ 7144 w 66675"/>
                    <a:gd name="connsiteY0" fmla="*/ 42358 h 76200"/>
                    <a:gd name="connsiteX1" fmla="*/ 36852 w 66675"/>
                    <a:gd name="connsiteY1" fmla="*/ 7144 h 76200"/>
                    <a:gd name="connsiteX2" fmla="*/ 66694 w 66675"/>
                    <a:gd name="connsiteY2" fmla="*/ 42358 h 76200"/>
                    <a:gd name="connsiteX3" fmla="*/ 36852 w 66675"/>
                    <a:gd name="connsiteY3" fmla="*/ 77571 h 76200"/>
                    <a:gd name="connsiteX4" fmla="*/ 7144 w 66675"/>
                    <a:gd name="connsiteY4" fmla="*/ 42358 h 76200"/>
                    <a:gd name="connsiteX5" fmla="*/ 36852 w 66675"/>
                    <a:gd name="connsiteY5" fmla="*/ 71647 h 76200"/>
                    <a:gd name="connsiteX6" fmla="*/ 51140 w 66675"/>
                    <a:gd name="connsiteY6" fmla="*/ 42367 h 76200"/>
                    <a:gd name="connsiteX7" fmla="*/ 36852 w 66675"/>
                    <a:gd name="connsiteY7" fmla="*/ 13087 h 76200"/>
                    <a:gd name="connsiteX8" fmla="*/ 22708 w 66675"/>
                    <a:gd name="connsiteY8" fmla="*/ 42367 h 76200"/>
                    <a:gd name="connsiteX9" fmla="*/ 36852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50" y="7144"/>
                        <a:pt x="36852" y="7144"/>
                      </a:cubicBezTo>
                      <a:cubicBezTo>
                        <a:pt x="56655" y="7144"/>
                        <a:pt x="66694" y="19593"/>
                        <a:pt x="66694" y="42358"/>
                      </a:cubicBezTo>
                      <a:cubicBezTo>
                        <a:pt x="66694" y="65122"/>
                        <a:pt x="56655" y="77571"/>
                        <a:pt x="36852" y="77571"/>
                      </a:cubicBezTo>
                      <a:cubicBezTo>
                        <a:pt x="17050" y="77571"/>
                        <a:pt x="7144" y="65132"/>
                        <a:pt x="7144" y="42358"/>
                      </a:cubicBezTo>
                      <a:close/>
                      <a:moveTo>
                        <a:pt x="36852" y="71647"/>
                      </a:moveTo>
                      <a:cubicBezTo>
                        <a:pt x="49578" y="71647"/>
                        <a:pt x="51140" y="54683"/>
                        <a:pt x="51140" y="42367"/>
                      </a:cubicBezTo>
                      <a:cubicBezTo>
                        <a:pt x="51140" y="30070"/>
                        <a:pt x="49578" y="13087"/>
                        <a:pt x="36852" y="13087"/>
                      </a:cubicBezTo>
                      <a:cubicBezTo>
                        <a:pt x="24261" y="13087"/>
                        <a:pt x="22708" y="30070"/>
                        <a:pt x="22708" y="42367"/>
                      </a:cubicBezTo>
                      <a:cubicBezTo>
                        <a:pt x="22708" y="54673"/>
                        <a:pt x="24261" y="71647"/>
                        <a:pt x="36852" y="71647"/>
                      </a:cubicBezTo>
                      <a:close/>
                    </a:path>
                  </a:pathLst>
                </a:custGeom>
                <a:solidFill>
                  <a:schemeClr val="bg1"/>
                </a:solidFill>
                <a:ln w="9525" cap="flat">
                  <a:noFill/>
                  <a:prstDash val="solid"/>
                  <a:miter/>
                </a:ln>
              </p:spPr>
              <p:txBody>
                <a:bodyPr rtlCol="0" anchor="ctr"/>
                <a:lstStyle/>
                <a:p>
                  <a:endParaRPr lang="ja-JP" altLang="en-US"/>
                </a:p>
              </p:txBody>
            </p:sp>
            <p:sp>
              <p:nvSpPr>
                <p:cNvPr id="1131" name="フリーフォーム: 図形 82"/>
                <p:cNvSpPr/>
                <p:nvPr/>
              </p:nvSpPr>
              <p:spPr>
                <a:xfrm>
                  <a:off x="3341871" y="5888037"/>
                  <a:ext cx="66675" cy="76200"/>
                </a:xfrm>
                <a:custGeom>
                  <a:avLst/>
                  <a:gdLst>
                    <a:gd name="connsiteX0" fmla="*/ 47873 w 66675"/>
                    <a:gd name="connsiteY0" fmla="*/ 58493 h 76200"/>
                    <a:gd name="connsiteX1" fmla="*/ 47597 w 66675"/>
                    <a:gd name="connsiteY1" fmla="*/ 58493 h 76200"/>
                    <a:gd name="connsiteX2" fmla="*/ 24108 w 66675"/>
                    <a:gd name="connsiteY2" fmla="*/ 76019 h 76200"/>
                    <a:gd name="connsiteX3" fmla="*/ 7144 w 66675"/>
                    <a:gd name="connsiteY3" fmla="*/ 56369 h 76200"/>
                    <a:gd name="connsiteX4" fmla="*/ 7144 w 66675"/>
                    <a:gd name="connsiteY4" fmla="*/ 7144 h 76200"/>
                    <a:gd name="connsiteX5" fmla="*/ 21421 w 66675"/>
                    <a:gd name="connsiteY5" fmla="*/ 7144 h 76200"/>
                    <a:gd name="connsiteX6" fmla="*/ 21421 w 66675"/>
                    <a:gd name="connsiteY6" fmla="*/ 49282 h 76200"/>
                    <a:gd name="connsiteX7" fmla="*/ 29918 w 66675"/>
                    <a:gd name="connsiteY7" fmla="*/ 65408 h 76200"/>
                    <a:gd name="connsiteX8" fmla="*/ 48016 w 66675"/>
                    <a:gd name="connsiteY8" fmla="*/ 34995 h 76200"/>
                    <a:gd name="connsiteX9" fmla="*/ 48016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7" y="58493"/>
                      </a:lnTo>
                      <a:cubicBezTo>
                        <a:pt x="45320" y="63446"/>
                        <a:pt x="38967" y="76019"/>
                        <a:pt x="24108" y="76019"/>
                      </a:cubicBezTo>
                      <a:cubicBezTo>
                        <a:pt x="12230" y="76019"/>
                        <a:pt x="7144" y="66122"/>
                        <a:pt x="7144" y="56369"/>
                      </a:cubicBezTo>
                      <a:lnTo>
                        <a:pt x="7144" y="7144"/>
                      </a:lnTo>
                      <a:lnTo>
                        <a:pt x="21421" y="7144"/>
                      </a:lnTo>
                      <a:lnTo>
                        <a:pt x="21421" y="49282"/>
                      </a:lnTo>
                      <a:cubicBezTo>
                        <a:pt x="21421" y="57788"/>
                        <a:pt x="22698" y="65408"/>
                        <a:pt x="29918" y="65408"/>
                      </a:cubicBezTo>
                      <a:cubicBezTo>
                        <a:pt x="44062" y="65408"/>
                        <a:pt x="48016" y="43348"/>
                        <a:pt x="48016" y="34995"/>
                      </a:cubicBezTo>
                      <a:lnTo>
                        <a:pt x="48016" y="7144"/>
                      </a:lnTo>
                      <a:lnTo>
                        <a:pt x="62303" y="7144"/>
                      </a:lnTo>
                      <a:lnTo>
                        <a:pt x="62303" y="74466"/>
                      </a:lnTo>
                      <a:lnTo>
                        <a:pt x="47873" y="74466"/>
                      </a:lnTo>
                      <a:lnTo>
                        <a:pt x="47873" y="58493"/>
                      </a:lnTo>
                      <a:close/>
                    </a:path>
                  </a:pathLst>
                </a:custGeom>
                <a:solidFill>
                  <a:schemeClr val="bg1"/>
                </a:solidFill>
                <a:ln w="9525" cap="flat">
                  <a:noFill/>
                  <a:prstDash val="solid"/>
                  <a:miter/>
                </a:ln>
              </p:spPr>
              <p:txBody>
                <a:bodyPr rtlCol="0" anchor="ctr"/>
                <a:lstStyle/>
                <a:p>
                  <a:endParaRPr lang="ja-JP" altLang="en-US"/>
                </a:p>
              </p:txBody>
            </p:sp>
            <p:sp>
              <p:nvSpPr>
                <p:cNvPr id="1132" name="フリーフォーム: 図形 83"/>
                <p:cNvSpPr/>
                <p:nvPr/>
              </p:nvSpPr>
              <p:spPr>
                <a:xfrm>
                  <a:off x="3417966" y="5886475"/>
                  <a:ext cx="47625" cy="76200"/>
                </a:xfrm>
                <a:custGeom>
                  <a:avLst/>
                  <a:gdLst>
                    <a:gd name="connsiteX0" fmla="*/ 7144 w 47625"/>
                    <a:gd name="connsiteY0" fmla="*/ 8706 h 76200"/>
                    <a:gd name="connsiteX1" fmla="*/ 21421 w 47625"/>
                    <a:gd name="connsiteY1" fmla="*/ 8706 h 76200"/>
                    <a:gd name="connsiteX2" fmla="*/ 2142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21 w 47625"/>
                    <a:gd name="connsiteY6" fmla="*/ 45196 h 76200"/>
                    <a:gd name="connsiteX7" fmla="*/ 2142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21" y="8706"/>
                      </a:lnTo>
                      <a:lnTo>
                        <a:pt x="21421" y="25822"/>
                      </a:lnTo>
                      <a:lnTo>
                        <a:pt x="21707" y="25822"/>
                      </a:lnTo>
                      <a:cubicBezTo>
                        <a:pt x="26232" y="16764"/>
                        <a:pt x="31185" y="8134"/>
                        <a:pt x="43491" y="7144"/>
                      </a:cubicBezTo>
                      <a:lnTo>
                        <a:pt x="43491" y="21993"/>
                      </a:lnTo>
                      <a:cubicBezTo>
                        <a:pt x="29775" y="22422"/>
                        <a:pt x="21421" y="27089"/>
                        <a:pt x="21421" y="45196"/>
                      </a:cubicBezTo>
                      <a:lnTo>
                        <a:pt x="2142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a:p>
              </p:txBody>
            </p:sp>
            <p:sp>
              <p:nvSpPr>
                <p:cNvPr id="1133" name="フリーフォーム: 図形 84"/>
                <p:cNvSpPr/>
                <p:nvPr/>
              </p:nvSpPr>
              <p:spPr>
                <a:xfrm>
                  <a:off x="3467886" y="5857776"/>
                  <a:ext cx="28575" cy="104775"/>
                </a:xfrm>
                <a:custGeom>
                  <a:avLst/>
                  <a:gdLst>
                    <a:gd name="connsiteX0" fmla="*/ 7144 w 28575"/>
                    <a:gd name="connsiteY0" fmla="*/ 7144 h 104775"/>
                    <a:gd name="connsiteX1" fmla="*/ 22565 w 28575"/>
                    <a:gd name="connsiteY1" fmla="*/ 7144 h 104775"/>
                    <a:gd name="connsiteX2" fmla="*/ 22565 w 28575"/>
                    <a:gd name="connsiteY2" fmla="*/ 21279 h 104775"/>
                    <a:gd name="connsiteX3" fmla="*/ 7144 w 28575"/>
                    <a:gd name="connsiteY3" fmla="*/ 21279 h 104775"/>
                    <a:gd name="connsiteX4" fmla="*/ 7144 w 28575"/>
                    <a:gd name="connsiteY4" fmla="*/ 7144 h 104775"/>
                    <a:gd name="connsiteX5" fmla="*/ 7715 w 28575"/>
                    <a:gd name="connsiteY5" fmla="*/ 37405 h 104775"/>
                    <a:gd name="connsiteX6" fmla="*/ 22003 w 28575"/>
                    <a:gd name="connsiteY6" fmla="*/ 37405 h 104775"/>
                    <a:gd name="connsiteX7" fmla="*/ 22003 w 28575"/>
                    <a:gd name="connsiteY7" fmla="*/ 104727 h 104775"/>
                    <a:gd name="connsiteX8" fmla="*/ 7715 w 28575"/>
                    <a:gd name="connsiteY8" fmla="*/ 104727 h 104775"/>
                    <a:gd name="connsiteX9" fmla="*/ 7715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65" y="7144"/>
                      </a:lnTo>
                      <a:lnTo>
                        <a:pt x="22565" y="21279"/>
                      </a:lnTo>
                      <a:lnTo>
                        <a:pt x="7144" y="21279"/>
                      </a:lnTo>
                      <a:lnTo>
                        <a:pt x="7144" y="7144"/>
                      </a:lnTo>
                      <a:close/>
                      <a:moveTo>
                        <a:pt x="7715" y="37405"/>
                      </a:moveTo>
                      <a:lnTo>
                        <a:pt x="22003" y="37405"/>
                      </a:lnTo>
                      <a:lnTo>
                        <a:pt x="22003" y="104727"/>
                      </a:lnTo>
                      <a:lnTo>
                        <a:pt x="7715" y="104727"/>
                      </a:lnTo>
                      <a:lnTo>
                        <a:pt x="7715" y="37405"/>
                      </a:lnTo>
                      <a:close/>
                    </a:path>
                  </a:pathLst>
                </a:custGeom>
                <a:solidFill>
                  <a:schemeClr val="bg1"/>
                </a:solidFill>
                <a:ln w="9525" cap="flat">
                  <a:noFill/>
                  <a:prstDash val="solid"/>
                  <a:miter/>
                </a:ln>
              </p:spPr>
              <p:txBody>
                <a:bodyPr rtlCol="0" anchor="ctr"/>
                <a:lstStyle/>
                <a:p>
                  <a:endParaRPr lang="ja-JP" altLang="en-US"/>
                </a:p>
              </p:txBody>
            </p:sp>
            <p:sp>
              <p:nvSpPr>
                <p:cNvPr id="1134" name="フリーフォーム: 図形 85"/>
                <p:cNvSpPr/>
                <p:nvPr/>
              </p:nvSpPr>
              <p:spPr>
                <a:xfrm>
                  <a:off x="3501548" y="5886465"/>
                  <a:ext cx="57150" cy="76200"/>
                </a:xfrm>
                <a:custGeom>
                  <a:avLst/>
                  <a:gdLst>
                    <a:gd name="connsiteX0" fmla="*/ 46615 w 57150"/>
                    <a:gd name="connsiteY0" fmla="*/ 22003 h 76200"/>
                    <a:gd name="connsiteX1" fmla="*/ 29642 w 57150"/>
                    <a:gd name="connsiteY1" fmla="*/ 15364 h 76200"/>
                    <a:gd name="connsiteX2" fmla="*/ 20021 w 57150"/>
                    <a:gd name="connsiteY2" fmla="*/ 22431 h 76200"/>
                    <a:gd name="connsiteX3" fmla="*/ 50854 w 57150"/>
                    <a:gd name="connsiteY3" fmla="*/ 57236 h 76200"/>
                    <a:gd name="connsiteX4" fmla="*/ 25251 w 57150"/>
                    <a:gd name="connsiteY4" fmla="*/ 77591 h 76200"/>
                    <a:gd name="connsiteX5" fmla="*/ 7287 w 57150"/>
                    <a:gd name="connsiteY5" fmla="*/ 74628 h 76200"/>
                    <a:gd name="connsiteX6" fmla="*/ 7287 w 57150"/>
                    <a:gd name="connsiteY6" fmla="*/ 61474 h 76200"/>
                    <a:gd name="connsiteX7" fmla="*/ 25956 w 57150"/>
                    <a:gd name="connsiteY7" fmla="*/ 68542 h 76200"/>
                    <a:gd name="connsiteX8" fmla="*/ 37557 w 57150"/>
                    <a:gd name="connsiteY8" fmla="*/ 60055 h 76200"/>
                    <a:gd name="connsiteX9" fmla="*/ 7144 w 57150"/>
                    <a:gd name="connsiteY9" fmla="*/ 26527 h 76200"/>
                    <a:gd name="connsiteX10" fmla="*/ 3076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15" y="22003"/>
                      </a:moveTo>
                      <a:cubicBezTo>
                        <a:pt x="41806" y="18745"/>
                        <a:pt x="36433" y="15364"/>
                        <a:pt x="29642" y="15364"/>
                      </a:cubicBezTo>
                      <a:cubicBezTo>
                        <a:pt x="25118" y="15364"/>
                        <a:pt x="20021" y="17336"/>
                        <a:pt x="20021" y="22431"/>
                      </a:cubicBezTo>
                      <a:cubicBezTo>
                        <a:pt x="20021" y="34595"/>
                        <a:pt x="50854" y="35728"/>
                        <a:pt x="50854" y="57236"/>
                      </a:cubicBezTo>
                      <a:cubicBezTo>
                        <a:pt x="50854" y="71656"/>
                        <a:pt x="39538" y="77591"/>
                        <a:pt x="25251" y="77591"/>
                      </a:cubicBezTo>
                      <a:cubicBezTo>
                        <a:pt x="16621" y="77591"/>
                        <a:pt x="10687" y="75771"/>
                        <a:pt x="7287" y="74628"/>
                      </a:cubicBezTo>
                      <a:lnTo>
                        <a:pt x="7287" y="61474"/>
                      </a:lnTo>
                      <a:cubicBezTo>
                        <a:pt x="11392" y="64303"/>
                        <a:pt x="18031" y="68542"/>
                        <a:pt x="25956" y="68542"/>
                      </a:cubicBezTo>
                      <a:cubicBezTo>
                        <a:pt x="34157" y="68542"/>
                        <a:pt x="37557" y="64303"/>
                        <a:pt x="37557" y="60055"/>
                      </a:cubicBezTo>
                      <a:cubicBezTo>
                        <a:pt x="37557" y="48168"/>
                        <a:pt x="7144" y="45768"/>
                        <a:pt x="7144" y="26527"/>
                      </a:cubicBezTo>
                      <a:cubicBezTo>
                        <a:pt x="7144" y="16335"/>
                        <a:pt x="13935" y="7144"/>
                        <a:pt x="30766" y="7144"/>
                      </a:cubicBezTo>
                      <a:cubicBezTo>
                        <a:pt x="37976" y="7144"/>
                        <a:pt x="44196" y="9115"/>
                        <a:pt x="46606" y="9820"/>
                      </a:cubicBezTo>
                      <a:lnTo>
                        <a:pt x="46606" y="22003"/>
                      </a:lnTo>
                      <a:close/>
                    </a:path>
                  </a:pathLst>
                </a:custGeom>
                <a:solidFill>
                  <a:schemeClr val="bg1"/>
                </a:solidFill>
                <a:ln w="9525" cap="flat">
                  <a:noFill/>
                  <a:prstDash val="solid"/>
                  <a:miter/>
                </a:ln>
              </p:spPr>
              <p:txBody>
                <a:bodyPr rtlCol="0" anchor="ctr"/>
                <a:lstStyle/>
                <a:p>
                  <a:endParaRPr lang="ja-JP" altLang="en-US"/>
                </a:p>
              </p:txBody>
            </p:sp>
            <p:sp>
              <p:nvSpPr>
                <p:cNvPr id="1135" name="フリーフォーム: 図形 86"/>
                <p:cNvSpPr/>
                <p:nvPr/>
              </p:nvSpPr>
              <p:spPr>
                <a:xfrm>
                  <a:off x="3561803" y="5886475"/>
                  <a:ext cx="95250" cy="76200"/>
                </a:xfrm>
                <a:custGeom>
                  <a:avLst/>
                  <a:gdLst>
                    <a:gd name="connsiteX0" fmla="*/ 7144 w 95250"/>
                    <a:gd name="connsiteY0" fmla="*/ 8706 h 76200"/>
                    <a:gd name="connsiteX1" fmla="*/ 21431 w 95250"/>
                    <a:gd name="connsiteY1" fmla="*/ 8706 h 76200"/>
                    <a:gd name="connsiteX2" fmla="*/ 21431 w 95250"/>
                    <a:gd name="connsiteY2" fmla="*/ 24689 h 76200"/>
                    <a:gd name="connsiteX3" fmla="*/ 21717 w 95250"/>
                    <a:gd name="connsiteY3" fmla="*/ 24689 h 76200"/>
                    <a:gd name="connsiteX4" fmla="*/ 42082 w 95250"/>
                    <a:gd name="connsiteY4" fmla="*/ 7144 h 76200"/>
                    <a:gd name="connsiteX5" fmla="*/ 58779 w 95250"/>
                    <a:gd name="connsiteY5" fmla="*/ 23831 h 76200"/>
                    <a:gd name="connsiteX6" fmla="*/ 59055 w 95250"/>
                    <a:gd name="connsiteY6" fmla="*/ 23831 h 76200"/>
                    <a:gd name="connsiteX7" fmla="*/ 79429 w 95250"/>
                    <a:gd name="connsiteY7" fmla="*/ 7144 h 76200"/>
                    <a:gd name="connsiteX8" fmla="*/ 96393 w 95250"/>
                    <a:gd name="connsiteY8" fmla="*/ 30346 h 76200"/>
                    <a:gd name="connsiteX9" fmla="*/ 96393 w 95250"/>
                    <a:gd name="connsiteY9" fmla="*/ 76038 h 76200"/>
                    <a:gd name="connsiteX10" fmla="*/ 82115 w 95250"/>
                    <a:gd name="connsiteY10" fmla="*/ 76038 h 76200"/>
                    <a:gd name="connsiteX11" fmla="*/ 82115 w 95250"/>
                    <a:gd name="connsiteY11" fmla="*/ 32613 h 76200"/>
                    <a:gd name="connsiteX12" fmla="*/ 73914 w 95250"/>
                    <a:gd name="connsiteY12" fmla="*/ 17745 h 76200"/>
                    <a:gd name="connsiteX13" fmla="*/ 58922 w 95250"/>
                    <a:gd name="connsiteY13" fmla="*/ 48015 h 76200"/>
                    <a:gd name="connsiteX14" fmla="*/ 58922 w 95250"/>
                    <a:gd name="connsiteY14" fmla="*/ 76029 h 76200"/>
                    <a:gd name="connsiteX15" fmla="*/ 44634 w 95250"/>
                    <a:gd name="connsiteY15" fmla="*/ 76029 h 76200"/>
                    <a:gd name="connsiteX16" fmla="*/ 44634 w 95250"/>
                    <a:gd name="connsiteY16" fmla="*/ 33871 h 76200"/>
                    <a:gd name="connsiteX17" fmla="*/ 36148 w 95250"/>
                    <a:gd name="connsiteY17" fmla="*/ 17745 h 76200"/>
                    <a:gd name="connsiteX18" fmla="*/ 21431 w 95250"/>
                    <a:gd name="connsiteY18" fmla="*/ 48158 h 76200"/>
                    <a:gd name="connsiteX19" fmla="*/ 21431 w 95250"/>
                    <a:gd name="connsiteY19" fmla="*/ 76029 h 76200"/>
                    <a:gd name="connsiteX20" fmla="*/ 7144 w 95250"/>
                    <a:gd name="connsiteY20" fmla="*/ 76029 h 76200"/>
                    <a:gd name="connsiteX21" fmla="*/ 7144 w 95250"/>
                    <a:gd name="connsiteY21"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5250" h="76200">
                      <a:moveTo>
                        <a:pt x="7144" y="8706"/>
                      </a:moveTo>
                      <a:lnTo>
                        <a:pt x="21431" y="8706"/>
                      </a:lnTo>
                      <a:lnTo>
                        <a:pt x="21431" y="24689"/>
                      </a:lnTo>
                      <a:lnTo>
                        <a:pt x="21717" y="24689"/>
                      </a:lnTo>
                      <a:cubicBezTo>
                        <a:pt x="23270" y="19593"/>
                        <a:pt x="29204" y="7144"/>
                        <a:pt x="42082" y="7144"/>
                      </a:cubicBezTo>
                      <a:cubicBezTo>
                        <a:pt x="53969" y="7144"/>
                        <a:pt x="58351" y="16764"/>
                        <a:pt x="58779" y="23831"/>
                      </a:cubicBezTo>
                      <a:lnTo>
                        <a:pt x="59055" y="23831"/>
                      </a:lnTo>
                      <a:cubicBezTo>
                        <a:pt x="61465" y="18602"/>
                        <a:pt x="66123" y="7144"/>
                        <a:pt x="79429" y="7144"/>
                      </a:cubicBezTo>
                      <a:cubicBezTo>
                        <a:pt x="93716" y="7144"/>
                        <a:pt x="96393" y="18878"/>
                        <a:pt x="96393" y="30346"/>
                      </a:cubicBezTo>
                      <a:lnTo>
                        <a:pt x="96393" y="76038"/>
                      </a:lnTo>
                      <a:lnTo>
                        <a:pt x="82115" y="76038"/>
                      </a:lnTo>
                      <a:lnTo>
                        <a:pt x="82115" y="32613"/>
                      </a:lnTo>
                      <a:cubicBezTo>
                        <a:pt x="82115" y="24822"/>
                        <a:pt x="80982" y="17745"/>
                        <a:pt x="73914" y="17745"/>
                      </a:cubicBezTo>
                      <a:cubicBezTo>
                        <a:pt x="61322" y="17745"/>
                        <a:pt x="58922" y="39805"/>
                        <a:pt x="58922" y="48015"/>
                      </a:cubicBezTo>
                      <a:lnTo>
                        <a:pt x="58922" y="76029"/>
                      </a:lnTo>
                      <a:lnTo>
                        <a:pt x="44634" y="76029"/>
                      </a:lnTo>
                      <a:lnTo>
                        <a:pt x="44634" y="33871"/>
                      </a:lnTo>
                      <a:cubicBezTo>
                        <a:pt x="44634" y="25384"/>
                        <a:pt x="43929" y="17745"/>
                        <a:pt x="36148" y="17745"/>
                      </a:cubicBezTo>
                      <a:cubicBezTo>
                        <a:pt x="22984" y="17745"/>
                        <a:pt x="21431" y="40948"/>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a:p>
              </p:txBody>
            </p:sp>
          </p:grpSp>
        </p:grpSp>
      </p:grpSp>
      <p:sp>
        <p:nvSpPr>
          <p:cNvPr id="1136" name="Rectangle 3"/>
          <p:cNvSpPr>
            <a:spLocks noGrp="1" noChangeArrowheads="1"/>
          </p:cNvSpPr>
          <p:nvPr>
            <p:ph type="ctrTitle"/>
          </p:nvPr>
        </p:nvSpPr>
        <p:spPr>
          <a:xfrm>
            <a:off x="1784350" y="2133600"/>
            <a:ext cx="8121650" cy="1470025"/>
          </a:xfrm>
        </p:spPr>
        <p:txBody>
          <a:bodyPr/>
          <a:lstStyle>
            <a:lvl1pPr>
              <a:defRPr sz="4000"/>
            </a:lvl1pPr>
          </a:lstStyle>
          <a:p>
            <a:pPr lvl="0"/>
            <a:r>
              <a:rPr lang="ja-JP" altLang="en-US" noProof="0"/>
              <a:t>マスタ タイトルの書式設定</a:t>
            </a:r>
          </a:p>
        </p:txBody>
      </p:sp>
      <p:sp>
        <p:nvSpPr>
          <p:cNvPr id="1137"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pPr lvl="0"/>
            <a:r>
              <a:rPr lang="ja-JP" altLang="en-US" noProof="0"/>
              <a:t>国土交通省　観光庁</a:t>
            </a:r>
          </a:p>
          <a:p>
            <a:pPr lvl="0"/>
            <a:r>
              <a:rPr lang="ja-JP" altLang="en-US" noProof="0"/>
              <a:t>○○課</a:t>
            </a:r>
          </a:p>
          <a:p>
            <a:pPr lvl="0"/>
            <a:r>
              <a:rPr lang="ja-JP" altLang="en-US" noProof="0"/>
              <a:t>平成○○年○○月</a:t>
            </a:r>
          </a:p>
        </p:txBody>
      </p:sp>
      <p:sp>
        <p:nvSpPr>
          <p:cNvPr id="1138" name="Rectangle 5"/>
          <p:cNvSpPr>
            <a:spLocks noGrp="1" noChangeArrowheads="1"/>
          </p:cNvSpPr>
          <p:nvPr>
            <p:ph type="dt" sz="half" idx="2"/>
          </p:nvPr>
        </p:nvSpPr>
        <p:spPr/>
        <p:txBody>
          <a:bodyPr/>
          <a:lstStyle>
            <a:lvl1pPr>
              <a:defRPr/>
            </a:lvl1pPr>
          </a:lstStyle>
          <a:p>
            <a:endParaRPr lang="en-US" altLang="ja-JP"/>
          </a:p>
        </p:txBody>
      </p:sp>
      <p:sp>
        <p:nvSpPr>
          <p:cNvPr id="1139" name="Rectangle 6"/>
          <p:cNvSpPr>
            <a:spLocks noGrp="1" noChangeArrowheads="1"/>
          </p:cNvSpPr>
          <p:nvPr>
            <p:ph type="ftr" sz="quarter" idx="3"/>
          </p:nvPr>
        </p:nvSpPr>
        <p:spPr/>
        <p:txBody>
          <a:bodyPr/>
          <a:lstStyle>
            <a:lvl1pPr>
              <a:defRPr/>
            </a:lvl1pPr>
          </a:lstStyle>
          <a:p>
            <a:endParaRPr lang="en-US" altLang="ja-JP"/>
          </a:p>
        </p:txBody>
      </p:sp>
      <p:sp>
        <p:nvSpPr>
          <p:cNvPr id="1140" name="Rectangle 7"/>
          <p:cNvSpPr>
            <a:spLocks noGrp="1" noChangeArrowheads="1"/>
          </p:cNvSpPr>
          <p:nvPr>
            <p:ph type="sldNum" sz="quarter" idx="4"/>
          </p:nvPr>
        </p:nvSpPr>
        <p:spPr>
          <a:xfrm>
            <a:off x="7099300" y="6245225"/>
            <a:ext cx="2311400" cy="476250"/>
          </a:xfrm>
        </p:spPr>
        <p:txBody>
          <a:bodyPr/>
          <a:lstStyle>
            <a:lvl1pPr>
              <a:defRPr/>
            </a:lvl1pPr>
          </a:lstStyle>
          <a:p>
            <a:fld id="{8668F1B4-CD69-4873-A37D-05E3ED60FF33}" type="slidenum">
              <a:rPr lang="en-US" altLang="ja-JP"/>
              <a:pPr/>
              <a:t>‹#›</a:t>
            </a:fld>
            <a:endParaRPr lang="en-US" altLang="ja-JP"/>
          </a:p>
        </p:txBody>
      </p:sp>
      <p:sp>
        <p:nvSpPr>
          <p:cNvPr id="1141" name="Rectangle 14"/>
          <p:cNvSpPr>
            <a:spLocks noChangeArrowheads="1"/>
          </p:cNvSpPr>
          <p:nvPr userDrawn="1"/>
        </p:nvSpPr>
        <p:spPr>
          <a:xfrm>
            <a:off x="1833563" y="3284538"/>
            <a:ext cx="8072437" cy="73025"/>
          </a:xfrm>
          <a:prstGeom prst="rect">
            <a:avLst/>
          </a:prstGeom>
          <a:solidFill>
            <a:srgbClr val="FF0000"/>
          </a:solidFill>
          <a:ln>
            <a:noFill/>
          </a:ln>
          <a:effectLst/>
        </p:spPr>
        <p:txBody>
          <a:bodyPr wrap="none" anchor="ctr"/>
          <a:lstStyle/>
          <a:p>
            <a:endParaRPr lang="ja-JP" altLang="en-US"/>
          </a:p>
        </p:txBody>
      </p:sp>
    </p:spTree>
    <p:extLst>
      <p:ext uri="{BB962C8B-B14F-4D97-AF65-F5344CB8AC3E}">
        <p14:creationId xmlns:p14="http://schemas.microsoft.com/office/powerpoint/2010/main" val="22449917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a:p>
        </p:txBody>
      </p:sp>
    </p:spTree>
    <p:extLst>
      <p:ext uri="{BB962C8B-B14F-4D97-AF65-F5344CB8AC3E}">
        <p14:creationId xmlns:p14="http://schemas.microsoft.com/office/powerpoint/2010/main" val="25440657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obj" preserve="1">
  <p:cSld name="タイトルとコンテンツ">
    <p:spTree>
      <p:nvGrpSpPr>
        <p:cNvPr id="1" name=""/>
        <p:cNvGrpSpPr/>
        <p:nvPr/>
      </p:nvGrpSpPr>
      <p:grpSpPr>
        <a:xfrm>
          <a:off x="0" y="0"/>
          <a:ext cx="0" cy="0"/>
          <a:chOff x="0" y="0"/>
          <a:chExt cx="0" cy="0"/>
        </a:xfrm>
      </p:grpSpPr>
      <p:sp>
        <p:nvSpPr>
          <p:cNvPr id="1143" name="タイトル 1"/>
          <p:cNvSpPr>
            <a:spLocks noGrp="1"/>
          </p:cNvSpPr>
          <p:nvPr>
            <p:ph type="title"/>
          </p:nvPr>
        </p:nvSpPr>
        <p:spPr/>
        <p:txBody>
          <a:bodyPr/>
          <a:lstStyle/>
          <a:p>
            <a:r>
              <a:rPr lang="ja-JP" altLang="en-US"/>
              <a:t>マスター タイトルの書式設定</a:t>
            </a:r>
          </a:p>
        </p:txBody>
      </p:sp>
      <p:sp>
        <p:nvSpPr>
          <p:cNvPr id="1144"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45" name="日付プレースホルダー 3"/>
          <p:cNvSpPr>
            <a:spLocks noGrp="1"/>
          </p:cNvSpPr>
          <p:nvPr>
            <p:ph type="dt" sz="half" idx="10"/>
          </p:nvPr>
        </p:nvSpPr>
        <p:spPr/>
        <p:txBody>
          <a:bodyPr/>
          <a:lstStyle>
            <a:lvl1pPr>
              <a:defRPr/>
            </a:lvl1pPr>
          </a:lstStyle>
          <a:p>
            <a:endParaRPr lang="en-US" altLang="ja-JP"/>
          </a:p>
        </p:txBody>
      </p:sp>
      <p:sp>
        <p:nvSpPr>
          <p:cNvPr id="1146" name="フッター プレースホルダー 4"/>
          <p:cNvSpPr>
            <a:spLocks noGrp="1"/>
          </p:cNvSpPr>
          <p:nvPr>
            <p:ph type="ftr" sz="quarter" idx="11"/>
          </p:nvPr>
        </p:nvSpPr>
        <p:spPr/>
        <p:txBody>
          <a:bodyPr/>
          <a:lstStyle>
            <a:lvl1pPr>
              <a:defRPr/>
            </a:lvl1pPr>
          </a:lstStyle>
          <a:p>
            <a:endParaRPr lang="en-US" altLang="ja-JP"/>
          </a:p>
        </p:txBody>
      </p:sp>
      <p:sp>
        <p:nvSpPr>
          <p:cNvPr id="1147" name="スライド番号プレースホルダー 5"/>
          <p:cNvSpPr>
            <a:spLocks noGrp="1"/>
          </p:cNvSpPr>
          <p:nvPr>
            <p:ph type="sldNum" sz="quarter" idx="12"/>
          </p:nvPr>
        </p:nvSpPr>
        <p:spPr/>
        <p:txBody>
          <a:bodyPr/>
          <a:lstStyle>
            <a:lvl1pPr>
              <a:defRPr/>
            </a:lvl1pPr>
          </a:lstStyle>
          <a:p>
            <a:fld id="{A55D6372-79B3-44A9-9559-35B0E06D676F}" type="slidenum">
              <a:rPr lang="en-US" altLang="ja-JP"/>
              <a:pPr/>
              <a:t>‹#›</a:t>
            </a:fld>
            <a:endParaRPr lang="en-US" altLang="ja-JP"/>
          </a:p>
        </p:txBody>
      </p:sp>
    </p:spTree>
    <p:extLst>
      <p:ext uri="{BB962C8B-B14F-4D97-AF65-F5344CB8AC3E}">
        <p14:creationId xmlns:p14="http://schemas.microsoft.com/office/powerpoint/2010/main" val="17028848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4" name="Picture 20" descr="ppjtit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6076950"/>
            <a:ext cx="992187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4"/>
          <p:cNvSpPr>
            <a:spLocks noChangeArrowheads="1"/>
          </p:cNvSpPr>
          <p:nvPr userDrawn="1"/>
        </p:nvSpPr>
        <p:spPr bwMode="auto">
          <a:xfrm>
            <a:off x="1833563" y="3284544"/>
            <a:ext cx="8072437" cy="7302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31747" name="Rectangle 3"/>
          <p:cNvSpPr>
            <a:spLocks noGrp="1" noChangeArrowheads="1"/>
          </p:cNvSpPr>
          <p:nvPr>
            <p:ph type="ctrTitle"/>
          </p:nvPr>
        </p:nvSpPr>
        <p:spPr>
          <a:xfrm>
            <a:off x="1784351" y="2133608"/>
            <a:ext cx="8121650" cy="1470025"/>
          </a:xfrm>
        </p:spPr>
        <p:txBody>
          <a:bodyPr/>
          <a:lstStyle>
            <a:lvl1pPr>
              <a:defRPr sz="3408"/>
            </a:lvl1pPr>
          </a:lstStyle>
          <a:p>
            <a:r>
              <a:rPr lang="ja-JP" altLang="en-US"/>
              <a:t>マスタ タイトルの書式設定</a:t>
            </a:r>
          </a:p>
        </p:txBody>
      </p:sp>
      <p:sp>
        <p:nvSpPr>
          <p:cNvPr id="31748"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国土交通省　観光庁</a:t>
            </a:r>
          </a:p>
          <a:p>
            <a:r>
              <a:rPr lang="ja-JP" altLang="en-US"/>
              <a:t>○○課</a:t>
            </a:r>
          </a:p>
          <a:p>
            <a:r>
              <a:rPr lang="ja-JP" altLang="en-US"/>
              <a:t>平成○○年○○月</a:t>
            </a:r>
          </a:p>
        </p:txBody>
      </p:sp>
      <p:sp>
        <p:nvSpPr>
          <p:cNvPr id="6" name="Rectangle 5"/>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7" name="Rectangle 6"/>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8" name="Rectangle 7"/>
          <p:cNvSpPr>
            <a:spLocks noGrp="1" noChangeArrowheads="1"/>
          </p:cNvSpPr>
          <p:nvPr>
            <p:ph type="sldNum" sz="quarter" idx="12"/>
          </p:nvPr>
        </p:nvSpPr>
        <p:spPr>
          <a:xfrm>
            <a:off x="7099300" y="6245225"/>
            <a:ext cx="2311400" cy="476250"/>
          </a:xfrm>
        </p:spPr>
        <p:txBody>
          <a:bodyPr/>
          <a:lstStyle>
            <a:lvl1pPr fontAlgn="auto">
              <a:spcBef>
                <a:spcPts val="0"/>
              </a:spcBef>
              <a:spcAft>
                <a:spcPts val="0"/>
              </a:spcAft>
              <a:defRPr/>
            </a:lvl1pPr>
          </a:lstStyle>
          <a:p>
            <a:pPr>
              <a:defRPr/>
            </a:pPr>
            <a:fld id="{2EEA7C7B-6C38-4BDA-B6DD-FAA96FBB8521}" type="slidenum">
              <a:rPr lang="en-US" altLang="ja-JP"/>
              <a:pPr>
                <a:defRPr/>
              </a:pPr>
              <a:t>‹#›</a:t>
            </a:fld>
            <a:endParaRPr lang="en-US" altLang="ja-JP"/>
          </a:p>
        </p:txBody>
      </p:sp>
    </p:spTree>
    <p:extLst>
      <p:ext uri="{BB962C8B-B14F-4D97-AF65-F5344CB8AC3E}">
        <p14:creationId xmlns:p14="http://schemas.microsoft.com/office/powerpoint/2010/main" val="204336533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a:p>
        </p:txBody>
      </p:sp>
    </p:spTree>
    <p:extLst>
      <p:ext uri="{BB962C8B-B14F-4D97-AF65-F5344CB8AC3E}">
        <p14:creationId xmlns:p14="http://schemas.microsoft.com/office/powerpoint/2010/main" val="228722933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a:p>
        </p:txBody>
      </p:sp>
      <p:grpSp>
        <p:nvGrpSpPr>
          <p:cNvPr id="7" name="Group 27"/>
          <p:cNvGrpSpPr>
            <a:grpSpLocks/>
          </p:cNvGrpSpPr>
          <p:nvPr userDrawn="1"/>
        </p:nvGrpSpPr>
        <p:grpSpPr bwMode="auto">
          <a:xfrm>
            <a:off x="0" y="6599065"/>
            <a:ext cx="9906000" cy="214314"/>
            <a:chOff x="0" y="255"/>
            <a:chExt cx="6240" cy="135"/>
          </a:xfrm>
        </p:grpSpPr>
        <p:sp>
          <p:nvSpPr>
            <p:cNvPr id="8"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9"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Tree>
    <p:extLst>
      <p:ext uri="{BB962C8B-B14F-4D97-AF65-F5344CB8AC3E}">
        <p14:creationId xmlns:p14="http://schemas.microsoft.com/office/powerpoint/2010/main" val="22620445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cSld name="1_2 つのコンテンツ">
    <p:spTree>
      <p:nvGrpSpPr>
        <p:cNvPr id="1" name=""/>
        <p:cNvGrpSpPr/>
        <p:nvPr/>
      </p:nvGrpSpPr>
      <p:grpSpPr>
        <a:xfrm>
          <a:off x="0" y="0"/>
          <a:ext cx="0" cy="0"/>
          <a:chOff x="0" y="0"/>
          <a:chExt cx="0" cy="0"/>
        </a:xfrm>
      </p:grpSpPr>
      <p:sp>
        <p:nvSpPr>
          <p:cNvPr id="1058" name="タイトル 1"/>
          <p:cNvSpPr>
            <a:spLocks noGrp="1"/>
          </p:cNvSpPr>
          <p:nvPr>
            <p:ph type="title"/>
          </p:nvPr>
        </p:nvSpPr>
        <p:spPr/>
        <p:txBody>
          <a:bodyPr/>
          <a:lstStyle/>
          <a:p>
            <a:r>
              <a:rPr lang="ja-JP" altLang="en-US" dirty="0"/>
              <a:t>マスタ タイトルの書式設定</a:t>
            </a:r>
          </a:p>
        </p:txBody>
      </p:sp>
      <p:sp>
        <p:nvSpPr>
          <p:cNvPr id="1063" name="Rectangle 5"/>
          <p:cNvSpPr>
            <a:spLocks noGrp="1" noChangeArrowheads="1"/>
          </p:cNvSpPr>
          <p:nvPr>
            <p:ph type="sldNum" sz="quarter" idx="12"/>
          </p:nvPr>
        </p:nvSpPr>
        <p:spPr>
          <a:ln/>
        </p:spPr>
        <p:txBody>
          <a:bodyPr/>
          <a:lstStyle>
            <a:lvl1pPr>
              <a:defRPr/>
            </a:lvl1pPr>
          </a:lstStyle>
          <a:p>
            <a:pPr>
              <a:defRPr/>
            </a:pPr>
            <a:fld id="{FEA738E0-AA69-4F43-B9A6-13A7429D5D87}" type="slidenum">
              <a:rPr lang="en-US" altLang="ja-JP"/>
              <a:pPr>
                <a:defRPr/>
              </a:pPr>
              <a:t>‹#›</a:t>
            </a:fld>
            <a:endParaRPr lang="en-US" altLang="ja-JP" dirty="0"/>
          </a:p>
        </p:txBody>
      </p:sp>
    </p:spTree>
    <p:extLst>
      <p:ext uri="{BB962C8B-B14F-4D97-AF65-F5344CB8AC3E}">
        <p14:creationId xmlns:p14="http://schemas.microsoft.com/office/powerpoint/2010/main" val="274841333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pPr>
              <a:defRPr/>
            </a:pPr>
            <a:endParaRPr lang="en-US" altLang="ja-JP"/>
          </a:p>
        </p:txBody>
      </p:sp>
      <p:sp>
        <p:nvSpPr>
          <p:cNvPr id="4" name="フッター プレースホルダー 3"/>
          <p:cNvSpPr>
            <a:spLocks noGrp="1"/>
          </p:cNvSpPr>
          <p:nvPr>
            <p:ph type="ftr" sz="quarter" idx="11"/>
          </p:nvPr>
        </p:nvSpPr>
        <p:spPr/>
        <p:txBody>
          <a:bodyPr/>
          <a:lstStyle/>
          <a:p>
            <a:pPr>
              <a:defRPr/>
            </a:pPr>
            <a:endParaRPr lang="en-US" altLang="ja-JP"/>
          </a:p>
        </p:txBody>
      </p:sp>
      <p:sp>
        <p:nvSpPr>
          <p:cNvPr id="5" name="スライド番号プレースホルダー 4"/>
          <p:cNvSpPr>
            <a:spLocks noGrp="1"/>
          </p:cNvSpPr>
          <p:nvPr>
            <p:ph type="sldNum" sz="quarter" idx="12"/>
          </p:nvPr>
        </p:nvSpPr>
        <p:spPr/>
        <p:txBody>
          <a:bodyPr/>
          <a:lstStyle/>
          <a:p>
            <a:pPr>
              <a:defRPr/>
            </a:pPr>
            <a:fld id="{F37D7305-4D6C-4E66-A1A4-6B87B654892E}" type="slidenum">
              <a:rPr lang="en-US" altLang="ja-JP" smtClean="0"/>
              <a:pPr>
                <a:defRPr/>
              </a:pPr>
              <a:t>‹#›</a:t>
            </a:fld>
            <a:endParaRPr lang="en-US" altLang="ja-JP"/>
          </a:p>
        </p:txBody>
      </p:sp>
    </p:spTree>
    <p:extLst>
      <p:ext uri="{BB962C8B-B14F-4D97-AF65-F5344CB8AC3E}">
        <p14:creationId xmlns:p14="http://schemas.microsoft.com/office/powerpoint/2010/main" val="34204420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1037" name="Picture 20" descr="ppjtitle"/>
          <p:cNvPicPr>
            <a:picLocks noChangeAspect="1" noChangeArrowheads="1"/>
          </p:cNvPicPr>
          <p:nvPr/>
        </p:nvPicPr>
        <p:blipFill>
          <a:blip r:embed="rId2"/>
          <a:stretch>
            <a:fillRect/>
          </a:stretch>
        </p:blipFill>
        <p:spPr>
          <a:xfrm>
            <a:off x="0" y="6076950"/>
            <a:ext cx="9921875" cy="781050"/>
          </a:xfrm>
          <a:prstGeom prst="rect">
            <a:avLst/>
          </a:prstGeom>
          <a:noFill/>
          <a:ln w="9525">
            <a:noFill/>
            <a:miter lim="800000"/>
            <a:headEnd/>
            <a:tailEnd/>
          </a:ln>
        </p:spPr>
      </p:pic>
      <p:sp>
        <p:nvSpPr>
          <p:cNvPr id="1038" name="Rectangle 14"/>
          <p:cNvSpPr>
            <a:spLocks noChangeArrowheads="1"/>
          </p:cNvSpPr>
          <p:nvPr/>
        </p:nvSpPr>
        <p:spPr>
          <a:xfrm>
            <a:off x="1833563" y="3284544"/>
            <a:ext cx="8072437" cy="73025"/>
          </a:xfrm>
          <a:prstGeom prst="rect">
            <a:avLst/>
          </a:prstGeom>
          <a:solidFill>
            <a:srgbClr val="FF0000"/>
          </a:solidFill>
          <a:ln w="9525">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9" name="Rectangle 3"/>
          <p:cNvSpPr>
            <a:spLocks noGrp="1" noChangeArrowheads="1"/>
          </p:cNvSpPr>
          <p:nvPr>
            <p:ph type="ctrTitle"/>
          </p:nvPr>
        </p:nvSpPr>
        <p:spPr>
          <a:xfrm>
            <a:off x="1784350" y="2133606"/>
            <a:ext cx="8121650" cy="1470025"/>
          </a:xfrm>
        </p:spPr>
        <p:txBody>
          <a:bodyPr/>
          <a:lstStyle>
            <a:lvl1pPr>
              <a:defRPr sz="4000"/>
            </a:lvl1pPr>
          </a:lstStyle>
          <a:p>
            <a:r>
              <a:rPr lang="ja-JP" altLang="en-US"/>
              <a:t>マスター タイトルの書式設定</a:t>
            </a:r>
          </a:p>
        </p:txBody>
      </p:sp>
      <p:sp>
        <p:nvSpPr>
          <p:cNvPr id="1040"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マスター サブタイトルの書式設定</a:t>
            </a:r>
          </a:p>
        </p:txBody>
      </p:sp>
      <p:sp>
        <p:nvSpPr>
          <p:cNvPr id="1041" name="Rectangle 5"/>
          <p:cNvSpPr>
            <a:spLocks noGrp="1" noChangeArrowheads="1"/>
          </p:cNvSpPr>
          <p:nvPr>
            <p:ph type="dt" sz="half" idx="10"/>
          </p:nvPr>
        </p:nvSpPr>
        <p:spPr/>
        <p:txBody>
          <a:bodyPr/>
          <a:lstStyle>
            <a:lvl1pPr>
              <a:defRPr/>
            </a:lvl1pPr>
          </a:lstStyle>
          <a:p>
            <a:pPr fontAlgn="base">
              <a:spcBef>
                <a:spcPct val="0"/>
              </a:spcBef>
              <a:spcAft>
                <a:spcPct val="0"/>
              </a:spcAft>
              <a:defRPr/>
            </a:pPr>
            <a:endParaRPr lang="en-US" altLang="ja-JP"/>
          </a:p>
        </p:txBody>
      </p:sp>
      <p:sp>
        <p:nvSpPr>
          <p:cNvPr id="1042" name="Rectangle 6"/>
          <p:cNvSpPr>
            <a:spLocks noGrp="1" noChangeArrowheads="1"/>
          </p:cNvSpPr>
          <p:nvPr>
            <p:ph type="ftr" sz="quarter" idx="11"/>
          </p:nvPr>
        </p:nvSpPr>
        <p:spPr/>
        <p:txBody>
          <a:bodyPr/>
          <a:lstStyle>
            <a:lvl1pPr>
              <a:defRPr/>
            </a:lvl1pPr>
          </a:lstStyle>
          <a:p>
            <a:pPr fontAlgn="base">
              <a:spcBef>
                <a:spcPct val="0"/>
              </a:spcBef>
              <a:spcAft>
                <a:spcPct val="0"/>
              </a:spcAft>
              <a:defRPr/>
            </a:pPr>
            <a:endParaRPr lang="en-US" altLang="ja-JP"/>
          </a:p>
        </p:txBody>
      </p:sp>
      <p:sp>
        <p:nvSpPr>
          <p:cNvPr id="1043" name="Rectangle 7"/>
          <p:cNvSpPr>
            <a:spLocks noGrp="1" noChangeArrowheads="1"/>
          </p:cNvSpPr>
          <p:nvPr>
            <p:ph type="sldNum" sz="quarter" idx="12"/>
          </p:nvPr>
        </p:nvSpPr>
        <p:spPr>
          <a:xfrm>
            <a:off x="7099300" y="6245225"/>
            <a:ext cx="2311400" cy="476250"/>
          </a:xfrm>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7149748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5" name="タイトル 1"/>
          <p:cNvSpPr>
            <a:spLocks noGrp="1"/>
          </p:cNvSpPr>
          <p:nvPr>
            <p:ph type="title"/>
          </p:nvPr>
        </p:nvSpPr>
        <p:spPr/>
        <p:txBody>
          <a:bodyPr/>
          <a:lstStyle/>
          <a:p>
            <a:r>
              <a:rPr lang="ja-JP" altLang="en-US"/>
              <a:t>マスター タイトルの書式設定</a:t>
            </a:r>
          </a:p>
        </p:txBody>
      </p:sp>
      <p:sp>
        <p:nvSpPr>
          <p:cNvPr id="1046"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47"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48"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49" name="Rectangle 5"/>
          <p:cNvSpPr>
            <a:spLocks noGrp="1" noChangeArrowheads="1"/>
          </p:cNvSpPr>
          <p:nvPr>
            <p:ph type="sldNum" sz="quarter" idx="12"/>
          </p:nvPr>
        </p:nvSpPr>
        <p:spPr>
          <a:ln/>
        </p:spPr>
        <p:txBody>
          <a:bodyPr/>
          <a:lstStyle>
            <a:lvl1pPr>
              <a:defRPr/>
            </a:lvl1pPr>
          </a:lstStyle>
          <a:p>
            <a:pPr>
              <a:defRPr/>
            </a:pPr>
            <a:fld id="{58764233-5231-4BB3-864E-7369979C153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41051324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51" name="タイトル 1"/>
          <p:cNvSpPr>
            <a:spLocks noGrp="1"/>
          </p:cNvSpPr>
          <p:nvPr>
            <p:ph type="title"/>
          </p:nvPr>
        </p:nvSpPr>
        <p:spPr>
          <a:xfrm>
            <a:off x="782638" y="4406906"/>
            <a:ext cx="8420100" cy="1362075"/>
          </a:xfrm>
        </p:spPr>
        <p:txBody>
          <a:bodyPr anchor="t"/>
          <a:lstStyle>
            <a:lvl1pPr algn="l">
              <a:defRPr sz="4000" b="1" cap="all"/>
            </a:lvl1pPr>
          </a:lstStyle>
          <a:p>
            <a:r>
              <a:rPr lang="ja-JP" altLang="en-US"/>
              <a:t>マスター タイトルの書式設定</a:t>
            </a:r>
          </a:p>
        </p:txBody>
      </p:sp>
      <p:sp>
        <p:nvSpPr>
          <p:cNvPr id="1052" name="テキスト プレースホルダ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1053"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54"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55" name="Rectangle 5"/>
          <p:cNvSpPr>
            <a:spLocks noGrp="1" noChangeArrowheads="1"/>
          </p:cNvSpPr>
          <p:nvPr>
            <p:ph type="sldNum" sz="quarter" idx="12"/>
          </p:nvPr>
        </p:nvSpPr>
        <p:spPr>
          <a:ln/>
        </p:spPr>
        <p:txBody>
          <a:bodyPr/>
          <a:lstStyle>
            <a:lvl1pPr>
              <a:defRPr/>
            </a:lvl1pPr>
          </a:lstStyle>
          <a:p>
            <a:pPr>
              <a:defRPr/>
            </a:pPr>
            <a:fld id="{DFEEB25D-4B7B-45DF-AF0B-DD05B66E5003}" type="slidenum">
              <a:rPr lang="en-US" altLang="ja-JP" smtClean="0"/>
              <a:pPr>
                <a:defRPr/>
              </a:pPr>
              <a:t>‹#›</a:t>
            </a:fld>
            <a:endParaRPr lang="en-US" altLang="ja-JP"/>
          </a:p>
        </p:txBody>
      </p:sp>
    </p:spTree>
    <p:extLst>
      <p:ext uri="{BB962C8B-B14F-4D97-AF65-F5344CB8AC3E}">
        <p14:creationId xmlns:p14="http://schemas.microsoft.com/office/powerpoint/2010/main" val="40482070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57" name="タイトル 1"/>
          <p:cNvSpPr>
            <a:spLocks noGrp="1"/>
          </p:cNvSpPr>
          <p:nvPr>
            <p:ph type="title"/>
          </p:nvPr>
        </p:nvSpPr>
        <p:spPr/>
        <p:txBody>
          <a:bodyPr/>
          <a:lstStyle/>
          <a:p>
            <a:r>
              <a:rPr lang="ja-JP" altLang="en-US"/>
              <a:t>マスター タイトルの書式設定</a:t>
            </a:r>
          </a:p>
        </p:txBody>
      </p:sp>
      <p:sp>
        <p:nvSpPr>
          <p:cNvPr id="1058" name="コンテンツ プレースホルダ 2"/>
          <p:cNvSpPr>
            <a:spLocks noGrp="1"/>
          </p:cNvSpPr>
          <p:nvPr>
            <p:ph sz="half" idx="1"/>
          </p:nvPr>
        </p:nvSpPr>
        <p:spPr>
          <a:xfrm>
            <a:off x="495302" y="1600204"/>
            <a:ext cx="438150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コンテンツ プレースホルダ 3"/>
          <p:cNvSpPr>
            <a:spLocks noGrp="1"/>
          </p:cNvSpPr>
          <p:nvPr>
            <p:ph sz="half" idx="2"/>
          </p:nvPr>
        </p:nvSpPr>
        <p:spPr>
          <a:xfrm>
            <a:off x="5029199" y="1600204"/>
            <a:ext cx="438150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0"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61"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62"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21037121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a:p>
        </p:txBody>
      </p:sp>
      <p:grpSp>
        <p:nvGrpSpPr>
          <p:cNvPr id="7" name="Group 27"/>
          <p:cNvGrpSpPr>
            <a:grpSpLocks/>
          </p:cNvGrpSpPr>
          <p:nvPr userDrawn="1"/>
        </p:nvGrpSpPr>
        <p:grpSpPr bwMode="auto">
          <a:xfrm>
            <a:off x="0" y="6599065"/>
            <a:ext cx="9906000" cy="214314"/>
            <a:chOff x="0" y="255"/>
            <a:chExt cx="6240" cy="135"/>
          </a:xfrm>
        </p:grpSpPr>
        <p:sp>
          <p:nvSpPr>
            <p:cNvPr id="8"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9"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Tree>
    <p:extLst>
      <p:ext uri="{BB962C8B-B14F-4D97-AF65-F5344CB8AC3E}">
        <p14:creationId xmlns:p14="http://schemas.microsoft.com/office/powerpoint/2010/main" val="40048771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64" name="タイトル 1"/>
          <p:cNvSpPr>
            <a:spLocks noGrp="1"/>
          </p:cNvSpPr>
          <p:nvPr>
            <p:ph type="title"/>
          </p:nvPr>
        </p:nvSpPr>
        <p:spPr>
          <a:xfrm>
            <a:off x="495300" y="274638"/>
            <a:ext cx="8915400" cy="1143000"/>
          </a:xfrm>
        </p:spPr>
        <p:txBody>
          <a:bodyPr/>
          <a:lstStyle>
            <a:lvl1pPr>
              <a:defRPr/>
            </a:lvl1pPr>
          </a:lstStyle>
          <a:p>
            <a:r>
              <a:rPr lang="ja-JP" altLang="en-US"/>
              <a:t>マスター タイトルの書式設定</a:t>
            </a:r>
          </a:p>
        </p:txBody>
      </p:sp>
      <p:sp>
        <p:nvSpPr>
          <p:cNvPr id="1065" name="テキスト プレースホルダ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1066" name="コンテンツ プレースホルダ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7" name="テキスト プレースホルダ 4"/>
          <p:cNvSpPr>
            <a:spLocks noGrp="1"/>
          </p:cNvSpPr>
          <p:nvPr>
            <p:ph type="body" sz="quarter" idx="3"/>
          </p:nvPr>
        </p:nvSpPr>
        <p:spPr>
          <a:xfrm>
            <a:off x="5032379"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1068" name="コンテンツ プレースホルダ 5"/>
          <p:cNvSpPr>
            <a:spLocks noGrp="1"/>
          </p:cNvSpPr>
          <p:nvPr>
            <p:ph sz="quarter" idx="4"/>
          </p:nvPr>
        </p:nvSpPr>
        <p:spPr>
          <a:xfrm>
            <a:off x="5032379"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9"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70"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71"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37937836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73" name="タイトル 1"/>
          <p:cNvSpPr>
            <a:spLocks noGrp="1"/>
          </p:cNvSpPr>
          <p:nvPr>
            <p:ph type="title"/>
          </p:nvPr>
        </p:nvSpPr>
        <p:spPr/>
        <p:txBody>
          <a:bodyPr/>
          <a:lstStyle/>
          <a:p>
            <a:r>
              <a:rPr lang="ja-JP" altLang="en-US"/>
              <a:t>マスター タイトルの書式設定</a:t>
            </a:r>
          </a:p>
        </p:txBody>
      </p:sp>
      <p:sp>
        <p:nvSpPr>
          <p:cNvPr id="1074"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7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76" name="Rectangle 5"/>
          <p:cNvSpPr>
            <a:spLocks noGrp="1" noChangeArrowheads="1"/>
          </p:cNvSpPr>
          <p:nvPr>
            <p:ph type="sldNum" sz="quarter" idx="12"/>
          </p:nvPr>
        </p:nvSpPr>
        <p:spPr>
          <a:ln/>
        </p:spPr>
        <p:txBody>
          <a:bodyPr/>
          <a:lstStyle>
            <a:lvl1pPr>
              <a:defRPr/>
            </a:lvl1pPr>
          </a:lstStyle>
          <a:p>
            <a:pPr>
              <a:defRPr/>
            </a:pPr>
            <a:fld id="{6C8B3383-B952-447B-9C5E-1900D707C22A}"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14766952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8" name="Rectangle 3"/>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1079" name="Rectangle 4"/>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
        <p:nvSpPr>
          <p:cNvPr id="1080" name="Rectangle 5"/>
          <p:cNvSpPr>
            <a:spLocks noGrp="1" noChangeArrowheads="1"/>
          </p:cNvSpPr>
          <p:nvPr>
            <p:ph type="sldNum" sz="quarter" idx="12"/>
          </p:nvPr>
        </p:nvSpPr>
        <p:spPr>
          <a:ln/>
        </p:spPr>
        <p:txBody>
          <a:bodyPr/>
          <a:lstStyle>
            <a:lvl1pPr>
              <a:defRPr/>
            </a:lvl1pPr>
          </a:lstStyle>
          <a:p>
            <a:pPr>
              <a:defRPr/>
            </a:pPr>
            <a:fld id="{6A8F643B-1E2A-4F03-8182-047C0680F225}" type="slidenum">
              <a:rPr lang="en-US" altLang="ja-JP" smtClean="0">
                <a:solidFill>
                  <a:prstClr val="black"/>
                </a:solidFill>
              </a:rPr>
              <a:pPr>
                <a:defRPr/>
              </a:pPr>
              <a:t>‹#›</a:t>
            </a:fld>
            <a:endParaRPr lang="en-US" altLang="ja-JP">
              <a:solidFill>
                <a:prstClr val="black"/>
              </a:solidFill>
            </a:endParaRPr>
          </a:p>
        </p:txBody>
      </p:sp>
    </p:spTree>
    <p:extLst>
      <p:ext uri="{BB962C8B-B14F-4D97-AF65-F5344CB8AC3E}">
        <p14:creationId xmlns:p14="http://schemas.microsoft.com/office/powerpoint/2010/main" val="7906928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82" name="タイトル 1"/>
          <p:cNvSpPr>
            <a:spLocks noGrp="1"/>
          </p:cNvSpPr>
          <p:nvPr>
            <p:ph type="title"/>
          </p:nvPr>
        </p:nvSpPr>
        <p:spPr>
          <a:xfrm>
            <a:off x="495300" y="273050"/>
            <a:ext cx="3259138" cy="1162050"/>
          </a:xfrm>
        </p:spPr>
        <p:txBody>
          <a:bodyPr anchor="b"/>
          <a:lstStyle>
            <a:lvl1pPr algn="l">
              <a:defRPr sz="2000" b="1"/>
            </a:lvl1pPr>
          </a:lstStyle>
          <a:p>
            <a:r>
              <a:rPr lang="ja-JP" altLang="en-US"/>
              <a:t>マスター タイトルの書式設定</a:t>
            </a:r>
          </a:p>
        </p:txBody>
      </p:sp>
      <p:sp>
        <p:nvSpPr>
          <p:cNvPr id="1083" name="コンテンツ プレースホルダ 2"/>
          <p:cNvSpPr>
            <a:spLocks noGrp="1"/>
          </p:cNvSpPr>
          <p:nvPr>
            <p:ph idx="1"/>
          </p:nvPr>
        </p:nvSpPr>
        <p:spPr>
          <a:xfrm>
            <a:off x="3873499" y="27305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84" name="テキスト プレースホルダ 3"/>
          <p:cNvSpPr>
            <a:spLocks noGrp="1"/>
          </p:cNvSpPr>
          <p:nvPr>
            <p:ph type="body" sz="half" idx="2"/>
          </p:nvPr>
        </p:nvSpPr>
        <p:spPr>
          <a:xfrm>
            <a:off x="495300" y="1435102"/>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1085"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86"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87"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5107486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9" name="タイトル 1"/>
          <p:cNvSpPr>
            <a:spLocks noGrp="1"/>
          </p:cNvSpPr>
          <p:nvPr>
            <p:ph type="title"/>
          </p:nvPr>
        </p:nvSpPr>
        <p:spPr>
          <a:xfrm>
            <a:off x="1941513" y="4800600"/>
            <a:ext cx="5943600" cy="566738"/>
          </a:xfrm>
        </p:spPr>
        <p:txBody>
          <a:bodyPr anchor="b"/>
          <a:lstStyle>
            <a:lvl1pPr algn="l">
              <a:defRPr sz="2000" b="1"/>
            </a:lvl1pPr>
          </a:lstStyle>
          <a:p>
            <a:r>
              <a:rPr lang="ja-JP" altLang="en-US"/>
              <a:t>マスター タイトルの書式設定</a:t>
            </a:r>
          </a:p>
        </p:txBody>
      </p:sp>
      <p:sp>
        <p:nvSpPr>
          <p:cNvPr id="1090" name="図プレースホルダ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a:t>図を追加</a:t>
            </a:r>
          </a:p>
        </p:txBody>
      </p:sp>
      <p:sp>
        <p:nvSpPr>
          <p:cNvPr id="1091" name="テキスト プレースホルダ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1092"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93"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94"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29157410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96" name="タイトル 1"/>
          <p:cNvSpPr>
            <a:spLocks noGrp="1"/>
          </p:cNvSpPr>
          <p:nvPr>
            <p:ph type="title"/>
          </p:nvPr>
        </p:nvSpPr>
        <p:spPr/>
        <p:txBody>
          <a:bodyPr/>
          <a:lstStyle/>
          <a:p>
            <a:r>
              <a:rPr lang="ja-JP" altLang="en-US"/>
              <a:t>マスター タイトルの書式設定</a:t>
            </a:r>
          </a:p>
        </p:txBody>
      </p:sp>
      <p:sp>
        <p:nvSpPr>
          <p:cNvPr id="1097"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8"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99"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100"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187543278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102" name="縦書きタイトル 1"/>
          <p:cNvSpPr>
            <a:spLocks noGrp="1"/>
          </p:cNvSpPr>
          <p:nvPr>
            <p:ph type="title" orient="vert"/>
          </p:nvPr>
        </p:nvSpPr>
        <p:spPr>
          <a:xfrm>
            <a:off x="7058025" y="0"/>
            <a:ext cx="2352675" cy="6126163"/>
          </a:xfrm>
        </p:spPr>
        <p:txBody>
          <a:bodyPr vert="eaVert"/>
          <a:lstStyle/>
          <a:p>
            <a:r>
              <a:rPr lang="ja-JP" altLang="en-US"/>
              <a:t>マスター タイトルの書式設定</a:t>
            </a:r>
          </a:p>
        </p:txBody>
      </p:sp>
      <p:sp>
        <p:nvSpPr>
          <p:cNvPr id="1103" name="縦書きテキスト プレースホルダ 2"/>
          <p:cNvSpPr>
            <a:spLocks noGrp="1"/>
          </p:cNvSpPr>
          <p:nvPr>
            <p:ph type="body" orient="vert" idx="1"/>
          </p:nvPr>
        </p:nvSpPr>
        <p:spPr>
          <a:xfrm>
            <a:off x="4" y="0"/>
            <a:ext cx="6905625" cy="612616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4"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105"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106"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348310626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1108" name="コンテンツ プレースホルダ 1"/>
          <p:cNvSpPr>
            <a:spLocks noGrp="1"/>
          </p:cNvSpPr>
          <p:nvPr>
            <p:ph/>
          </p:nvPr>
        </p:nvSpPr>
        <p:spPr>
          <a:xfrm>
            <a:off x="0" y="0"/>
            <a:ext cx="9410700" cy="612616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9"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110"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111"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386221014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1_セクション見出し">
    <p:spTree>
      <p:nvGrpSpPr>
        <p:cNvPr id="1" name=""/>
        <p:cNvGrpSpPr/>
        <p:nvPr/>
      </p:nvGrpSpPr>
      <p:grpSpPr>
        <a:xfrm>
          <a:off x="0" y="0"/>
          <a:ext cx="0" cy="0"/>
          <a:chOff x="0" y="0"/>
          <a:chExt cx="0" cy="0"/>
        </a:xfrm>
      </p:grpSpPr>
      <p:sp>
        <p:nvSpPr>
          <p:cNvPr id="1113" name="日付プレースホルダ 3"/>
          <p:cNvSpPr>
            <a:spLocks noGrp="1"/>
          </p:cNvSpPr>
          <p:nvPr>
            <p:ph type="dt" sz="half" idx="10"/>
          </p:nvPr>
        </p:nvSpPr>
        <p:spPr/>
        <p:txBody>
          <a:bodyPr/>
          <a:lstStyle/>
          <a:p>
            <a:pPr fontAlgn="base">
              <a:spcBef>
                <a:spcPct val="0"/>
              </a:spcBef>
              <a:spcAft>
                <a:spcPct val="0"/>
              </a:spcAft>
              <a:defRPr/>
            </a:pPr>
            <a:endParaRPr lang="en-US" altLang="ja-JP"/>
          </a:p>
        </p:txBody>
      </p:sp>
      <p:sp>
        <p:nvSpPr>
          <p:cNvPr id="1114" name="フッター プレースホルダ 4"/>
          <p:cNvSpPr>
            <a:spLocks noGrp="1"/>
          </p:cNvSpPr>
          <p:nvPr>
            <p:ph type="ftr" sz="quarter" idx="11"/>
          </p:nvPr>
        </p:nvSpPr>
        <p:spPr/>
        <p:txBody>
          <a:bodyPr/>
          <a:lstStyle/>
          <a:p>
            <a:pPr fontAlgn="base">
              <a:spcBef>
                <a:spcPct val="0"/>
              </a:spcBef>
              <a:spcAft>
                <a:spcPct val="0"/>
              </a:spcAft>
              <a:defRPr/>
            </a:pPr>
            <a:endParaRPr lang="en-US" altLang="ja-JP"/>
          </a:p>
        </p:txBody>
      </p:sp>
      <p:sp>
        <p:nvSpPr>
          <p:cNvPr id="1115" name="スライド番号プレースホルダ 5"/>
          <p:cNvSpPr>
            <a:spLocks noGrp="1"/>
          </p:cNvSpPr>
          <p:nvPr>
            <p:ph type="sldNum" sz="quarter" idx="12"/>
          </p:nvPr>
        </p:nvSpPr>
        <p:spPr/>
        <p:txBody>
          <a:body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cxnSp>
        <p:nvCxnSpPr>
          <p:cNvPr id="1116" name="直線コネクタ 6"/>
          <p:cNvCxnSpPr/>
          <p:nvPr/>
        </p:nvCxnSpPr>
        <p:spPr>
          <a:xfrm>
            <a:off x="0" y="607299"/>
            <a:ext cx="990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597423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sp>
        <p:nvSpPr>
          <p:cNvPr id="1033" name="日付プレースホルダー 3"/>
          <p:cNvSpPr>
            <a:spLocks noGrp="1"/>
          </p:cNvSpPr>
          <p:nvPr>
            <p:ph type="dt" sz="half" idx="10"/>
          </p:nvPr>
        </p:nvSpPr>
        <p:spPr/>
        <p:txBody>
          <a:bodyPr/>
          <a:lstStyle/>
          <a:p>
            <a:endParaRPr kumimoji="1" lang="ja-JP" altLang="en-US"/>
          </a:p>
        </p:txBody>
      </p:sp>
      <p:sp>
        <p:nvSpPr>
          <p:cNvPr id="1034" name="フッター プレースホルダー 4"/>
          <p:cNvSpPr>
            <a:spLocks noGrp="1"/>
          </p:cNvSpPr>
          <p:nvPr>
            <p:ph type="ftr" sz="quarter" idx="11"/>
          </p:nvPr>
        </p:nvSpPr>
        <p:spPr/>
        <p:txBody>
          <a:bodyPr/>
          <a:lstStyle/>
          <a:p>
            <a:endParaRPr kumimoji="1" lang="ja-JP" altLang="en-US"/>
          </a:p>
        </p:txBody>
      </p:sp>
      <p:sp>
        <p:nvSpPr>
          <p:cNvPr id="1035" name="スライド番号プレースホルダー 5"/>
          <p:cNvSpPr>
            <a:spLocks noGrp="1"/>
          </p:cNvSpPr>
          <p:nvPr>
            <p:ph type="sldNum" sz="quarter" idx="12"/>
          </p:nvPr>
        </p:nvSpPr>
        <p:spPr/>
        <p:txBody>
          <a:bodyPr/>
          <a:lstStyle/>
          <a:p>
            <a:fld id="{EB5D65D9-31D7-4BAA-9731-87A52B1BA990}" type="slidenum">
              <a:rPr kumimoji="1" lang="ja-JP" altLang="en-US" smtClean="0"/>
              <a:t>‹#›</a:t>
            </a:fld>
            <a:endParaRPr kumimoji="1" lang="ja-JP" altLang="en-US"/>
          </a:p>
        </p:txBody>
      </p:sp>
    </p:spTree>
    <p:extLst>
      <p:ext uri="{BB962C8B-B14F-4D97-AF65-F5344CB8AC3E}">
        <p14:creationId xmlns:p14="http://schemas.microsoft.com/office/powerpoint/2010/main" val="2849228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pSp>
        <p:nvGrpSpPr>
          <p:cNvPr id="1050" name="グループ化 93"/>
          <p:cNvGrpSpPr>
            <a:grpSpLocks noChangeAspect="1"/>
          </p:cNvGrpSpPr>
          <p:nvPr userDrawn="1"/>
        </p:nvGrpSpPr>
        <p:grpSpPr>
          <a:xfrm>
            <a:off x="251520" y="6076961"/>
            <a:ext cx="1395847" cy="418881"/>
            <a:chOff x="4624168" y="4098236"/>
            <a:chExt cx="2957141" cy="819150"/>
          </a:xfrm>
        </p:grpSpPr>
        <p:sp>
          <p:nvSpPr>
            <p:cNvPr id="1051" name="フリーフォーム: 図形 8"/>
            <p:cNvSpPr/>
            <p:nvPr/>
          </p:nvSpPr>
          <p:spPr>
            <a:xfrm>
              <a:off x="4624168" y="4098236"/>
              <a:ext cx="971550"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dirty="0"/>
            </a:p>
          </p:txBody>
        </p:sp>
        <p:sp>
          <p:nvSpPr>
            <p:cNvPr id="1052" name="フリーフォーム: 図形 9"/>
            <p:cNvSpPr/>
            <p:nvPr/>
          </p:nvSpPr>
          <p:spPr>
            <a:xfrm>
              <a:off x="7190784" y="4524946"/>
              <a:ext cx="390525" cy="352425"/>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dirty="0"/>
            </a:p>
          </p:txBody>
        </p:sp>
        <p:sp>
          <p:nvSpPr>
            <p:cNvPr id="1053" name="フリーフォーム: 図形 10"/>
            <p:cNvSpPr/>
            <p:nvPr/>
          </p:nvSpPr>
          <p:spPr>
            <a:xfrm>
              <a:off x="7103392" y="4363774"/>
              <a:ext cx="476250" cy="514350"/>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dirty="0"/>
            </a:p>
          </p:txBody>
        </p:sp>
        <p:sp>
          <p:nvSpPr>
            <p:cNvPr id="1054" name="フリーフォーム: 図形 11"/>
            <p:cNvSpPr/>
            <p:nvPr/>
          </p:nvSpPr>
          <p:spPr>
            <a:xfrm>
              <a:off x="6484267" y="4397940"/>
              <a:ext cx="476250" cy="476250"/>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dirty="0"/>
            </a:p>
          </p:txBody>
        </p:sp>
        <p:sp>
          <p:nvSpPr>
            <p:cNvPr id="1055" name="フリーフォーム: 図形 12"/>
            <p:cNvSpPr/>
            <p:nvPr/>
          </p:nvSpPr>
          <p:spPr>
            <a:xfrm>
              <a:off x="6793496" y="4397940"/>
              <a:ext cx="142875"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dirty="0"/>
            </a:p>
          </p:txBody>
        </p:sp>
        <p:sp>
          <p:nvSpPr>
            <p:cNvPr id="1056" name="フリーフォーム: 図形 13"/>
            <p:cNvSpPr/>
            <p:nvPr/>
          </p:nvSpPr>
          <p:spPr>
            <a:xfrm>
              <a:off x="6513375" y="4397940"/>
              <a:ext cx="142875"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dirty="0"/>
            </a:p>
          </p:txBody>
        </p:sp>
        <p:sp>
          <p:nvSpPr>
            <p:cNvPr id="1057" name="フリーフォーム: 図形 14"/>
            <p:cNvSpPr/>
            <p:nvPr/>
          </p:nvSpPr>
          <p:spPr>
            <a:xfrm>
              <a:off x="6150387" y="4397940"/>
              <a:ext cx="219075" cy="476250"/>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dirty="0"/>
            </a:p>
          </p:txBody>
        </p:sp>
        <p:sp>
          <p:nvSpPr>
            <p:cNvPr id="1058" name="フリーフォーム: 図形 15"/>
            <p:cNvSpPr/>
            <p:nvPr/>
          </p:nvSpPr>
          <p:spPr>
            <a:xfrm>
              <a:off x="5863313" y="4363783"/>
              <a:ext cx="285750" cy="514350"/>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dirty="0"/>
            </a:p>
          </p:txBody>
        </p:sp>
        <p:sp>
          <p:nvSpPr>
            <p:cNvPr id="1059" name="フリーフォーム: 図形 16"/>
            <p:cNvSpPr/>
            <p:nvPr/>
          </p:nvSpPr>
          <p:spPr>
            <a:xfrm>
              <a:off x="5899880" y="4139269"/>
              <a:ext cx="190500" cy="200025"/>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dirty="0"/>
            </a:p>
          </p:txBody>
        </p:sp>
        <p:sp>
          <p:nvSpPr>
            <p:cNvPr id="1060" name="フリーフォーム: 図形 17"/>
            <p:cNvSpPr/>
            <p:nvPr/>
          </p:nvSpPr>
          <p:spPr>
            <a:xfrm>
              <a:off x="6114792" y="4129592"/>
              <a:ext cx="200025" cy="200025"/>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dirty="0"/>
            </a:p>
          </p:txBody>
        </p:sp>
        <p:sp>
          <p:nvSpPr>
            <p:cNvPr id="1061" name="フリーフォーム: 図形 18"/>
            <p:cNvSpPr/>
            <p:nvPr/>
          </p:nvSpPr>
          <p:spPr>
            <a:xfrm>
              <a:off x="6335839" y="4129592"/>
              <a:ext cx="209550" cy="200025"/>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dirty="0"/>
            </a:p>
          </p:txBody>
        </p:sp>
        <p:sp>
          <p:nvSpPr>
            <p:cNvPr id="1062" name="フリーフォーム: 図形 19"/>
            <p:cNvSpPr/>
            <p:nvPr/>
          </p:nvSpPr>
          <p:spPr>
            <a:xfrm>
              <a:off x="6554514" y="4131697"/>
              <a:ext cx="209550" cy="200025"/>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dirty="0"/>
            </a:p>
          </p:txBody>
        </p:sp>
        <p:sp>
          <p:nvSpPr>
            <p:cNvPr id="1063" name="フリーフォーム: 図形 20"/>
            <p:cNvSpPr/>
            <p:nvPr/>
          </p:nvSpPr>
          <p:spPr>
            <a:xfrm>
              <a:off x="6776113" y="4130182"/>
              <a:ext cx="209550" cy="200025"/>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dirty="0"/>
            </a:p>
          </p:txBody>
        </p:sp>
      </p:grpSp>
      <p:grpSp>
        <p:nvGrpSpPr>
          <p:cNvPr id="1064" name="グループ化 107"/>
          <p:cNvGrpSpPr/>
          <p:nvPr userDrawn="1"/>
        </p:nvGrpSpPr>
        <p:grpSpPr>
          <a:xfrm>
            <a:off x="0" y="6589649"/>
            <a:ext cx="9906000" cy="270000"/>
            <a:chOff x="0" y="6589649"/>
            <a:chExt cx="10731500" cy="270000"/>
          </a:xfrm>
        </p:grpSpPr>
        <p:sp>
          <p:nvSpPr>
            <p:cNvPr id="1065" name="正方形/長方形 108"/>
            <p:cNvSpPr/>
            <p:nvPr userDrawn="1"/>
          </p:nvSpPr>
          <p:spPr>
            <a:xfrm>
              <a:off x="0" y="6589649"/>
              <a:ext cx="10731500" cy="270000"/>
            </a:xfrm>
            <a:prstGeom prst="rect">
              <a:avLst/>
            </a:prstGeom>
            <a:solidFill>
              <a:srgbClr val="FF0000"/>
            </a:solidFill>
            <a:ln>
              <a:noFill/>
            </a:ln>
            <a:effectLst/>
          </p:spPr>
          <p:txBody>
            <a:bodyPr vert="horz" wrap="none" lIns="91440" tIns="45720" rIns="91440" bIns="45720" numCol="1" rtlCol="0" anchor="ctr" anchorCtr="0" compatLnSpc="1">
              <a:prstTxWarp prst="textNoShape">
                <a:avLst/>
              </a:prstTxWarp>
            </a:bodyPr>
            <a:lstStyle/>
            <a:p>
              <a:pPr marL="0" marR="0" indent="0" algn="ctr" defTabSz="914418" rtl="0" eaLnBrk="1" fontAlgn="base" latinLnBrk="0" hangingPunct="1">
                <a:lnSpc>
                  <a:spcPct val="100000"/>
                </a:lnSpc>
                <a:spcBef>
                  <a:spcPct val="0"/>
                </a:spcBef>
                <a:spcAft>
                  <a:spcPct val="0"/>
                </a:spcAft>
                <a:buClrTx/>
                <a:buSzTx/>
                <a:buFontTx/>
                <a:buNone/>
                <a:tabLst/>
              </a:pPr>
              <a:endParaRPr kumimoji="1" lang="ja-JP" altLang="en-US" sz="18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endParaRPr>
            </a:p>
          </p:txBody>
        </p:sp>
        <p:grpSp>
          <p:nvGrpSpPr>
            <p:cNvPr id="1066" name="グループ化 109"/>
            <p:cNvGrpSpPr/>
            <p:nvPr userDrawn="1"/>
          </p:nvGrpSpPr>
          <p:grpSpPr>
            <a:xfrm>
              <a:off x="918000" y="6624000"/>
              <a:ext cx="5180400" cy="150760"/>
              <a:chOff x="918000" y="6660000"/>
              <a:chExt cx="5180400" cy="150760"/>
            </a:xfrm>
          </p:grpSpPr>
          <p:grpSp>
            <p:nvGrpSpPr>
              <p:cNvPr id="1067" name="グループ化 110"/>
              <p:cNvGrpSpPr>
                <a:grpSpLocks noChangeAspect="1"/>
              </p:cNvGrpSpPr>
              <p:nvPr userDrawn="1"/>
            </p:nvGrpSpPr>
            <p:grpSpPr>
              <a:xfrm>
                <a:off x="918000" y="6668107"/>
                <a:ext cx="1368000" cy="142653"/>
                <a:chOff x="416496" y="5492911"/>
                <a:chExt cx="3254892" cy="339414"/>
              </a:xfrm>
            </p:grpSpPr>
            <p:sp>
              <p:nvSpPr>
                <p:cNvPr id="1068" name="フリーフォーム: 図形 6"/>
                <p:cNvSpPr/>
                <p:nvPr/>
              </p:nvSpPr>
              <p:spPr>
                <a:xfrm>
                  <a:off x="416496" y="5492921"/>
                  <a:ext cx="123825" cy="257175"/>
                </a:xfrm>
                <a:custGeom>
                  <a:avLst/>
                  <a:gdLst>
                    <a:gd name="connsiteX0" fmla="*/ 123939 w 123825"/>
                    <a:gd name="connsiteY0" fmla="*/ 178146 h 257175"/>
                    <a:gd name="connsiteX1" fmla="*/ 42120 w 123825"/>
                    <a:gd name="connsiteY1" fmla="*/ 257813 h 257175"/>
                    <a:gd name="connsiteX2" fmla="*/ 7144 w 123825"/>
                    <a:gd name="connsiteY2" fmla="*/ 253565 h 257175"/>
                    <a:gd name="connsiteX3" fmla="*/ 7144 w 123825"/>
                    <a:gd name="connsiteY3" fmla="*/ 219961 h 257175"/>
                    <a:gd name="connsiteX4" fmla="*/ 44253 w 123825"/>
                    <a:gd name="connsiteY4" fmla="*/ 228200 h 257175"/>
                    <a:gd name="connsiteX5" fmla="*/ 77133 w 123825"/>
                    <a:gd name="connsiteY5" fmla="*/ 182442 h 257175"/>
                    <a:gd name="connsiteX6" fmla="*/ 77133 w 123825"/>
                    <a:gd name="connsiteY6" fmla="*/ 7144 h 257175"/>
                    <a:gd name="connsiteX7" fmla="*/ 123930 w 123825"/>
                    <a:gd name="connsiteY7" fmla="*/ 7144 h 257175"/>
                    <a:gd name="connsiteX8" fmla="*/ 123930 w 123825"/>
                    <a:gd name="connsiteY8" fmla="*/ 17814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257175">
                      <a:moveTo>
                        <a:pt x="123939" y="178146"/>
                      </a:moveTo>
                      <a:cubicBezTo>
                        <a:pt x="123939" y="225295"/>
                        <a:pt x="113224" y="257813"/>
                        <a:pt x="42120" y="257813"/>
                      </a:cubicBezTo>
                      <a:cubicBezTo>
                        <a:pt x="26756" y="257813"/>
                        <a:pt x="15326" y="255299"/>
                        <a:pt x="7144" y="253565"/>
                      </a:cubicBezTo>
                      <a:lnTo>
                        <a:pt x="7144" y="219961"/>
                      </a:lnTo>
                      <a:cubicBezTo>
                        <a:pt x="11373" y="222104"/>
                        <a:pt x="26022" y="228200"/>
                        <a:pt x="44253" y="228200"/>
                      </a:cubicBezTo>
                      <a:cubicBezTo>
                        <a:pt x="72828" y="228200"/>
                        <a:pt x="77133" y="209255"/>
                        <a:pt x="77133" y="182442"/>
                      </a:cubicBezTo>
                      <a:lnTo>
                        <a:pt x="77133" y="7144"/>
                      </a:lnTo>
                      <a:lnTo>
                        <a:pt x="123930" y="7144"/>
                      </a:lnTo>
                      <a:lnTo>
                        <a:pt x="123930" y="178146"/>
                      </a:lnTo>
                      <a:close/>
                    </a:path>
                  </a:pathLst>
                </a:custGeom>
                <a:solidFill>
                  <a:schemeClr val="bg1"/>
                </a:solidFill>
                <a:ln w="9525" cap="flat">
                  <a:noFill/>
                  <a:prstDash val="solid"/>
                  <a:miter/>
                </a:ln>
              </p:spPr>
              <p:txBody>
                <a:bodyPr rtlCol="0" anchor="ctr"/>
                <a:lstStyle/>
                <a:p>
                  <a:endParaRPr lang="ja-JP" altLang="en-US" dirty="0"/>
                </a:p>
              </p:txBody>
            </p:sp>
            <p:sp>
              <p:nvSpPr>
                <p:cNvPr id="1069" name="フリーフォーム: 図形 7"/>
                <p:cNvSpPr/>
                <p:nvPr/>
              </p:nvSpPr>
              <p:spPr>
                <a:xfrm>
                  <a:off x="567591" y="5565644"/>
                  <a:ext cx="152400" cy="190500"/>
                </a:xfrm>
                <a:custGeom>
                  <a:avLst/>
                  <a:gdLst>
                    <a:gd name="connsiteX0" fmla="*/ 103641 w 152400"/>
                    <a:gd name="connsiteY0" fmla="*/ 158667 h 190500"/>
                    <a:gd name="connsiteX1" fmla="*/ 102918 w 152400"/>
                    <a:gd name="connsiteY1" fmla="*/ 158667 h 190500"/>
                    <a:gd name="connsiteX2" fmla="*/ 54693 w 152400"/>
                    <a:gd name="connsiteY2" fmla="*/ 185080 h 190500"/>
                    <a:gd name="connsiteX3" fmla="*/ 7144 w 152400"/>
                    <a:gd name="connsiteY3" fmla="*/ 142608 h 190500"/>
                    <a:gd name="connsiteX4" fmla="*/ 103641 w 152400"/>
                    <a:gd name="connsiteY4" fmla="*/ 85735 h 190500"/>
                    <a:gd name="connsiteX5" fmla="*/ 103641 w 152400"/>
                    <a:gd name="connsiteY5" fmla="*/ 57188 h 190500"/>
                    <a:gd name="connsiteX6" fmla="*/ 82210 w 152400"/>
                    <a:gd name="connsiteY6" fmla="*/ 23946 h 190500"/>
                    <a:gd name="connsiteX7" fmla="*/ 59331 w 152400"/>
                    <a:gd name="connsiteY7" fmla="*/ 61817 h 190500"/>
                    <a:gd name="connsiteX8" fmla="*/ 13211 w 152400"/>
                    <a:gd name="connsiteY8" fmla="*/ 61817 h 190500"/>
                    <a:gd name="connsiteX9" fmla="*/ 82544 w 152400"/>
                    <a:gd name="connsiteY9" fmla="*/ 7144 h 190500"/>
                    <a:gd name="connsiteX10" fmla="*/ 146856 w 152400"/>
                    <a:gd name="connsiteY10" fmla="*/ 66104 h 190500"/>
                    <a:gd name="connsiteX11" fmla="*/ 146856 w 152400"/>
                    <a:gd name="connsiteY11" fmla="*/ 181165 h 190500"/>
                    <a:gd name="connsiteX12" fmla="*/ 103641 w 152400"/>
                    <a:gd name="connsiteY12" fmla="*/ 181165 h 190500"/>
                    <a:gd name="connsiteX13" fmla="*/ 103641 w 152400"/>
                    <a:gd name="connsiteY13" fmla="*/ 158667 h 190500"/>
                    <a:gd name="connsiteX14" fmla="*/ 103641 w 152400"/>
                    <a:gd name="connsiteY14" fmla="*/ 102565 h 190500"/>
                    <a:gd name="connsiteX15" fmla="*/ 51825 w 152400"/>
                    <a:gd name="connsiteY15" fmla="*/ 136522 h 190500"/>
                    <a:gd name="connsiteX16" fmla="*/ 71485 w 152400"/>
                    <a:gd name="connsiteY16" fmla="*/ 160458 h 190500"/>
                    <a:gd name="connsiteX17" fmla="*/ 103641 w 152400"/>
                    <a:gd name="connsiteY17" fmla="*/ 115053 h 190500"/>
                    <a:gd name="connsiteX18" fmla="*/ 103641 w 152400"/>
                    <a:gd name="connsiteY18" fmla="*/ 1025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90500">
                      <a:moveTo>
                        <a:pt x="103641" y="158667"/>
                      </a:moveTo>
                      <a:lnTo>
                        <a:pt x="102918" y="158667"/>
                      </a:lnTo>
                      <a:cubicBezTo>
                        <a:pt x="98308" y="166878"/>
                        <a:pt x="81505" y="185080"/>
                        <a:pt x="54693" y="185080"/>
                      </a:cubicBezTo>
                      <a:cubicBezTo>
                        <a:pt x="27861" y="185080"/>
                        <a:pt x="7144" y="167230"/>
                        <a:pt x="7144" y="142608"/>
                      </a:cubicBezTo>
                      <a:cubicBezTo>
                        <a:pt x="7144" y="90049"/>
                        <a:pt x="79324" y="86878"/>
                        <a:pt x="103641" y="85735"/>
                      </a:cubicBezTo>
                      <a:lnTo>
                        <a:pt x="103641" y="57188"/>
                      </a:lnTo>
                      <a:cubicBezTo>
                        <a:pt x="103641" y="32166"/>
                        <a:pt x="96155" y="23946"/>
                        <a:pt x="82210" y="23946"/>
                      </a:cubicBezTo>
                      <a:cubicBezTo>
                        <a:pt x="59684" y="23946"/>
                        <a:pt x="60046" y="50740"/>
                        <a:pt x="59331" y="61817"/>
                      </a:cubicBezTo>
                      <a:lnTo>
                        <a:pt x="13211" y="61817"/>
                      </a:lnTo>
                      <a:cubicBezTo>
                        <a:pt x="13211" y="26118"/>
                        <a:pt x="37167" y="7144"/>
                        <a:pt x="82544" y="7144"/>
                      </a:cubicBezTo>
                      <a:cubicBezTo>
                        <a:pt x="136141" y="7144"/>
                        <a:pt x="146856" y="32176"/>
                        <a:pt x="146856" y="66104"/>
                      </a:cubicBezTo>
                      <a:lnTo>
                        <a:pt x="146856" y="181165"/>
                      </a:lnTo>
                      <a:lnTo>
                        <a:pt x="103641" y="181165"/>
                      </a:lnTo>
                      <a:lnTo>
                        <a:pt x="103641" y="158667"/>
                      </a:lnTo>
                      <a:close/>
                      <a:moveTo>
                        <a:pt x="103641" y="102565"/>
                      </a:moveTo>
                      <a:cubicBezTo>
                        <a:pt x="88963" y="103984"/>
                        <a:pt x="51825" y="108652"/>
                        <a:pt x="51825" y="136522"/>
                      </a:cubicBezTo>
                      <a:cubicBezTo>
                        <a:pt x="51825" y="150819"/>
                        <a:pt x="58988" y="160458"/>
                        <a:pt x="71485" y="160458"/>
                      </a:cubicBezTo>
                      <a:cubicBezTo>
                        <a:pt x="91840" y="160458"/>
                        <a:pt x="103641" y="138989"/>
                        <a:pt x="103641" y="115053"/>
                      </a:cubicBezTo>
                      <a:lnTo>
                        <a:pt x="103641" y="102565"/>
                      </a:lnTo>
                      <a:close/>
                    </a:path>
                  </a:pathLst>
                </a:custGeom>
                <a:solidFill>
                  <a:schemeClr val="bg1"/>
                </a:solidFill>
                <a:ln w="9525" cap="flat">
                  <a:noFill/>
                  <a:prstDash val="solid"/>
                  <a:miter/>
                </a:ln>
              </p:spPr>
              <p:txBody>
                <a:bodyPr rtlCol="0" anchor="ctr"/>
                <a:lstStyle/>
                <a:p>
                  <a:endParaRPr lang="ja-JP" altLang="en-US" dirty="0"/>
                </a:p>
              </p:txBody>
            </p:sp>
            <p:sp>
              <p:nvSpPr>
                <p:cNvPr id="1070" name="フリーフォーム: 図形 22"/>
                <p:cNvSpPr/>
                <p:nvPr/>
              </p:nvSpPr>
              <p:spPr>
                <a:xfrm>
                  <a:off x="751271" y="5565635"/>
                  <a:ext cx="152400" cy="257175"/>
                </a:xfrm>
                <a:custGeom>
                  <a:avLst/>
                  <a:gdLst>
                    <a:gd name="connsiteX0" fmla="*/ 7144 w 152400"/>
                    <a:gd name="connsiteY0" fmla="*/ 11116 h 257175"/>
                    <a:gd name="connsiteX1" fmla="*/ 50387 w 152400"/>
                    <a:gd name="connsiteY1" fmla="*/ 11116 h 257175"/>
                    <a:gd name="connsiteX2" fmla="*/ 50387 w 152400"/>
                    <a:gd name="connsiteY2" fmla="*/ 39719 h 257175"/>
                    <a:gd name="connsiteX3" fmla="*/ 51102 w 152400"/>
                    <a:gd name="connsiteY3" fmla="*/ 39719 h 257175"/>
                    <a:gd name="connsiteX4" fmla="*/ 97203 w 152400"/>
                    <a:gd name="connsiteY4" fmla="*/ 7144 h 257175"/>
                    <a:gd name="connsiteX5" fmla="*/ 154010 w 152400"/>
                    <a:gd name="connsiteY5" fmla="*/ 95040 h 257175"/>
                    <a:gd name="connsiteX6" fmla="*/ 91840 w 152400"/>
                    <a:gd name="connsiteY6" fmla="*/ 185099 h 257175"/>
                    <a:gd name="connsiteX7" fmla="*/ 51111 w 152400"/>
                    <a:gd name="connsiteY7" fmla="*/ 158286 h 257175"/>
                    <a:gd name="connsiteX8" fmla="*/ 50397 w 152400"/>
                    <a:gd name="connsiteY8" fmla="*/ 158286 h 257175"/>
                    <a:gd name="connsiteX9" fmla="*/ 50397 w 152400"/>
                    <a:gd name="connsiteY9" fmla="*/ 257670 h 257175"/>
                    <a:gd name="connsiteX10" fmla="*/ 7153 w 152400"/>
                    <a:gd name="connsiteY10" fmla="*/ 257670 h 257175"/>
                    <a:gd name="connsiteX11" fmla="*/ 7153 w 152400"/>
                    <a:gd name="connsiteY11" fmla="*/ 11116 h 257175"/>
                    <a:gd name="connsiteX12" fmla="*/ 78972 w 152400"/>
                    <a:gd name="connsiteY12" fmla="*/ 160468 h 257175"/>
                    <a:gd name="connsiteX13" fmla="*/ 107213 w 152400"/>
                    <a:gd name="connsiteY13" fmla="*/ 95040 h 257175"/>
                    <a:gd name="connsiteX14" fmla="*/ 77895 w 152400"/>
                    <a:gd name="connsiteY14" fmla="*/ 33957 h 257175"/>
                    <a:gd name="connsiteX15" fmla="*/ 52502 w 152400"/>
                    <a:gd name="connsiteY15" fmla="*/ 95040 h 257175"/>
                    <a:gd name="connsiteX16" fmla="*/ 78972 w 152400"/>
                    <a:gd name="connsiteY16" fmla="*/ 16046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00" h="257175">
                      <a:moveTo>
                        <a:pt x="7144" y="11116"/>
                      </a:moveTo>
                      <a:lnTo>
                        <a:pt x="50387" y="11116"/>
                      </a:lnTo>
                      <a:lnTo>
                        <a:pt x="50387" y="39719"/>
                      </a:lnTo>
                      <a:lnTo>
                        <a:pt x="51102" y="39719"/>
                      </a:lnTo>
                      <a:cubicBezTo>
                        <a:pt x="56464" y="28918"/>
                        <a:pt x="69647" y="7144"/>
                        <a:pt x="97203" y="7144"/>
                      </a:cubicBezTo>
                      <a:cubicBezTo>
                        <a:pt x="139713" y="7144"/>
                        <a:pt x="154010" y="47187"/>
                        <a:pt x="154010" y="95040"/>
                      </a:cubicBezTo>
                      <a:cubicBezTo>
                        <a:pt x="154010" y="152267"/>
                        <a:pt x="135807" y="185099"/>
                        <a:pt x="91840" y="185099"/>
                      </a:cubicBezTo>
                      <a:cubicBezTo>
                        <a:pt x="65046" y="185099"/>
                        <a:pt x="56093" y="168335"/>
                        <a:pt x="51111" y="158286"/>
                      </a:cubicBezTo>
                      <a:lnTo>
                        <a:pt x="50397" y="158286"/>
                      </a:lnTo>
                      <a:lnTo>
                        <a:pt x="50397" y="257670"/>
                      </a:lnTo>
                      <a:lnTo>
                        <a:pt x="7153" y="257670"/>
                      </a:lnTo>
                      <a:lnTo>
                        <a:pt x="7153" y="11116"/>
                      </a:lnTo>
                      <a:close/>
                      <a:moveTo>
                        <a:pt x="78972" y="160468"/>
                      </a:moveTo>
                      <a:cubicBezTo>
                        <a:pt x="103956" y="160468"/>
                        <a:pt x="107213" y="121510"/>
                        <a:pt x="107213" y="95040"/>
                      </a:cubicBezTo>
                      <a:cubicBezTo>
                        <a:pt x="107213" y="72190"/>
                        <a:pt x="103956" y="33957"/>
                        <a:pt x="77895" y="33957"/>
                      </a:cubicBezTo>
                      <a:cubicBezTo>
                        <a:pt x="53607" y="33957"/>
                        <a:pt x="52502" y="72190"/>
                        <a:pt x="52502" y="95040"/>
                      </a:cubicBezTo>
                      <a:cubicBezTo>
                        <a:pt x="52502" y="121510"/>
                        <a:pt x="53607" y="160468"/>
                        <a:pt x="78972" y="160468"/>
                      </a:cubicBezTo>
                      <a:close/>
                    </a:path>
                  </a:pathLst>
                </a:custGeom>
                <a:solidFill>
                  <a:schemeClr val="bg1"/>
                </a:solidFill>
                <a:ln w="9525" cap="flat">
                  <a:noFill/>
                  <a:prstDash val="solid"/>
                  <a:miter/>
                </a:ln>
              </p:spPr>
              <p:txBody>
                <a:bodyPr rtlCol="0" anchor="ctr"/>
                <a:lstStyle/>
                <a:p>
                  <a:endParaRPr lang="ja-JP" altLang="en-US" dirty="0"/>
                </a:p>
              </p:txBody>
            </p:sp>
            <p:sp>
              <p:nvSpPr>
                <p:cNvPr id="1071" name="フリーフォーム: 図形 23"/>
                <p:cNvSpPr/>
                <p:nvPr/>
              </p:nvSpPr>
              <p:spPr>
                <a:xfrm>
                  <a:off x="924597" y="5565644"/>
                  <a:ext cx="152400" cy="190500"/>
                </a:xfrm>
                <a:custGeom>
                  <a:avLst/>
                  <a:gdLst>
                    <a:gd name="connsiteX0" fmla="*/ 103603 w 152400"/>
                    <a:gd name="connsiteY0" fmla="*/ 158667 h 190500"/>
                    <a:gd name="connsiteX1" fmla="*/ 102889 w 152400"/>
                    <a:gd name="connsiteY1" fmla="*/ 158667 h 190500"/>
                    <a:gd name="connsiteX2" fmla="*/ 54655 w 152400"/>
                    <a:gd name="connsiteY2" fmla="*/ 185080 h 190500"/>
                    <a:gd name="connsiteX3" fmla="*/ 7144 w 152400"/>
                    <a:gd name="connsiteY3" fmla="*/ 142608 h 190500"/>
                    <a:gd name="connsiteX4" fmla="*/ 103613 w 152400"/>
                    <a:gd name="connsiteY4" fmla="*/ 85735 h 190500"/>
                    <a:gd name="connsiteX5" fmla="*/ 103613 w 152400"/>
                    <a:gd name="connsiteY5" fmla="*/ 57188 h 190500"/>
                    <a:gd name="connsiteX6" fmla="*/ 82182 w 152400"/>
                    <a:gd name="connsiteY6" fmla="*/ 23946 h 190500"/>
                    <a:gd name="connsiteX7" fmla="*/ 59303 w 152400"/>
                    <a:gd name="connsiteY7" fmla="*/ 61817 h 190500"/>
                    <a:gd name="connsiteX8" fmla="*/ 13221 w 152400"/>
                    <a:gd name="connsiteY8" fmla="*/ 61817 h 190500"/>
                    <a:gd name="connsiteX9" fmla="*/ 82505 w 152400"/>
                    <a:gd name="connsiteY9" fmla="*/ 7144 h 190500"/>
                    <a:gd name="connsiteX10" fmla="*/ 146856 w 152400"/>
                    <a:gd name="connsiteY10" fmla="*/ 66104 h 190500"/>
                    <a:gd name="connsiteX11" fmla="*/ 146856 w 152400"/>
                    <a:gd name="connsiteY11" fmla="*/ 181165 h 190500"/>
                    <a:gd name="connsiteX12" fmla="*/ 103613 w 152400"/>
                    <a:gd name="connsiteY12" fmla="*/ 181165 h 190500"/>
                    <a:gd name="connsiteX13" fmla="*/ 103613 w 152400"/>
                    <a:gd name="connsiteY13" fmla="*/ 158667 h 190500"/>
                    <a:gd name="connsiteX14" fmla="*/ 103603 w 152400"/>
                    <a:gd name="connsiteY14" fmla="*/ 102565 h 190500"/>
                    <a:gd name="connsiteX15" fmla="*/ 51788 w 152400"/>
                    <a:gd name="connsiteY15" fmla="*/ 136522 h 190500"/>
                    <a:gd name="connsiteX16" fmla="*/ 71466 w 152400"/>
                    <a:gd name="connsiteY16" fmla="*/ 160458 h 190500"/>
                    <a:gd name="connsiteX17" fmla="*/ 103603 w 152400"/>
                    <a:gd name="connsiteY17" fmla="*/ 115053 h 190500"/>
                    <a:gd name="connsiteX18" fmla="*/ 103603 w 152400"/>
                    <a:gd name="connsiteY18" fmla="*/ 1025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90500">
                      <a:moveTo>
                        <a:pt x="103603" y="158667"/>
                      </a:moveTo>
                      <a:lnTo>
                        <a:pt x="102889" y="158667"/>
                      </a:lnTo>
                      <a:cubicBezTo>
                        <a:pt x="98222" y="166878"/>
                        <a:pt x="81458" y="185080"/>
                        <a:pt x="54655" y="185080"/>
                      </a:cubicBezTo>
                      <a:cubicBezTo>
                        <a:pt x="27851" y="185080"/>
                        <a:pt x="7144" y="167230"/>
                        <a:pt x="7144" y="142608"/>
                      </a:cubicBezTo>
                      <a:cubicBezTo>
                        <a:pt x="7144" y="90049"/>
                        <a:pt x="79305" y="86878"/>
                        <a:pt x="103613" y="85735"/>
                      </a:cubicBezTo>
                      <a:lnTo>
                        <a:pt x="103613" y="57188"/>
                      </a:lnTo>
                      <a:cubicBezTo>
                        <a:pt x="103613" y="32166"/>
                        <a:pt x="96126" y="23946"/>
                        <a:pt x="82182" y="23946"/>
                      </a:cubicBezTo>
                      <a:cubicBezTo>
                        <a:pt x="59665" y="23946"/>
                        <a:pt x="60017" y="50740"/>
                        <a:pt x="59303" y="61817"/>
                      </a:cubicBezTo>
                      <a:lnTo>
                        <a:pt x="13221" y="61817"/>
                      </a:lnTo>
                      <a:cubicBezTo>
                        <a:pt x="13221" y="26118"/>
                        <a:pt x="37147" y="7144"/>
                        <a:pt x="82505" y="7144"/>
                      </a:cubicBezTo>
                      <a:cubicBezTo>
                        <a:pt x="136150" y="7144"/>
                        <a:pt x="146856" y="32176"/>
                        <a:pt x="146856" y="66104"/>
                      </a:cubicBezTo>
                      <a:lnTo>
                        <a:pt x="146856" y="181165"/>
                      </a:lnTo>
                      <a:lnTo>
                        <a:pt x="103613" y="181165"/>
                      </a:lnTo>
                      <a:lnTo>
                        <a:pt x="103613" y="158667"/>
                      </a:lnTo>
                      <a:close/>
                      <a:moveTo>
                        <a:pt x="103603" y="102565"/>
                      </a:moveTo>
                      <a:cubicBezTo>
                        <a:pt x="88963" y="103984"/>
                        <a:pt x="51788" y="108652"/>
                        <a:pt x="51788" y="136522"/>
                      </a:cubicBezTo>
                      <a:cubicBezTo>
                        <a:pt x="51788" y="150819"/>
                        <a:pt x="58941" y="160458"/>
                        <a:pt x="71466" y="160458"/>
                      </a:cubicBezTo>
                      <a:cubicBezTo>
                        <a:pt x="91821" y="160458"/>
                        <a:pt x="103603" y="138989"/>
                        <a:pt x="103603" y="115053"/>
                      </a:cubicBezTo>
                      <a:lnTo>
                        <a:pt x="103603" y="102565"/>
                      </a:lnTo>
                      <a:close/>
                    </a:path>
                  </a:pathLst>
                </a:custGeom>
                <a:solidFill>
                  <a:schemeClr val="bg1"/>
                </a:solidFill>
                <a:ln w="9525" cap="flat">
                  <a:noFill/>
                  <a:prstDash val="solid"/>
                  <a:miter/>
                </a:ln>
              </p:spPr>
              <p:txBody>
                <a:bodyPr rtlCol="0" anchor="ctr"/>
                <a:lstStyle/>
                <a:p>
                  <a:endParaRPr lang="ja-JP" altLang="en-US" dirty="0"/>
                </a:p>
              </p:txBody>
            </p:sp>
            <p:sp>
              <p:nvSpPr>
                <p:cNvPr id="1072" name="フリーフォーム: 図形 24"/>
                <p:cNvSpPr/>
                <p:nvPr/>
              </p:nvSpPr>
              <p:spPr>
                <a:xfrm>
                  <a:off x="1108249" y="5565635"/>
                  <a:ext cx="152400" cy="180975"/>
                </a:xfrm>
                <a:custGeom>
                  <a:avLst/>
                  <a:gdLst>
                    <a:gd name="connsiteX0" fmla="*/ 7144 w 152400"/>
                    <a:gd name="connsiteY0" fmla="*/ 11116 h 180975"/>
                    <a:gd name="connsiteX1" fmla="*/ 50387 w 152400"/>
                    <a:gd name="connsiteY1" fmla="*/ 11116 h 180975"/>
                    <a:gd name="connsiteX2" fmla="*/ 50387 w 152400"/>
                    <a:gd name="connsiteY2" fmla="*/ 49330 h 180975"/>
                    <a:gd name="connsiteX3" fmla="*/ 51092 w 152400"/>
                    <a:gd name="connsiteY3" fmla="*/ 49330 h 180975"/>
                    <a:gd name="connsiteX4" fmla="*/ 106842 w 152400"/>
                    <a:gd name="connsiteY4" fmla="*/ 7144 h 180975"/>
                    <a:gd name="connsiteX5" fmla="*/ 149742 w 152400"/>
                    <a:gd name="connsiteY5" fmla="*/ 63951 h 180975"/>
                    <a:gd name="connsiteX6" fmla="*/ 149742 w 152400"/>
                    <a:gd name="connsiteY6" fmla="*/ 181175 h 180975"/>
                    <a:gd name="connsiteX7" fmla="*/ 106470 w 152400"/>
                    <a:gd name="connsiteY7" fmla="*/ 181175 h 180975"/>
                    <a:gd name="connsiteX8" fmla="*/ 106470 w 152400"/>
                    <a:gd name="connsiteY8" fmla="*/ 75047 h 180975"/>
                    <a:gd name="connsiteX9" fmla="*/ 87925 w 152400"/>
                    <a:gd name="connsiteY9" fmla="*/ 38214 h 180975"/>
                    <a:gd name="connsiteX10" fmla="*/ 50397 w 152400"/>
                    <a:gd name="connsiteY10" fmla="*/ 114376 h 180975"/>
                    <a:gd name="connsiteX11" fmla="*/ 50397 w 152400"/>
                    <a:gd name="connsiteY11" fmla="*/ 181175 h 180975"/>
                    <a:gd name="connsiteX12" fmla="*/ 7153 w 152400"/>
                    <a:gd name="connsiteY12" fmla="*/ 181175 h 180975"/>
                    <a:gd name="connsiteX13" fmla="*/ 7153 w 152400"/>
                    <a:gd name="connsiteY13"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7144" y="11116"/>
                      </a:moveTo>
                      <a:lnTo>
                        <a:pt x="50387" y="11116"/>
                      </a:lnTo>
                      <a:lnTo>
                        <a:pt x="50387" y="49330"/>
                      </a:lnTo>
                      <a:lnTo>
                        <a:pt x="51092" y="49330"/>
                      </a:lnTo>
                      <a:cubicBezTo>
                        <a:pt x="57893" y="35433"/>
                        <a:pt x="71847" y="7144"/>
                        <a:pt x="106842" y="7144"/>
                      </a:cubicBezTo>
                      <a:cubicBezTo>
                        <a:pt x="138655" y="7144"/>
                        <a:pt x="149742" y="27889"/>
                        <a:pt x="149742" y="63951"/>
                      </a:cubicBezTo>
                      <a:lnTo>
                        <a:pt x="149742" y="181175"/>
                      </a:lnTo>
                      <a:lnTo>
                        <a:pt x="106470" y="181175"/>
                      </a:lnTo>
                      <a:lnTo>
                        <a:pt x="106470" y="75047"/>
                      </a:lnTo>
                      <a:cubicBezTo>
                        <a:pt x="106470" y="53940"/>
                        <a:pt x="104708" y="38214"/>
                        <a:pt x="87925" y="38214"/>
                      </a:cubicBezTo>
                      <a:cubicBezTo>
                        <a:pt x="57560" y="38214"/>
                        <a:pt x="50397" y="87182"/>
                        <a:pt x="50397" y="114376"/>
                      </a:cubicBezTo>
                      <a:lnTo>
                        <a:pt x="50397" y="181175"/>
                      </a:lnTo>
                      <a:lnTo>
                        <a:pt x="7153" y="181175"/>
                      </a:lnTo>
                      <a:lnTo>
                        <a:pt x="7153" y="11116"/>
                      </a:lnTo>
                      <a:close/>
                    </a:path>
                  </a:pathLst>
                </a:custGeom>
                <a:solidFill>
                  <a:schemeClr val="bg1"/>
                </a:solidFill>
                <a:ln w="9525" cap="flat">
                  <a:noFill/>
                  <a:prstDash val="solid"/>
                  <a:miter/>
                </a:ln>
              </p:spPr>
              <p:txBody>
                <a:bodyPr rtlCol="0" anchor="ctr"/>
                <a:lstStyle/>
                <a:p>
                  <a:endParaRPr lang="ja-JP" altLang="en-US" dirty="0"/>
                </a:p>
              </p:txBody>
            </p:sp>
            <p:sp>
              <p:nvSpPr>
                <p:cNvPr id="1073" name="フリーフォーム: 図形 25"/>
                <p:cNvSpPr/>
                <p:nvPr/>
              </p:nvSpPr>
              <p:spPr>
                <a:xfrm>
                  <a:off x="1348364" y="5492921"/>
                  <a:ext cx="171450" cy="257175"/>
                </a:xfrm>
                <a:custGeom>
                  <a:avLst/>
                  <a:gdLst>
                    <a:gd name="connsiteX0" fmla="*/ 66475 w 171450"/>
                    <a:gd name="connsiteY0" fmla="*/ 35585 h 257175"/>
                    <a:gd name="connsiteX1" fmla="*/ 7144 w 171450"/>
                    <a:gd name="connsiteY1" fmla="*/ 35585 h 257175"/>
                    <a:gd name="connsiteX2" fmla="*/ 7144 w 171450"/>
                    <a:gd name="connsiteY2" fmla="*/ 7144 h 257175"/>
                    <a:gd name="connsiteX3" fmla="*/ 172603 w 171450"/>
                    <a:gd name="connsiteY3" fmla="*/ 7144 h 257175"/>
                    <a:gd name="connsiteX4" fmla="*/ 172603 w 171450"/>
                    <a:gd name="connsiteY4" fmla="*/ 35585 h 257175"/>
                    <a:gd name="connsiteX5" fmla="*/ 113271 w 171450"/>
                    <a:gd name="connsiteY5" fmla="*/ 35585 h 257175"/>
                    <a:gd name="connsiteX6" fmla="*/ 113271 w 171450"/>
                    <a:gd name="connsiteY6" fmla="*/ 253889 h 257175"/>
                    <a:gd name="connsiteX7" fmla="*/ 66465 w 171450"/>
                    <a:gd name="connsiteY7" fmla="*/ 253889 h 257175"/>
                    <a:gd name="connsiteX8" fmla="*/ 66465 w 171450"/>
                    <a:gd name="connsiteY8" fmla="*/ 3558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57175">
                      <a:moveTo>
                        <a:pt x="66475" y="35585"/>
                      </a:moveTo>
                      <a:lnTo>
                        <a:pt x="7144" y="35585"/>
                      </a:lnTo>
                      <a:lnTo>
                        <a:pt x="7144" y="7144"/>
                      </a:lnTo>
                      <a:lnTo>
                        <a:pt x="172603" y="7144"/>
                      </a:lnTo>
                      <a:lnTo>
                        <a:pt x="172603" y="35585"/>
                      </a:lnTo>
                      <a:lnTo>
                        <a:pt x="113271" y="35585"/>
                      </a:lnTo>
                      <a:lnTo>
                        <a:pt x="113271" y="253889"/>
                      </a:lnTo>
                      <a:lnTo>
                        <a:pt x="66465" y="253889"/>
                      </a:lnTo>
                      <a:lnTo>
                        <a:pt x="66465" y="35585"/>
                      </a:lnTo>
                      <a:close/>
                    </a:path>
                  </a:pathLst>
                </a:custGeom>
                <a:solidFill>
                  <a:schemeClr val="bg1"/>
                </a:solidFill>
                <a:ln w="9525" cap="flat">
                  <a:noFill/>
                  <a:prstDash val="solid"/>
                  <a:miter/>
                </a:ln>
              </p:spPr>
              <p:txBody>
                <a:bodyPr rtlCol="0" anchor="ctr"/>
                <a:lstStyle/>
                <a:p>
                  <a:endParaRPr lang="ja-JP" altLang="en-US" dirty="0"/>
                </a:p>
              </p:txBody>
            </p:sp>
            <p:sp>
              <p:nvSpPr>
                <p:cNvPr id="1074" name="フリーフォーム: 図形 26"/>
                <p:cNvSpPr/>
                <p:nvPr/>
              </p:nvSpPr>
              <p:spPr>
                <a:xfrm>
                  <a:off x="1517833" y="5565635"/>
                  <a:ext cx="161925" cy="190500"/>
                </a:xfrm>
                <a:custGeom>
                  <a:avLst/>
                  <a:gdLst>
                    <a:gd name="connsiteX0" fmla="*/ 7144 w 161925"/>
                    <a:gd name="connsiteY0" fmla="*/ 96155 h 190500"/>
                    <a:gd name="connsiteX1" fmla="*/ 85753 w 161925"/>
                    <a:gd name="connsiteY1" fmla="*/ 7144 h 190500"/>
                    <a:gd name="connsiteX2" fmla="*/ 164020 w 161925"/>
                    <a:gd name="connsiteY2" fmla="*/ 96155 h 190500"/>
                    <a:gd name="connsiteX3" fmla="*/ 85753 w 161925"/>
                    <a:gd name="connsiteY3" fmla="*/ 185090 h 190500"/>
                    <a:gd name="connsiteX4" fmla="*/ 7144 w 161925"/>
                    <a:gd name="connsiteY4" fmla="*/ 96155 h 190500"/>
                    <a:gd name="connsiteX5" fmla="*/ 85753 w 161925"/>
                    <a:gd name="connsiteY5" fmla="*/ 168326 h 190500"/>
                    <a:gd name="connsiteX6" fmla="*/ 117205 w 161925"/>
                    <a:gd name="connsiteY6" fmla="*/ 96155 h 190500"/>
                    <a:gd name="connsiteX7" fmla="*/ 85753 w 161925"/>
                    <a:gd name="connsiteY7" fmla="*/ 23955 h 190500"/>
                    <a:gd name="connsiteX8" fmla="*/ 53940 w 161925"/>
                    <a:gd name="connsiteY8" fmla="*/ 96155 h 190500"/>
                    <a:gd name="connsiteX9" fmla="*/ 85753 w 161925"/>
                    <a:gd name="connsiteY9" fmla="*/ 16832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90500">
                      <a:moveTo>
                        <a:pt x="7144" y="96155"/>
                      </a:moveTo>
                      <a:cubicBezTo>
                        <a:pt x="7144" y="31451"/>
                        <a:pt x="37547" y="7144"/>
                        <a:pt x="85753" y="7144"/>
                      </a:cubicBezTo>
                      <a:cubicBezTo>
                        <a:pt x="133988" y="7144"/>
                        <a:pt x="164020" y="31451"/>
                        <a:pt x="164020" y="96155"/>
                      </a:cubicBezTo>
                      <a:cubicBezTo>
                        <a:pt x="164020" y="160810"/>
                        <a:pt x="133998" y="185090"/>
                        <a:pt x="85753" y="185090"/>
                      </a:cubicBezTo>
                      <a:cubicBezTo>
                        <a:pt x="37547" y="185090"/>
                        <a:pt x="7144" y="160810"/>
                        <a:pt x="7144" y="96155"/>
                      </a:cubicBezTo>
                      <a:close/>
                      <a:moveTo>
                        <a:pt x="85753" y="168326"/>
                      </a:moveTo>
                      <a:cubicBezTo>
                        <a:pt x="115424" y="168326"/>
                        <a:pt x="117205" y="133674"/>
                        <a:pt x="117205" y="96155"/>
                      </a:cubicBezTo>
                      <a:cubicBezTo>
                        <a:pt x="117205" y="58598"/>
                        <a:pt x="115424" y="23955"/>
                        <a:pt x="85753" y="23955"/>
                      </a:cubicBezTo>
                      <a:cubicBezTo>
                        <a:pt x="56454" y="23955"/>
                        <a:pt x="53940" y="58598"/>
                        <a:pt x="53940" y="96155"/>
                      </a:cubicBezTo>
                      <a:cubicBezTo>
                        <a:pt x="53940" y="133674"/>
                        <a:pt x="56445" y="168326"/>
                        <a:pt x="85753" y="168326"/>
                      </a:cubicBezTo>
                      <a:close/>
                    </a:path>
                  </a:pathLst>
                </a:custGeom>
                <a:solidFill>
                  <a:schemeClr val="bg1"/>
                </a:solidFill>
                <a:ln w="9525" cap="flat">
                  <a:noFill/>
                  <a:prstDash val="solid"/>
                  <a:miter/>
                </a:ln>
              </p:spPr>
              <p:txBody>
                <a:bodyPr rtlCol="0" anchor="ctr"/>
                <a:lstStyle/>
                <a:p>
                  <a:endParaRPr lang="ja-JP" altLang="en-US" dirty="0"/>
                </a:p>
              </p:txBody>
            </p:sp>
            <p:sp>
              <p:nvSpPr>
                <p:cNvPr id="1075" name="フリーフォーム: 図形 27"/>
                <p:cNvSpPr/>
                <p:nvPr/>
              </p:nvSpPr>
              <p:spPr>
                <a:xfrm>
                  <a:off x="1708276" y="5569606"/>
                  <a:ext cx="152400" cy="180975"/>
                </a:xfrm>
                <a:custGeom>
                  <a:avLst/>
                  <a:gdLst>
                    <a:gd name="connsiteX0" fmla="*/ 106509 w 152400"/>
                    <a:gd name="connsiteY0" fmla="*/ 138989 h 180975"/>
                    <a:gd name="connsiteX1" fmla="*/ 105775 w 152400"/>
                    <a:gd name="connsiteY1" fmla="*/ 138989 h 180975"/>
                    <a:gd name="connsiteX2" fmla="*/ 53607 w 152400"/>
                    <a:gd name="connsiteY2" fmla="*/ 181118 h 180975"/>
                    <a:gd name="connsiteX3" fmla="*/ 7144 w 152400"/>
                    <a:gd name="connsiteY3" fmla="*/ 124301 h 180975"/>
                    <a:gd name="connsiteX4" fmla="*/ 7144 w 152400"/>
                    <a:gd name="connsiteY4" fmla="*/ 7144 h 180975"/>
                    <a:gd name="connsiteX5" fmla="*/ 50406 w 152400"/>
                    <a:gd name="connsiteY5" fmla="*/ 7144 h 180975"/>
                    <a:gd name="connsiteX6" fmla="*/ 50406 w 152400"/>
                    <a:gd name="connsiteY6" fmla="*/ 113252 h 180975"/>
                    <a:gd name="connsiteX7" fmla="*/ 72180 w 152400"/>
                    <a:gd name="connsiteY7" fmla="*/ 150038 h 180975"/>
                    <a:gd name="connsiteX8" fmla="*/ 106509 w 152400"/>
                    <a:gd name="connsiteY8" fmla="*/ 73933 h 180975"/>
                    <a:gd name="connsiteX9" fmla="*/ 106509 w 152400"/>
                    <a:gd name="connsiteY9" fmla="*/ 7144 h 180975"/>
                    <a:gd name="connsiteX10" fmla="*/ 149733 w 152400"/>
                    <a:gd name="connsiteY10" fmla="*/ 7144 h 180975"/>
                    <a:gd name="connsiteX11" fmla="*/ 149733 w 152400"/>
                    <a:gd name="connsiteY11" fmla="*/ 177203 h 180975"/>
                    <a:gd name="connsiteX12" fmla="*/ 106509 w 152400"/>
                    <a:gd name="connsiteY12" fmla="*/ 177203 h 180975"/>
                    <a:gd name="connsiteX13" fmla="*/ 106509 w 152400"/>
                    <a:gd name="connsiteY13" fmla="*/ 13898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106509" y="138989"/>
                      </a:moveTo>
                      <a:lnTo>
                        <a:pt x="105775" y="138989"/>
                      </a:lnTo>
                      <a:cubicBezTo>
                        <a:pt x="99336" y="152876"/>
                        <a:pt x="86125" y="181118"/>
                        <a:pt x="53607" y="181118"/>
                      </a:cubicBezTo>
                      <a:cubicBezTo>
                        <a:pt x="20746" y="181118"/>
                        <a:pt x="7144" y="160420"/>
                        <a:pt x="7144" y="124301"/>
                      </a:cubicBezTo>
                      <a:lnTo>
                        <a:pt x="7144" y="7144"/>
                      </a:lnTo>
                      <a:lnTo>
                        <a:pt x="50406" y="7144"/>
                      </a:lnTo>
                      <a:lnTo>
                        <a:pt x="50406" y="113252"/>
                      </a:lnTo>
                      <a:cubicBezTo>
                        <a:pt x="50406" y="134340"/>
                        <a:pt x="56102" y="150038"/>
                        <a:pt x="72180" y="150038"/>
                      </a:cubicBezTo>
                      <a:cubicBezTo>
                        <a:pt x="100070" y="150038"/>
                        <a:pt x="106509" y="101060"/>
                        <a:pt x="106509" y="73933"/>
                      </a:cubicBezTo>
                      <a:lnTo>
                        <a:pt x="106509" y="7144"/>
                      </a:lnTo>
                      <a:lnTo>
                        <a:pt x="149733" y="7144"/>
                      </a:lnTo>
                      <a:lnTo>
                        <a:pt x="149733" y="177203"/>
                      </a:lnTo>
                      <a:lnTo>
                        <a:pt x="106509" y="177203"/>
                      </a:lnTo>
                      <a:lnTo>
                        <a:pt x="106509" y="138989"/>
                      </a:lnTo>
                      <a:close/>
                    </a:path>
                  </a:pathLst>
                </a:custGeom>
                <a:solidFill>
                  <a:schemeClr val="bg1"/>
                </a:solidFill>
                <a:ln w="9525" cap="flat">
                  <a:noFill/>
                  <a:prstDash val="solid"/>
                  <a:miter/>
                </a:ln>
              </p:spPr>
              <p:txBody>
                <a:bodyPr rtlCol="0" anchor="ctr"/>
                <a:lstStyle/>
                <a:p>
                  <a:endParaRPr lang="ja-JP" altLang="en-US" dirty="0"/>
                </a:p>
              </p:txBody>
            </p:sp>
            <p:sp>
              <p:nvSpPr>
                <p:cNvPr id="1076" name="フリーフォーム: 図形 28"/>
                <p:cNvSpPr/>
                <p:nvPr/>
              </p:nvSpPr>
              <p:spPr>
                <a:xfrm>
                  <a:off x="1898376" y="5565635"/>
                  <a:ext cx="114300" cy="180975"/>
                </a:xfrm>
                <a:custGeom>
                  <a:avLst/>
                  <a:gdLst>
                    <a:gd name="connsiteX0" fmla="*/ 7144 w 114300"/>
                    <a:gd name="connsiteY0" fmla="*/ 11116 h 180975"/>
                    <a:gd name="connsiteX1" fmla="*/ 50378 w 114300"/>
                    <a:gd name="connsiteY1" fmla="*/ 11116 h 180975"/>
                    <a:gd name="connsiteX2" fmla="*/ 50378 w 114300"/>
                    <a:gd name="connsiteY2" fmla="*/ 53654 h 180975"/>
                    <a:gd name="connsiteX3" fmla="*/ 51121 w 114300"/>
                    <a:gd name="connsiteY3" fmla="*/ 53654 h 180975"/>
                    <a:gd name="connsiteX4" fmla="*/ 108623 w 114300"/>
                    <a:gd name="connsiteY4" fmla="*/ 7144 h 180975"/>
                    <a:gd name="connsiteX5" fmla="*/ 108623 w 114300"/>
                    <a:gd name="connsiteY5" fmla="*/ 51854 h 180975"/>
                    <a:gd name="connsiteX6" fmla="*/ 50378 w 114300"/>
                    <a:gd name="connsiteY6" fmla="*/ 105032 h 180975"/>
                    <a:gd name="connsiteX7" fmla="*/ 50378 w 114300"/>
                    <a:gd name="connsiteY7" fmla="*/ 181166 h 180975"/>
                    <a:gd name="connsiteX8" fmla="*/ 7144 w 114300"/>
                    <a:gd name="connsiteY8" fmla="*/ 181166 h 180975"/>
                    <a:gd name="connsiteX9" fmla="*/ 7144 w 114300"/>
                    <a:gd name="connsiteY9"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80975">
                      <a:moveTo>
                        <a:pt x="7144" y="11116"/>
                      </a:moveTo>
                      <a:lnTo>
                        <a:pt x="50378" y="11116"/>
                      </a:lnTo>
                      <a:lnTo>
                        <a:pt x="50378" y="53654"/>
                      </a:lnTo>
                      <a:lnTo>
                        <a:pt x="51121" y="53654"/>
                      </a:lnTo>
                      <a:cubicBezTo>
                        <a:pt x="62912" y="31451"/>
                        <a:pt x="76457" y="9306"/>
                        <a:pt x="108623" y="7144"/>
                      </a:cubicBezTo>
                      <a:lnTo>
                        <a:pt x="108623" y="51854"/>
                      </a:lnTo>
                      <a:cubicBezTo>
                        <a:pt x="65427" y="51854"/>
                        <a:pt x="50378" y="67170"/>
                        <a:pt x="50378" y="105032"/>
                      </a:cubicBezTo>
                      <a:lnTo>
                        <a:pt x="50378" y="181166"/>
                      </a:lnTo>
                      <a:lnTo>
                        <a:pt x="7144" y="181166"/>
                      </a:lnTo>
                      <a:lnTo>
                        <a:pt x="7144" y="11116"/>
                      </a:lnTo>
                      <a:close/>
                    </a:path>
                  </a:pathLst>
                </a:custGeom>
                <a:solidFill>
                  <a:schemeClr val="bg1"/>
                </a:solidFill>
                <a:ln w="9525" cap="flat">
                  <a:noFill/>
                  <a:prstDash val="solid"/>
                  <a:miter/>
                </a:ln>
              </p:spPr>
              <p:txBody>
                <a:bodyPr rtlCol="0" anchor="ctr"/>
                <a:lstStyle/>
                <a:p>
                  <a:endParaRPr lang="ja-JP" altLang="en-US" dirty="0"/>
                </a:p>
              </p:txBody>
            </p:sp>
            <p:sp>
              <p:nvSpPr>
                <p:cNvPr id="1077" name="フリーフォーム: 図形 29"/>
                <p:cNvSpPr/>
                <p:nvPr/>
              </p:nvSpPr>
              <p:spPr>
                <a:xfrm>
                  <a:off x="2027763" y="5492911"/>
                  <a:ext cx="57150" cy="257175"/>
                </a:xfrm>
                <a:custGeom>
                  <a:avLst/>
                  <a:gdLst>
                    <a:gd name="connsiteX0" fmla="*/ 7144 w 57150"/>
                    <a:gd name="connsiteY0" fmla="*/ 7144 h 257175"/>
                    <a:gd name="connsiteX1" fmla="*/ 50378 w 57150"/>
                    <a:gd name="connsiteY1" fmla="*/ 7144 h 257175"/>
                    <a:gd name="connsiteX2" fmla="*/ 50378 w 57150"/>
                    <a:gd name="connsiteY2" fmla="*/ 46653 h 257175"/>
                    <a:gd name="connsiteX3" fmla="*/ 7144 w 57150"/>
                    <a:gd name="connsiteY3" fmla="*/ 46653 h 257175"/>
                    <a:gd name="connsiteX4" fmla="*/ 7144 w 57150"/>
                    <a:gd name="connsiteY4" fmla="*/ 7144 h 257175"/>
                    <a:gd name="connsiteX5" fmla="*/ 7144 w 57150"/>
                    <a:gd name="connsiteY5" fmla="*/ 83839 h 257175"/>
                    <a:gd name="connsiteX6" fmla="*/ 50378 w 57150"/>
                    <a:gd name="connsiteY6" fmla="*/ 83839 h 257175"/>
                    <a:gd name="connsiteX7" fmla="*/ 50378 w 57150"/>
                    <a:gd name="connsiteY7" fmla="*/ 253898 h 257175"/>
                    <a:gd name="connsiteX8" fmla="*/ 7144 w 57150"/>
                    <a:gd name="connsiteY8" fmla="*/ 253898 h 257175"/>
                    <a:gd name="connsiteX9" fmla="*/ 7144 w 57150"/>
                    <a:gd name="connsiteY9" fmla="*/ 83839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257175">
                      <a:moveTo>
                        <a:pt x="7144" y="7144"/>
                      </a:moveTo>
                      <a:lnTo>
                        <a:pt x="50378" y="7144"/>
                      </a:lnTo>
                      <a:lnTo>
                        <a:pt x="50378" y="46653"/>
                      </a:lnTo>
                      <a:lnTo>
                        <a:pt x="7144" y="46653"/>
                      </a:lnTo>
                      <a:lnTo>
                        <a:pt x="7144" y="7144"/>
                      </a:lnTo>
                      <a:close/>
                      <a:moveTo>
                        <a:pt x="7144" y="83839"/>
                      </a:moveTo>
                      <a:lnTo>
                        <a:pt x="50378" y="83839"/>
                      </a:lnTo>
                      <a:lnTo>
                        <a:pt x="50378" y="253898"/>
                      </a:lnTo>
                      <a:lnTo>
                        <a:pt x="7144" y="253898"/>
                      </a:lnTo>
                      <a:lnTo>
                        <a:pt x="7144" y="83839"/>
                      </a:lnTo>
                      <a:close/>
                    </a:path>
                  </a:pathLst>
                </a:custGeom>
                <a:solidFill>
                  <a:schemeClr val="bg1"/>
                </a:solidFill>
                <a:ln w="9525" cap="flat">
                  <a:noFill/>
                  <a:prstDash val="solid"/>
                  <a:miter/>
                </a:ln>
              </p:spPr>
              <p:txBody>
                <a:bodyPr rtlCol="0" anchor="ctr"/>
                <a:lstStyle/>
                <a:p>
                  <a:endParaRPr lang="ja-JP" altLang="en-US" dirty="0"/>
                </a:p>
              </p:txBody>
            </p:sp>
            <p:sp>
              <p:nvSpPr>
                <p:cNvPr id="1078" name="フリーフォーム: 図形 30"/>
                <p:cNvSpPr/>
                <p:nvPr/>
              </p:nvSpPr>
              <p:spPr>
                <a:xfrm>
                  <a:off x="2104583" y="5565654"/>
                  <a:ext cx="123825" cy="190500"/>
                </a:xfrm>
                <a:custGeom>
                  <a:avLst/>
                  <a:gdLst>
                    <a:gd name="connsiteX0" fmla="*/ 107556 w 123825"/>
                    <a:gd name="connsiteY0" fmla="*/ 48968 h 190500"/>
                    <a:gd name="connsiteX1" fmla="*/ 66084 w 123825"/>
                    <a:gd name="connsiteY1" fmla="*/ 29299 h 190500"/>
                    <a:gd name="connsiteX2" fmla="*/ 45053 w 123825"/>
                    <a:gd name="connsiteY2" fmla="*/ 45348 h 190500"/>
                    <a:gd name="connsiteX3" fmla="*/ 93240 w 123825"/>
                    <a:gd name="connsiteY3" fmla="*/ 88249 h 190500"/>
                    <a:gd name="connsiteX4" fmla="*/ 118634 w 123825"/>
                    <a:gd name="connsiteY4" fmla="*/ 134026 h 190500"/>
                    <a:gd name="connsiteX5" fmla="*/ 53254 w 123825"/>
                    <a:gd name="connsiteY5" fmla="*/ 185090 h 190500"/>
                    <a:gd name="connsiteX6" fmla="*/ 8572 w 123825"/>
                    <a:gd name="connsiteY6" fmla="*/ 178298 h 190500"/>
                    <a:gd name="connsiteX7" fmla="*/ 8572 w 123825"/>
                    <a:gd name="connsiteY7" fmla="*/ 139694 h 190500"/>
                    <a:gd name="connsiteX8" fmla="*/ 53978 w 123825"/>
                    <a:gd name="connsiteY8" fmla="*/ 160468 h 190500"/>
                    <a:gd name="connsiteX9" fmla="*/ 79324 w 123825"/>
                    <a:gd name="connsiteY9" fmla="*/ 143313 h 190500"/>
                    <a:gd name="connsiteX10" fmla="*/ 30356 w 123825"/>
                    <a:gd name="connsiteY10" fmla="*/ 99346 h 190500"/>
                    <a:gd name="connsiteX11" fmla="*/ 7144 w 123825"/>
                    <a:gd name="connsiteY11" fmla="*/ 57531 h 190500"/>
                    <a:gd name="connsiteX12" fmla="*/ 67847 w 123825"/>
                    <a:gd name="connsiteY12" fmla="*/ 7144 h 190500"/>
                    <a:gd name="connsiteX13" fmla="*/ 107556 w 123825"/>
                    <a:gd name="connsiteY13" fmla="*/ 13611 h 190500"/>
                    <a:gd name="connsiteX14" fmla="*/ 107556 w 123825"/>
                    <a:gd name="connsiteY14" fmla="*/ 4896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825" h="190500">
                      <a:moveTo>
                        <a:pt x="107556" y="48968"/>
                      </a:moveTo>
                      <a:cubicBezTo>
                        <a:pt x="97546" y="40396"/>
                        <a:pt x="83248" y="29299"/>
                        <a:pt x="66084" y="29299"/>
                      </a:cubicBezTo>
                      <a:cubicBezTo>
                        <a:pt x="57131" y="29299"/>
                        <a:pt x="45053" y="33547"/>
                        <a:pt x="45053" y="45348"/>
                      </a:cubicBezTo>
                      <a:cubicBezTo>
                        <a:pt x="45053" y="61817"/>
                        <a:pt x="76438" y="73981"/>
                        <a:pt x="93240" y="88249"/>
                      </a:cubicBezTo>
                      <a:cubicBezTo>
                        <a:pt x="111833" y="103679"/>
                        <a:pt x="118634" y="114367"/>
                        <a:pt x="118634" y="134026"/>
                      </a:cubicBezTo>
                      <a:cubicBezTo>
                        <a:pt x="118634" y="171174"/>
                        <a:pt x="88297" y="185090"/>
                        <a:pt x="53254" y="185090"/>
                      </a:cubicBezTo>
                      <a:cubicBezTo>
                        <a:pt x="32499" y="185090"/>
                        <a:pt x="16069" y="180451"/>
                        <a:pt x="8572" y="178298"/>
                      </a:cubicBezTo>
                      <a:lnTo>
                        <a:pt x="8572" y="139694"/>
                      </a:lnTo>
                      <a:cubicBezTo>
                        <a:pt x="16459" y="146504"/>
                        <a:pt x="33642" y="160468"/>
                        <a:pt x="53978" y="160468"/>
                      </a:cubicBezTo>
                      <a:cubicBezTo>
                        <a:pt x="69647" y="160468"/>
                        <a:pt x="79324" y="153686"/>
                        <a:pt x="79324" y="143313"/>
                      </a:cubicBezTo>
                      <a:cubicBezTo>
                        <a:pt x="79324" y="126168"/>
                        <a:pt x="47501" y="113614"/>
                        <a:pt x="30356" y="99346"/>
                      </a:cubicBezTo>
                      <a:cubicBezTo>
                        <a:pt x="11725" y="83591"/>
                        <a:pt x="7144" y="73990"/>
                        <a:pt x="7144" y="57531"/>
                      </a:cubicBezTo>
                      <a:cubicBezTo>
                        <a:pt x="7144" y="31804"/>
                        <a:pt x="24632" y="7144"/>
                        <a:pt x="67847" y="7144"/>
                      </a:cubicBezTo>
                      <a:cubicBezTo>
                        <a:pt x="86449" y="7144"/>
                        <a:pt x="101479" y="12173"/>
                        <a:pt x="107556" y="13611"/>
                      </a:cubicBezTo>
                      <a:lnTo>
                        <a:pt x="107556" y="48968"/>
                      </a:lnTo>
                      <a:close/>
                    </a:path>
                  </a:pathLst>
                </a:custGeom>
                <a:solidFill>
                  <a:schemeClr val="bg1"/>
                </a:solidFill>
                <a:ln w="9525" cap="flat">
                  <a:noFill/>
                  <a:prstDash val="solid"/>
                  <a:miter/>
                </a:ln>
              </p:spPr>
              <p:txBody>
                <a:bodyPr rtlCol="0" anchor="ctr"/>
                <a:lstStyle/>
                <a:p>
                  <a:endParaRPr lang="ja-JP" altLang="en-US" dirty="0"/>
                </a:p>
              </p:txBody>
            </p:sp>
            <p:sp>
              <p:nvSpPr>
                <p:cNvPr id="1079" name="フリーフォーム: 図形 31"/>
                <p:cNvSpPr/>
                <p:nvPr/>
              </p:nvSpPr>
              <p:spPr>
                <a:xfrm>
                  <a:off x="2245724" y="5565635"/>
                  <a:ext cx="238125" cy="180975"/>
                </a:xfrm>
                <a:custGeom>
                  <a:avLst/>
                  <a:gdLst>
                    <a:gd name="connsiteX0" fmla="*/ 7144 w 238125"/>
                    <a:gd name="connsiteY0" fmla="*/ 11116 h 180975"/>
                    <a:gd name="connsiteX1" fmla="*/ 50387 w 238125"/>
                    <a:gd name="connsiteY1" fmla="*/ 11116 h 180975"/>
                    <a:gd name="connsiteX2" fmla="*/ 50387 w 238125"/>
                    <a:gd name="connsiteY2" fmla="*/ 49330 h 180975"/>
                    <a:gd name="connsiteX3" fmla="*/ 51111 w 238125"/>
                    <a:gd name="connsiteY3" fmla="*/ 49330 h 180975"/>
                    <a:gd name="connsiteX4" fmla="*/ 99956 w 238125"/>
                    <a:gd name="connsiteY4" fmla="*/ 7144 h 180975"/>
                    <a:gd name="connsiteX5" fmla="*/ 142894 w 238125"/>
                    <a:gd name="connsiteY5" fmla="*/ 47501 h 180975"/>
                    <a:gd name="connsiteX6" fmla="*/ 143637 w 238125"/>
                    <a:gd name="connsiteY6" fmla="*/ 47501 h 180975"/>
                    <a:gd name="connsiteX7" fmla="*/ 192881 w 238125"/>
                    <a:gd name="connsiteY7" fmla="*/ 7144 h 180975"/>
                    <a:gd name="connsiteX8" fmla="*/ 236153 w 238125"/>
                    <a:gd name="connsiteY8" fmla="*/ 67523 h 180975"/>
                    <a:gd name="connsiteX9" fmla="*/ 236153 w 238125"/>
                    <a:gd name="connsiteY9" fmla="*/ 181175 h 180975"/>
                    <a:gd name="connsiteX10" fmla="*/ 192881 w 238125"/>
                    <a:gd name="connsiteY10" fmla="*/ 181175 h 180975"/>
                    <a:gd name="connsiteX11" fmla="*/ 192881 w 238125"/>
                    <a:gd name="connsiteY11" fmla="*/ 70771 h 180975"/>
                    <a:gd name="connsiteX12" fmla="*/ 174688 w 238125"/>
                    <a:gd name="connsiteY12" fmla="*/ 38214 h 180975"/>
                    <a:gd name="connsiteX13" fmla="*/ 143285 w 238125"/>
                    <a:gd name="connsiteY13" fmla="*/ 104699 h 180975"/>
                    <a:gd name="connsiteX14" fmla="*/ 143285 w 238125"/>
                    <a:gd name="connsiteY14" fmla="*/ 181166 h 180975"/>
                    <a:gd name="connsiteX15" fmla="*/ 99956 w 238125"/>
                    <a:gd name="connsiteY15" fmla="*/ 181166 h 180975"/>
                    <a:gd name="connsiteX16" fmla="*/ 99956 w 238125"/>
                    <a:gd name="connsiteY16" fmla="*/ 75038 h 180975"/>
                    <a:gd name="connsiteX17" fmla="*/ 81467 w 238125"/>
                    <a:gd name="connsiteY17" fmla="*/ 38205 h 180975"/>
                    <a:gd name="connsiteX18" fmla="*/ 50387 w 238125"/>
                    <a:gd name="connsiteY18" fmla="*/ 114367 h 180975"/>
                    <a:gd name="connsiteX19" fmla="*/ 50387 w 238125"/>
                    <a:gd name="connsiteY19" fmla="*/ 181166 h 180975"/>
                    <a:gd name="connsiteX20" fmla="*/ 7144 w 238125"/>
                    <a:gd name="connsiteY20" fmla="*/ 181166 h 180975"/>
                    <a:gd name="connsiteX21" fmla="*/ 7144 w 238125"/>
                    <a:gd name="connsiteY21"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180975">
                      <a:moveTo>
                        <a:pt x="7144" y="11116"/>
                      </a:moveTo>
                      <a:lnTo>
                        <a:pt x="50387" y="11116"/>
                      </a:lnTo>
                      <a:lnTo>
                        <a:pt x="50387" y="49330"/>
                      </a:lnTo>
                      <a:lnTo>
                        <a:pt x="51111" y="49330"/>
                      </a:lnTo>
                      <a:cubicBezTo>
                        <a:pt x="55683" y="34300"/>
                        <a:pt x="69713" y="7144"/>
                        <a:pt x="99956" y="7144"/>
                      </a:cubicBezTo>
                      <a:cubicBezTo>
                        <a:pt x="131845" y="7144"/>
                        <a:pt x="140846" y="32518"/>
                        <a:pt x="142894" y="47501"/>
                      </a:cubicBezTo>
                      <a:lnTo>
                        <a:pt x="143637" y="47501"/>
                      </a:lnTo>
                      <a:cubicBezTo>
                        <a:pt x="150076" y="34290"/>
                        <a:pt x="160754" y="7144"/>
                        <a:pt x="192881" y="7144"/>
                      </a:cubicBezTo>
                      <a:cubicBezTo>
                        <a:pt x="229324" y="7144"/>
                        <a:pt x="236153" y="38576"/>
                        <a:pt x="236153" y="67523"/>
                      </a:cubicBezTo>
                      <a:lnTo>
                        <a:pt x="236153" y="181175"/>
                      </a:lnTo>
                      <a:lnTo>
                        <a:pt x="192881" y="181175"/>
                      </a:lnTo>
                      <a:lnTo>
                        <a:pt x="192881" y="70771"/>
                      </a:lnTo>
                      <a:cubicBezTo>
                        <a:pt x="192881" y="57921"/>
                        <a:pt x="190795" y="38214"/>
                        <a:pt x="174688" y="38214"/>
                      </a:cubicBezTo>
                      <a:cubicBezTo>
                        <a:pt x="145390" y="38214"/>
                        <a:pt x="143285" y="89354"/>
                        <a:pt x="143285" y="104699"/>
                      </a:cubicBezTo>
                      <a:lnTo>
                        <a:pt x="143285" y="181166"/>
                      </a:lnTo>
                      <a:lnTo>
                        <a:pt x="99956" y="181166"/>
                      </a:lnTo>
                      <a:lnTo>
                        <a:pt x="99956" y="75038"/>
                      </a:lnTo>
                      <a:cubicBezTo>
                        <a:pt x="99956" y="53931"/>
                        <a:pt x="98279" y="38205"/>
                        <a:pt x="81467" y="38205"/>
                      </a:cubicBezTo>
                      <a:cubicBezTo>
                        <a:pt x="50730" y="38205"/>
                        <a:pt x="50387" y="96812"/>
                        <a:pt x="50387" y="114367"/>
                      </a:cubicBezTo>
                      <a:lnTo>
                        <a:pt x="50387" y="181166"/>
                      </a:lnTo>
                      <a:lnTo>
                        <a:pt x="7144" y="181166"/>
                      </a:lnTo>
                      <a:lnTo>
                        <a:pt x="7144" y="11116"/>
                      </a:lnTo>
                      <a:close/>
                    </a:path>
                  </a:pathLst>
                </a:custGeom>
                <a:solidFill>
                  <a:schemeClr val="bg1"/>
                </a:solidFill>
                <a:ln w="9525" cap="flat">
                  <a:noFill/>
                  <a:prstDash val="solid"/>
                  <a:miter/>
                </a:ln>
              </p:spPr>
              <p:txBody>
                <a:bodyPr rtlCol="0" anchor="ctr"/>
                <a:lstStyle/>
                <a:p>
                  <a:endParaRPr lang="ja-JP" altLang="en-US" dirty="0"/>
                </a:p>
              </p:txBody>
            </p:sp>
            <p:sp>
              <p:nvSpPr>
                <p:cNvPr id="1080" name="フリーフォーム: 図形 32"/>
                <p:cNvSpPr/>
                <p:nvPr/>
              </p:nvSpPr>
              <p:spPr>
                <a:xfrm>
                  <a:off x="2571898" y="5492911"/>
                  <a:ext cx="228600" cy="257175"/>
                </a:xfrm>
                <a:custGeom>
                  <a:avLst/>
                  <a:gdLst>
                    <a:gd name="connsiteX0" fmla="*/ 92212 w 228600"/>
                    <a:gd name="connsiteY0" fmla="*/ 7144 h 257175"/>
                    <a:gd name="connsiteX1" fmla="*/ 140113 w 228600"/>
                    <a:gd name="connsiteY1" fmla="*/ 7144 h 257175"/>
                    <a:gd name="connsiteX2" fmla="*/ 225857 w 228600"/>
                    <a:gd name="connsiteY2" fmla="*/ 253889 h 257175"/>
                    <a:gd name="connsiteX3" fmla="*/ 176203 w 228600"/>
                    <a:gd name="connsiteY3" fmla="*/ 253889 h 257175"/>
                    <a:gd name="connsiteX4" fmla="*/ 154752 w 228600"/>
                    <a:gd name="connsiteY4" fmla="*/ 183842 h 257175"/>
                    <a:gd name="connsiteX5" fmla="*/ 70809 w 228600"/>
                    <a:gd name="connsiteY5" fmla="*/ 183842 h 257175"/>
                    <a:gd name="connsiteX6" fmla="*/ 48616 w 228600"/>
                    <a:gd name="connsiteY6" fmla="*/ 253889 h 257175"/>
                    <a:gd name="connsiteX7" fmla="*/ 7144 w 228600"/>
                    <a:gd name="connsiteY7" fmla="*/ 253889 h 257175"/>
                    <a:gd name="connsiteX8" fmla="*/ 92212 w 228600"/>
                    <a:gd name="connsiteY8" fmla="*/ 7144 h 257175"/>
                    <a:gd name="connsiteX9" fmla="*/ 79010 w 228600"/>
                    <a:gd name="connsiteY9" fmla="*/ 157734 h 257175"/>
                    <a:gd name="connsiteX10" fmla="*/ 146952 w 228600"/>
                    <a:gd name="connsiteY10" fmla="*/ 157734 h 257175"/>
                    <a:gd name="connsiteX11" fmla="*/ 113690 w 228600"/>
                    <a:gd name="connsiteY11" fmla="*/ 48816 h 257175"/>
                    <a:gd name="connsiteX12" fmla="*/ 112966 w 228600"/>
                    <a:gd name="connsiteY12" fmla="*/ 48816 h 257175"/>
                    <a:gd name="connsiteX13" fmla="*/ 79010 w 228600"/>
                    <a:gd name="connsiteY13" fmla="*/ 157734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257175">
                      <a:moveTo>
                        <a:pt x="92212" y="7144"/>
                      </a:moveTo>
                      <a:lnTo>
                        <a:pt x="140113" y="7144"/>
                      </a:lnTo>
                      <a:lnTo>
                        <a:pt x="225857" y="253889"/>
                      </a:lnTo>
                      <a:lnTo>
                        <a:pt x="176203" y="253889"/>
                      </a:lnTo>
                      <a:lnTo>
                        <a:pt x="154752" y="183842"/>
                      </a:lnTo>
                      <a:lnTo>
                        <a:pt x="70809" y="183842"/>
                      </a:lnTo>
                      <a:lnTo>
                        <a:pt x="48616" y="253889"/>
                      </a:lnTo>
                      <a:lnTo>
                        <a:pt x="7144" y="253889"/>
                      </a:lnTo>
                      <a:lnTo>
                        <a:pt x="92212" y="7144"/>
                      </a:lnTo>
                      <a:close/>
                      <a:moveTo>
                        <a:pt x="79010" y="157734"/>
                      </a:moveTo>
                      <a:lnTo>
                        <a:pt x="146952" y="157734"/>
                      </a:lnTo>
                      <a:lnTo>
                        <a:pt x="113690" y="48816"/>
                      </a:lnTo>
                      <a:lnTo>
                        <a:pt x="112966" y="48816"/>
                      </a:lnTo>
                      <a:lnTo>
                        <a:pt x="79010" y="157734"/>
                      </a:lnTo>
                      <a:close/>
                    </a:path>
                  </a:pathLst>
                </a:custGeom>
                <a:solidFill>
                  <a:schemeClr val="bg1"/>
                </a:solidFill>
                <a:ln w="9525" cap="flat">
                  <a:noFill/>
                  <a:prstDash val="solid"/>
                  <a:miter/>
                </a:ln>
              </p:spPr>
              <p:txBody>
                <a:bodyPr rtlCol="0" anchor="ctr"/>
                <a:lstStyle/>
                <a:p>
                  <a:endParaRPr lang="ja-JP" altLang="en-US" dirty="0"/>
                </a:p>
              </p:txBody>
            </p:sp>
            <p:sp>
              <p:nvSpPr>
                <p:cNvPr id="1081" name="フリーフォーム: 図形 33"/>
                <p:cNvSpPr/>
                <p:nvPr/>
              </p:nvSpPr>
              <p:spPr>
                <a:xfrm>
                  <a:off x="2801365" y="5565625"/>
                  <a:ext cx="152400" cy="266700"/>
                </a:xfrm>
                <a:custGeom>
                  <a:avLst/>
                  <a:gdLst>
                    <a:gd name="connsiteX0" fmla="*/ 154381 w 152400"/>
                    <a:gd name="connsiteY0" fmla="*/ 186852 h 266700"/>
                    <a:gd name="connsiteX1" fmla="*/ 70409 w 152400"/>
                    <a:gd name="connsiteY1" fmla="*/ 261642 h 266700"/>
                    <a:gd name="connsiteX2" fmla="*/ 19698 w 152400"/>
                    <a:gd name="connsiteY2" fmla="*/ 254441 h 266700"/>
                    <a:gd name="connsiteX3" fmla="*/ 19698 w 152400"/>
                    <a:gd name="connsiteY3" fmla="*/ 214036 h 266700"/>
                    <a:gd name="connsiteX4" fmla="*/ 74314 w 152400"/>
                    <a:gd name="connsiteY4" fmla="*/ 237268 h 266700"/>
                    <a:gd name="connsiteX5" fmla="*/ 111109 w 152400"/>
                    <a:gd name="connsiteY5" fmla="*/ 181899 h 266700"/>
                    <a:gd name="connsiteX6" fmla="*/ 111109 w 152400"/>
                    <a:gd name="connsiteY6" fmla="*/ 156496 h 266700"/>
                    <a:gd name="connsiteX7" fmla="*/ 110442 w 152400"/>
                    <a:gd name="connsiteY7" fmla="*/ 156496 h 266700"/>
                    <a:gd name="connsiteX8" fmla="*/ 69723 w 152400"/>
                    <a:gd name="connsiteY8" fmla="*/ 181175 h 266700"/>
                    <a:gd name="connsiteX9" fmla="*/ 7144 w 152400"/>
                    <a:gd name="connsiteY9" fmla="*/ 92945 h 266700"/>
                    <a:gd name="connsiteX10" fmla="*/ 65408 w 152400"/>
                    <a:gd name="connsiteY10" fmla="*/ 7144 h 266700"/>
                    <a:gd name="connsiteX11" fmla="*/ 110452 w 152400"/>
                    <a:gd name="connsiteY11" fmla="*/ 38576 h 266700"/>
                    <a:gd name="connsiteX12" fmla="*/ 111119 w 152400"/>
                    <a:gd name="connsiteY12" fmla="*/ 38576 h 266700"/>
                    <a:gd name="connsiteX13" fmla="*/ 111119 w 152400"/>
                    <a:gd name="connsiteY13" fmla="*/ 11116 h 266700"/>
                    <a:gd name="connsiteX14" fmla="*/ 154391 w 152400"/>
                    <a:gd name="connsiteY14" fmla="*/ 11116 h 266700"/>
                    <a:gd name="connsiteX15" fmla="*/ 154391 w 152400"/>
                    <a:gd name="connsiteY15" fmla="*/ 186852 h 266700"/>
                    <a:gd name="connsiteX16" fmla="*/ 82905 w 152400"/>
                    <a:gd name="connsiteY16" fmla="*/ 156505 h 266700"/>
                    <a:gd name="connsiteX17" fmla="*/ 109004 w 152400"/>
                    <a:gd name="connsiteY17" fmla="*/ 96831 h 266700"/>
                    <a:gd name="connsiteX18" fmla="*/ 82572 w 152400"/>
                    <a:gd name="connsiteY18" fmla="*/ 33957 h 266700"/>
                    <a:gd name="connsiteX19" fmla="*/ 53940 w 152400"/>
                    <a:gd name="connsiteY19" fmla="*/ 95764 h 266700"/>
                    <a:gd name="connsiteX20" fmla="*/ 82905 w 152400"/>
                    <a:gd name="connsiteY20" fmla="*/ 15650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400" h="266700">
                      <a:moveTo>
                        <a:pt x="154381" y="186852"/>
                      </a:moveTo>
                      <a:cubicBezTo>
                        <a:pt x="154381" y="229134"/>
                        <a:pt x="137246" y="261642"/>
                        <a:pt x="70409" y="261642"/>
                      </a:cubicBezTo>
                      <a:cubicBezTo>
                        <a:pt x="45739" y="261642"/>
                        <a:pt x="30413" y="257289"/>
                        <a:pt x="19698" y="254441"/>
                      </a:cubicBezTo>
                      <a:lnTo>
                        <a:pt x="19698" y="214036"/>
                      </a:lnTo>
                      <a:cubicBezTo>
                        <a:pt x="28632" y="220828"/>
                        <a:pt x="51120" y="237268"/>
                        <a:pt x="74314" y="237268"/>
                      </a:cubicBezTo>
                      <a:cubicBezTo>
                        <a:pt x="107575" y="237268"/>
                        <a:pt x="111109" y="213360"/>
                        <a:pt x="111109" y="181899"/>
                      </a:cubicBezTo>
                      <a:lnTo>
                        <a:pt x="111109" y="156496"/>
                      </a:lnTo>
                      <a:lnTo>
                        <a:pt x="110442" y="156496"/>
                      </a:lnTo>
                      <a:cubicBezTo>
                        <a:pt x="104299" y="167631"/>
                        <a:pt x="96469" y="181175"/>
                        <a:pt x="69723" y="181175"/>
                      </a:cubicBezTo>
                      <a:cubicBezTo>
                        <a:pt x="23565" y="181175"/>
                        <a:pt x="7144" y="145094"/>
                        <a:pt x="7144" y="92945"/>
                      </a:cubicBezTo>
                      <a:cubicBezTo>
                        <a:pt x="7144" y="49663"/>
                        <a:pt x="21822" y="7144"/>
                        <a:pt x="65408" y="7144"/>
                      </a:cubicBezTo>
                      <a:cubicBezTo>
                        <a:pt x="92183" y="7144"/>
                        <a:pt x="103679" y="26460"/>
                        <a:pt x="110452" y="38576"/>
                      </a:cubicBezTo>
                      <a:lnTo>
                        <a:pt x="111119" y="38576"/>
                      </a:lnTo>
                      <a:lnTo>
                        <a:pt x="111119" y="11116"/>
                      </a:lnTo>
                      <a:lnTo>
                        <a:pt x="154391" y="11116"/>
                      </a:lnTo>
                      <a:lnTo>
                        <a:pt x="154391" y="186852"/>
                      </a:lnTo>
                      <a:close/>
                      <a:moveTo>
                        <a:pt x="82905" y="156505"/>
                      </a:moveTo>
                      <a:cubicBezTo>
                        <a:pt x="109004" y="156505"/>
                        <a:pt x="109004" y="119015"/>
                        <a:pt x="109004" y="96831"/>
                      </a:cubicBezTo>
                      <a:cubicBezTo>
                        <a:pt x="109004" y="71095"/>
                        <a:pt x="107870" y="33957"/>
                        <a:pt x="82572" y="33957"/>
                      </a:cubicBezTo>
                      <a:cubicBezTo>
                        <a:pt x="57140" y="33957"/>
                        <a:pt x="53940" y="70771"/>
                        <a:pt x="53940" y="95764"/>
                      </a:cubicBezTo>
                      <a:cubicBezTo>
                        <a:pt x="53940" y="119329"/>
                        <a:pt x="57140" y="156505"/>
                        <a:pt x="82905" y="156505"/>
                      </a:cubicBezTo>
                      <a:close/>
                    </a:path>
                  </a:pathLst>
                </a:custGeom>
                <a:solidFill>
                  <a:schemeClr val="bg1"/>
                </a:solidFill>
                <a:ln w="9525" cap="flat">
                  <a:noFill/>
                  <a:prstDash val="solid"/>
                  <a:miter/>
                </a:ln>
              </p:spPr>
              <p:txBody>
                <a:bodyPr rtlCol="0" anchor="ctr"/>
                <a:lstStyle/>
                <a:p>
                  <a:endParaRPr lang="ja-JP" altLang="en-US" dirty="0"/>
                </a:p>
              </p:txBody>
            </p:sp>
            <p:sp>
              <p:nvSpPr>
                <p:cNvPr id="1082" name="フリーフォーム: 図形 34"/>
                <p:cNvSpPr/>
                <p:nvPr/>
              </p:nvSpPr>
              <p:spPr>
                <a:xfrm>
                  <a:off x="2982530" y="5565625"/>
                  <a:ext cx="152400" cy="190500"/>
                </a:xfrm>
                <a:custGeom>
                  <a:avLst/>
                  <a:gdLst>
                    <a:gd name="connsiteX0" fmla="*/ 148685 w 152400"/>
                    <a:gd name="connsiteY0" fmla="*/ 173345 h 190500"/>
                    <a:gd name="connsiteX1" fmla="*/ 93659 w 152400"/>
                    <a:gd name="connsiteY1" fmla="*/ 185099 h 190500"/>
                    <a:gd name="connsiteX2" fmla="*/ 7144 w 152400"/>
                    <a:gd name="connsiteY2" fmla="*/ 88259 h 190500"/>
                    <a:gd name="connsiteX3" fmla="*/ 82887 w 152400"/>
                    <a:gd name="connsiteY3" fmla="*/ 7144 h 190500"/>
                    <a:gd name="connsiteX4" fmla="*/ 151847 w 152400"/>
                    <a:gd name="connsiteY4" fmla="*/ 71085 h 190500"/>
                    <a:gd name="connsiteX5" fmla="*/ 151847 w 152400"/>
                    <a:gd name="connsiteY5" fmla="*/ 77581 h 190500"/>
                    <a:gd name="connsiteX6" fmla="*/ 50387 w 152400"/>
                    <a:gd name="connsiteY6" fmla="*/ 77581 h 190500"/>
                    <a:gd name="connsiteX7" fmla="*/ 115462 w 152400"/>
                    <a:gd name="connsiteY7" fmla="*/ 162973 h 190500"/>
                    <a:gd name="connsiteX8" fmla="*/ 148685 w 152400"/>
                    <a:gd name="connsiteY8" fmla="*/ 155486 h 190500"/>
                    <a:gd name="connsiteX9" fmla="*/ 148685 w 152400"/>
                    <a:gd name="connsiteY9" fmla="*/ 173345 h 190500"/>
                    <a:gd name="connsiteX10" fmla="*/ 110128 w 152400"/>
                    <a:gd name="connsiteY10" fmla="*/ 59684 h 190500"/>
                    <a:gd name="connsiteX11" fmla="*/ 81534 w 152400"/>
                    <a:gd name="connsiteY11" fmla="*/ 23965 h 190500"/>
                    <a:gd name="connsiteX12" fmla="*/ 50387 w 152400"/>
                    <a:gd name="connsiteY12" fmla="*/ 59684 h 190500"/>
                    <a:gd name="connsiteX13" fmla="*/ 110128 w 152400"/>
                    <a:gd name="connsiteY13" fmla="*/ 5968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90500">
                      <a:moveTo>
                        <a:pt x="148685" y="173345"/>
                      </a:moveTo>
                      <a:cubicBezTo>
                        <a:pt x="129359" y="181527"/>
                        <a:pt x="118681" y="185099"/>
                        <a:pt x="93659" y="185099"/>
                      </a:cubicBezTo>
                      <a:cubicBezTo>
                        <a:pt x="48920" y="185099"/>
                        <a:pt x="7144" y="159420"/>
                        <a:pt x="7144" y="88259"/>
                      </a:cubicBezTo>
                      <a:cubicBezTo>
                        <a:pt x="7144" y="41424"/>
                        <a:pt x="26794" y="7144"/>
                        <a:pt x="82887" y="7144"/>
                      </a:cubicBezTo>
                      <a:cubicBezTo>
                        <a:pt x="130083" y="7144"/>
                        <a:pt x="151847" y="32176"/>
                        <a:pt x="151847" y="71085"/>
                      </a:cubicBezTo>
                      <a:lnTo>
                        <a:pt x="151847" y="77581"/>
                      </a:lnTo>
                      <a:lnTo>
                        <a:pt x="50387" y="77581"/>
                      </a:lnTo>
                      <a:cubicBezTo>
                        <a:pt x="50387" y="106499"/>
                        <a:pt x="66856" y="162973"/>
                        <a:pt x="115462" y="162973"/>
                      </a:cubicBezTo>
                      <a:cubicBezTo>
                        <a:pt x="126844" y="162973"/>
                        <a:pt x="138322" y="159420"/>
                        <a:pt x="148685" y="155486"/>
                      </a:cubicBezTo>
                      <a:lnTo>
                        <a:pt x="148685" y="173345"/>
                      </a:lnTo>
                      <a:close/>
                      <a:moveTo>
                        <a:pt x="110128" y="59684"/>
                      </a:moveTo>
                      <a:cubicBezTo>
                        <a:pt x="110128" y="47520"/>
                        <a:pt x="105070" y="23965"/>
                        <a:pt x="81534" y="23965"/>
                      </a:cubicBezTo>
                      <a:cubicBezTo>
                        <a:pt x="56512" y="23965"/>
                        <a:pt x="51473" y="51873"/>
                        <a:pt x="50387" y="59684"/>
                      </a:cubicBezTo>
                      <a:lnTo>
                        <a:pt x="110128" y="59684"/>
                      </a:lnTo>
                      <a:close/>
                    </a:path>
                  </a:pathLst>
                </a:custGeom>
                <a:solidFill>
                  <a:schemeClr val="bg1"/>
                </a:solidFill>
                <a:ln w="9525" cap="flat">
                  <a:noFill/>
                  <a:prstDash val="solid"/>
                  <a:miter/>
                </a:ln>
              </p:spPr>
              <p:txBody>
                <a:bodyPr rtlCol="0" anchor="ctr"/>
                <a:lstStyle/>
                <a:p>
                  <a:endParaRPr lang="ja-JP" altLang="en-US" dirty="0"/>
                </a:p>
              </p:txBody>
            </p:sp>
            <p:sp>
              <p:nvSpPr>
                <p:cNvPr id="1083" name="フリーフォーム: 図形 35"/>
                <p:cNvSpPr/>
                <p:nvPr/>
              </p:nvSpPr>
              <p:spPr>
                <a:xfrm>
                  <a:off x="3161905" y="5565635"/>
                  <a:ext cx="152400" cy="180975"/>
                </a:xfrm>
                <a:custGeom>
                  <a:avLst/>
                  <a:gdLst>
                    <a:gd name="connsiteX0" fmla="*/ 7153 w 152400"/>
                    <a:gd name="connsiteY0" fmla="*/ 11116 h 180975"/>
                    <a:gd name="connsiteX1" fmla="*/ 50444 w 152400"/>
                    <a:gd name="connsiteY1" fmla="*/ 11116 h 180975"/>
                    <a:gd name="connsiteX2" fmla="*/ 50444 w 152400"/>
                    <a:gd name="connsiteY2" fmla="*/ 49330 h 180975"/>
                    <a:gd name="connsiteX3" fmla="*/ 51054 w 152400"/>
                    <a:gd name="connsiteY3" fmla="*/ 49330 h 180975"/>
                    <a:gd name="connsiteX4" fmla="*/ 106880 w 152400"/>
                    <a:gd name="connsiteY4" fmla="*/ 7144 h 180975"/>
                    <a:gd name="connsiteX5" fmla="*/ 149742 w 152400"/>
                    <a:gd name="connsiteY5" fmla="*/ 63951 h 180975"/>
                    <a:gd name="connsiteX6" fmla="*/ 149742 w 152400"/>
                    <a:gd name="connsiteY6" fmla="*/ 181175 h 180975"/>
                    <a:gd name="connsiteX7" fmla="*/ 106490 w 152400"/>
                    <a:gd name="connsiteY7" fmla="*/ 181175 h 180975"/>
                    <a:gd name="connsiteX8" fmla="*/ 106490 w 152400"/>
                    <a:gd name="connsiteY8" fmla="*/ 75047 h 180975"/>
                    <a:gd name="connsiteX9" fmla="*/ 87887 w 152400"/>
                    <a:gd name="connsiteY9" fmla="*/ 38214 h 180975"/>
                    <a:gd name="connsiteX10" fmla="*/ 50435 w 152400"/>
                    <a:gd name="connsiteY10" fmla="*/ 114376 h 180975"/>
                    <a:gd name="connsiteX11" fmla="*/ 50435 w 152400"/>
                    <a:gd name="connsiteY11" fmla="*/ 181175 h 180975"/>
                    <a:gd name="connsiteX12" fmla="*/ 7144 w 152400"/>
                    <a:gd name="connsiteY12" fmla="*/ 181175 h 180975"/>
                    <a:gd name="connsiteX13" fmla="*/ 7144 w 152400"/>
                    <a:gd name="connsiteY13"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7153" y="11116"/>
                      </a:moveTo>
                      <a:lnTo>
                        <a:pt x="50444" y="11116"/>
                      </a:lnTo>
                      <a:lnTo>
                        <a:pt x="50444" y="49330"/>
                      </a:lnTo>
                      <a:lnTo>
                        <a:pt x="51054" y="49330"/>
                      </a:lnTo>
                      <a:cubicBezTo>
                        <a:pt x="57922" y="35433"/>
                        <a:pt x="71799" y="7144"/>
                        <a:pt x="106880" y="7144"/>
                      </a:cubicBezTo>
                      <a:cubicBezTo>
                        <a:pt x="138674" y="7144"/>
                        <a:pt x="149742" y="27889"/>
                        <a:pt x="149742" y="63951"/>
                      </a:cubicBezTo>
                      <a:lnTo>
                        <a:pt x="149742" y="181175"/>
                      </a:lnTo>
                      <a:lnTo>
                        <a:pt x="106490" y="181175"/>
                      </a:lnTo>
                      <a:lnTo>
                        <a:pt x="106490" y="75047"/>
                      </a:lnTo>
                      <a:cubicBezTo>
                        <a:pt x="106490" y="53940"/>
                        <a:pt x="104718" y="38214"/>
                        <a:pt x="87887" y="38214"/>
                      </a:cubicBezTo>
                      <a:cubicBezTo>
                        <a:pt x="57560" y="38214"/>
                        <a:pt x="50435" y="87182"/>
                        <a:pt x="50435" y="114376"/>
                      </a:cubicBezTo>
                      <a:lnTo>
                        <a:pt x="50435" y="181175"/>
                      </a:lnTo>
                      <a:lnTo>
                        <a:pt x="7144" y="181175"/>
                      </a:lnTo>
                      <a:lnTo>
                        <a:pt x="7144" y="11116"/>
                      </a:lnTo>
                      <a:close/>
                    </a:path>
                  </a:pathLst>
                </a:custGeom>
                <a:solidFill>
                  <a:schemeClr val="bg1"/>
                </a:solidFill>
                <a:ln w="9525" cap="flat">
                  <a:noFill/>
                  <a:prstDash val="solid"/>
                  <a:miter/>
                </a:ln>
              </p:spPr>
              <p:txBody>
                <a:bodyPr rtlCol="0" anchor="ctr"/>
                <a:lstStyle/>
                <a:p>
                  <a:endParaRPr lang="ja-JP" altLang="en-US" dirty="0"/>
                </a:p>
              </p:txBody>
            </p:sp>
            <p:sp>
              <p:nvSpPr>
                <p:cNvPr id="1084" name="フリーフォーム: 図形 36"/>
                <p:cNvSpPr/>
                <p:nvPr/>
              </p:nvSpPr>
              <p:spPr>
                <a:xfrm>
                  <a:off x="3339851" y="5565635"/>
                  <a:ext cx="152400" cy="190500"/>
                </a:xfrm>
                <a:custGeom>
                  <a:avLst/>
                  <a:gdLst>
                    <a:gd name="connsiteX0" fmla="*/ 148686 w 152400"/>
                    <a:gd name="connsiteY0" fmla="*/ 174765 h 190500"/>
                    <a:gd name="connsiteX1" fmla="*/ 95774 w 152400"/>
                    <a:gd name="connsiteY1" fmla="*/ 185090 h 190500"/>
                    <a:gd name="connsiteX2" fmla="*/ 7144 w 152400"/>
                    <a:gd name="connsiteY2" fmla="*/ 89354 h 190500"/>
                    <a:gd name="connsiteX3" fmla="*/ 83991 w 152400"/>
                    <a:gd name="connsiteY3" fmla="*/ 7144 h 190500"/>
                    <a:gd name="connsiteX4" fmla="*/ 149771 w 152400"/>
                    <a:gd name="connsiteY4" fmla="*/ 68637 h 190500"/>
                    <a:gd name="connsiteX5" fmla="*/ 103613 w 152400"/>
                    <a:gd name="connsiteY5" fmla="*/ 68637 h 190500"/>
                    <a:gd name="connsiteX6" fmla="*/ 82182 w 152400"/>
                    <a:gd name="connsiteY6" fmla="*/ 23955 h 190500"/>
                    <a:gd name="connsiteX7" fmla="*/ 53921 w 152400"/>
                    <a:gd name="connsiteY7" fmla="*/ 74705 h 190500"/>
                    <a:gd name="connsiteX8" fmla="*/ 115110 w 152400"/>
                    <a:gd name="connsiteY8" fmla="*/ 162973 h 190500"/>
                    <a:gd name="connsiteX9" fmla="*/ 148667 w 152400"/>
                    <a:gd name="connsiteY9" fmla="*/ 156496 h 190500"/>
                    <a:gd name="connsiteX10" fmla="*/ 148667 w 152400"/>
                    <a:gd name="connsiteY10" fmla="*/ 1747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400" h="190500">
                      <a:moveTo>
                        <a:pt x="148686" y="174765"/>
                      </a:moveTo>
                      <a:cubicBezTo>
                        <a:pt x="131179" y="181175"/>
                        <a:pt x="117596" y="185090"/>
                        <a:pt x="95774" y="185090"/>
                      </a:cubicBezTo>
                      <a:cubicBezTo>
                        <a:pt x="46063" y="185090"/>
                        <a:pt x="7144" y="157572"/>
                        <a:pt x="7144" y="89354"/>
                      </a:cubicBezTo>
                      <a:cubicBezTo>
                        <a:pt x="7144" y="40405"/>
                        <a:pt x="30785" y="7144"/>
                        <a:pt x="83991" y="7144"/>
                      </a:cubicBezTo>
                      <a:cubicBezTo>
                        <a:pt x="134351" y="7144"/>
                        <a:pt x="149771" y="30004"/>
                        <a:pt x="149771" y="68637"/>
                      </a:cubicBezTo>
                      <a:lnTo>
                        <a:pt x="103613" y="68637"/>
                      </a:lnTo>
                      <a:cubicBezTo>
                        <a:pt x="103613" y="38576"/>
                        <a:pt x="100784" y="23955"/>
                        <a:pt x="82182" y="23955"/>
                      </a:cubicBezTo>
                      <a:cubicBezTo>
                        <a:pt x="62551" y="23955"/>
                        <a:pt x="53921" y="50349"/>
                        <a:pt x="53921" y="74705"/>
                      </a:cubicBezTo>
                      <a:cubicBezTo>
                        <a:pt x="53921" y="119005"/>
                        <a:pt x="76115" y="162973"/>
                        <a:pt x="115110" y="162973"/>
                      </a:cubicBezTo>
                      <a:cubicBezTo>
                        <a:pt x="128264" y="162973"/>
                        <a:pt x="138256" y="160096"/>
                        <a:pt x="148667" y="156496"/>
                      </a:cubicBezTo>
                      <a:lnTo>
                        <a:pt x="148667" y="174765"/>
                      </a:lnTo>
                      <a:close/>
                    </a:path>
                  </a:pathLst>
                </a:custGeom>
                <a:solidFill>
                  <a:schemeClr val="bg1"/>
                </a:solidFill>
                <a:ln w="9525" cap="flat">
                  <a:noFill/>
                  <a:prstDash val="solid"/>
                  <a:miter/>
                </a:ln>
              </p:spPr>
              <p:txBody>
                <a:bodyPr rtlCol="0" anchor="ctr"/>
                <a:lstStyle/>
                <a:p>
                  <a:endParaRPr lang="ja-JP" altLang="en-US" dirty="0"/>
                </a:p>
              </p:txBody>
            </p:sp>
            <p:sp>
              <p:nvSpPr>
                <p:cNvPr id="1085" name="フリーフォーム: 図形 37"/>
                <p:cNvSpPr/>
                <p:nvPr/>
              </p:nvSpPr>
              <p:spPr>
                <a:xfrm>
                  <a:off x="3499938" y="5569606"/>
                  <a:ext cx="171450" cy="257175"/>
                </a:xfrm>
                <a:custGeom>
                  <a:avLst/>
                  <a:gdLst>
                    <a:gd name="connsiteX0" fmla="*/ 70809 w 171450"/>
                    <a:gd name="connsiteY0" fmla="*/ 179727 h 257175"/>
                    <a:gd name="connsiteX1" fmla="*/ 7144 w 171450"/>
                    <a:gd name="connsiteY1" fmla="*/ 7144 h 257175"/>
                    <a:gd name="connsiteX2" fmla="*/ 51454 w 171450"/>
                    <a:gd name="connsiteY2" fmla="*/ 7144 h 257175"/>
                    <a:gd name="connsiteX3" fmla="*/ 90097 w 171450"/>
                    <a:gd name="connsiteY3" fmla="*/ 123225 h 257175"/>
                    <a:gd name="connsiteX4" fmla="*/ 90726 w 171450"/>
                    <a:gd name="connsiteY4" fmla="*/ 123225 h 257175"/>
                    <a:gd name="connsiteX5" fmla="*/ 130445 w 171450"/>
                    <a:gd name="connsiteY5" fmla="*/ 7144 h 257175"/>
                    <a:gd name="connsiteX6" fmla="*/ 165497 w 171450"/>
                    <a:gd name="connsiteY6" fmla="*/ 7144 h 257175"/>
                    <a:gd name="connsiteX7" fmla="*/ 80363 w 171450"/>
                    <a:gd name="connsiteY7" fmla="*/ 253689 h 257175"/>
                    <a:gd name="connsiteX8" fmla="*/ 45387 w 171450"/>
                    <a:gd name="connsiteY8" fmla="*/ 253689 h 257175"/>
                    <a:gd name="connsiteX9" fmla="*/ 70809 w 171450"/>
                    <a:gd name="connsiteY9" fmla="*/ 17972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257175">
                      <a:moveTo>
                        <a:pt x="70809" y="179727"/>
                      </a:moveTo>
                      <a:lnTo>
                        <a:pt x="7144" y="7144"/>
                      </a:lnTo>
                      <a:lnTo>
                        <a:pt x="51454" y="7144"/>
                      </a:lnTo>
                      <a:lnTo>
                        <a:pt x="90097" y="123225"/>
                      </a:lnTo>
                      <a:lnTo>
                        <a:pt x="90726" y="123225"/>
                      </a:lnTo>
                      <a:lnTo>
                        <a:pt x="130445" y="7144"/>
                      </a:lnTo>
                      <a:lnTo>
                        <a:pt x="165497" y="7144"/>
                      </a:lnTo>
                      <a:lnTo>
                        <a:pt x="80363" y="253689"/>
                      </a:lnTo>
                      <a:lnTo>
                        <a:pt x="45387" y="253689"/>
                      </a:lnTo>
                      <a:lnTo>
                        <a:pt x="70809" y="179727"/>
                      </a:lnTo>
                      <a:close/>
                    </a:path>
                  </a:pathLst>
                </a:custGeom>
                <a:solidFill>
                  <a:schemeClr val="bg1"/>
                </a:solidFill>
                <a:ln w="9525" cap="flat">
                  <a:noFill/>
                  <a:prstDash val="solid"/>
                  <a:miter/>
                </a:ln>
              </p:spPr>
              <p:txBody>
                <a:bodyPr rtlCol="0" anchor="ctr"/>
                <a:lstStyle/>
                <a:p>
                  <a:endParaRPr lang="ja-JP" altLang="en-US" dirty="0"/>
                </a:p>
              </p:txBody>
            </p:sp>
          </p:grpSp>
          <p:grpSp>
            <p:nvGrpSpPr>
              <p:cNvPr id="1086" name="グループ化 111"/>
              <p:cNvGrpSpPr>
                <a:grpSpLocks noChangeAspect="1"/>
              </p:cNvGrpSpPr>
              <p:nvPr userDrawn="1"/>
            </p:nvGrpSpPr>
            <p:grpSpPr>
              <a:xfrm>
                <a:off x="2534400" y="6660000"/>
                <a:ext cx="3564000" cy="150760"/>
                <a:chOff x="427811" y="5856214"/>
                <a:chExt cx="3229242" cy="136598"/>
              </a:xfrm>
            </p:grpSpPr>
            <p:sp>
              <p:nvSpPr>
                <p:cNvPr id="1087" name="フリーフォーム: 図形 38"/>
                <p:cNvSpPr/>
                <p:nvPr/>
              </p:nvSpPr>
              <p:spPr>
                <a:xfrm>
                  <a:off x="427811" y="5857776"/>
                  <a:ext cx="104775" cy="104775"/>
                </a:xfrm>
                <a:custGeom>
                  <a:avLst/>
                  <a:gdLst>
                    <a:gd name="connsiteX0" fmla="*/ 7144 w 104775"/>
                    <a:gd name="connsiteY0" fmla="*/ 7144 h 104775"/>
                    <a:gd name="connsiteX1" fmla="*/ 27946 w 104775"/>
                    <a:gd name="connsiteY1" fmla="*/ 7144 h 104775"/>
                    <a:gd name="connsiteX2" fmla="*/ 54959 w 104775"/>
                    <a:gd name="connsiteY2" fmla="*/ 86487 h 104775"/>
                    <a:gd name="connsiteX3" fmla="*/ 55236 w 104775"/>
                    <a:gd name="connsiteY3" fmla="*/ 86487 h 104775"/>
                    <a:gd name="connsiteX4" fmla="*/ 82401 w 104775"/>
                    <a:gd name="connsiteY4" fmla="*/ 7144 h 104775"/>
                    <a:gd name="connsiteX5" fmla="*/ 102480 w 104775"/>
                    <a:gd name="connsiteY5" fmla="*/ 7144 h 104775"/>
                    <a:gd name="connsiteX6" fmla="*/ 102480 w 104775"/>
                    <a:gd name="connsiteY6" fmla="*/ 104737 h 104775"/>
                    <a:gd name="connsiteX7" fmla="*/ 88478 w 104775"/>
                    <a:gd name="connsiteY7" fmla="*/ 104737 h 104775"/>
                    <a:gd name="connsiteX8" fmla="*/ 88478 w 104775"/>
                    <a:gd name="connsiteY8" fmla="*/ 20421 h 104775"/>
                    <a:gd name="connsiteX9" fmla="*/ 88192 w 104775"/>
                    <a:gd name="connsiteY9" fmla="*/ 20421 h 104775"/>
                    <a:gd name="connsiteX10" fmla="*/ 59627 w 104775"/>
                    <a:gd name="connsiteY10" fmla="*/ 104737 h 104775"/>
                    <a:gd name="connsiteX11" fmla="*/ 47730 w 104775"/>
                    <a:gd name="connsiteY11" fmla="*/ 104737 h 104775"/>
                    <a:gd name="connsiteX12" fmla="*/ 19164 w 104775"/>
                    <a:gd name="connsiteY12" fmla="*/ 20421 h 104775"/>
                    <a:gd name="connsiteX13" fmla="*/ 18879 w 104775"/>
                    <a:gd name="connsiteY13" fmla="*/ 20421 h 104775"/>
                    <a:gd name="connsiteX14" fmla="*/ 18879 w 104775"/>
                    <a:gd name="connsiteY14" fmla="*/ 104737 h 104775"/>
                    <a:gd name="connsiteX15" fmla="*/ 7144 w 104775"/>
                    <a:gd name="connsiteY15" fmla="*/ 104737 h 104775"/>
                    <a:gd name="connsiteX16" fmla="*/ 7144 w 104775"/>
                    <a:gd name="connsiteY16"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7144" y="7144"/>
                      </a:moveTo>
                      <a:lnTo>
                        <a:pt x="27946" y="7144"/>
                      </a:lnTo>
                      <a:lnTo>
                        <a:pt x="54959" y="86487"/>
                      </a:lnTo>
                      <a:lnTo>
                        <a:pt x="55236" y="86487"/>
                      </a:lnTo>
                      <a:lnTo>
                        <a:pt x="82401" y="7144"/>
                      </a:lnTo>
                      <a:lnTo>
                        <a:pt x="102480" y="7144"/>
                      </a:lnTo>
                      <a:lnTo>
                        <a:pt x="102480" y="104737"/>
                      </a:lnTo>
                      <a:lnTo>
                        <a:pt x="88478" y="104737"/>
                      </a:lnTo>
                      <a:lnTo>
                        <a:pt x="88478" y="20421"/>
                      </a:lnTo>
                      <a:lnTo>
                        <a:pt x="88192" y="20421"/>
                      </a:lnTo>
                      <a:lnTo>
                        <a:pt x="59627" y="104737"/>
                      </a:lnTo>
                      <a:lnTo>
                        <a:pt x="47730" y="104737"/>
                      </a:lnTo>
                      <a:lnTo>
                        <a:pt x="19164" y="20421"/>
                      </a:lnTo>
                      <a:lnTo>
                        <a:pt x="18879" y="20421"/>
                      </a:lnTo>
                      <a:lnTo>
                        <a:pt x="18879" y="104737"/>
                      </a:lnTo>
                      <a:lnTo>
                        <a:pt x="7144" y="104737"/>
                      </a:lnTo>
                      <a:lnTo>
                        <a:pt x="7144" y="7144"/>
                      </a:lnTo>
                      <a:close/>
                    </a:path>
                  </a:pathLst>
                </a:custGeom>
                <a:solidFill>
                  <a:schemeClr val="bg1"/>
                </a:solidFill>
                <a:ln w="9525" cap="flat">
                  <a:noFill/>
                  <a:prstDash val="solid"/>
                  <a:miter/>
                </a:ln>
              </p:spPr>
              <p:txBody>
                <a:bodyPr rtlCol="0" anchor="ctr"/>
                <a:lstStyle/>
                <a:p>
                  <a:endParaRPr lang="ja-JP" altLang="en-US" dirty="0"/>
                </a:p>
              </p:txBody>
            </p:sp>
            <p:sp>
              <p:nvSpPr>
                <p:cNvPr id="1088" name="フリーフォーム: 図形 39"/>
                <p:cNvSpPr/>
                <p:nvPr/>
              </p:nvSpPr>
              <p:spPr>
                <a:xfrm>
                  <a:off x="545073" y="5857776"/>
                  <a:ext cx="28575" cy="104775"/>
                </a:xfrm>
                <a:custGeom>
                  <a:avLst/>
                  <a:gdLst>
                    <a:gd name="connsiteX0" fmla="*/ 7144 w 28575"/>
                    <a:gd name="connsiteY0" fmla="*/ 7144 h 104775"/>
                    <a:gd name="connsiteX1" fmla="*/ 22565 w 28575"/>
                    <a:gd name="connsiteY1" fmla="*/ 7144 h 104775"/>
                    <a:gd name="connsiteX2" fmla="*/ 22565 w 28575"/>
                    <a:gd name="connsiteY2" fmla="*/ 21279 h 104775"/>
                    <a:gd name="connsiteX3" fmla="*/ 7144 w 28575"/>
                    <a:gd name="connsiteY3" fmla="*/ 21279 h 104775"/>
                    <a:gd name="connsiteX4" fmla="*/ 7144 w 28575"/>
                    <a:gd name="connsiteY4" fmla="*/ 7144 h 104775"/>
                    <a:gd name="connsiteX5" fmla="*/ 7706 w 28575"/>
                    <a:gd name="connsiteY5" fmla="*/ 37405 h 104775"/>
                    <a:gd name="connsiteX6" fmla="*/ 21993 w 28575"/>
                    <a:gd name="connsiteY6" fmla="*/ 37405 h 104775"/>
                    <a:gd name="connsiteX7" fmla="*/ 21993 w 28575"/>
                    <a:gd name="connsiteY7" fmla="*/ 104727 h 104775"/>
                    <a:gd name="connsiteX8" fmla="*/ 7706 w 28575"/>
                    <a:gd name="connsiteY8" fmla="*/ 104727 h 104775"/>
                    <a:gd name="connsiteX9" fmla="*/ 7706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65" y="7144"/>
                      </a:lnTo>
                      <a:lnTo>
                        <a:pt x="22565" y="21279"/>
                      </a:lnTo>
                      <a:lnTo>
                        <a:pt x="7144" y="21279"/>
                      </a:lnTo>
                      <a:lnTo>
                        <a:pt x="7144" y="7144"/>
                      </a:lnTo>
                      <a:close/>
                      <a:moveTo>
                        <a:pt x="7706" y="37405"/>
                      </a:moveTo>
                      <a:lnTo>
                        <a:pt x="21993" y="37405"/>
                      </a:lnTo>
                      <a:lnTo>
                        <a:pt x="21993" y="104727"/>
                      </a:lnTo>
                      <a:lnTo>
                        <a:pt x="7706" y="104727"/>
                      </a:lnTo>
                      <a:lnTo>
                        <a:pt x="7706" y="37405"/>
                      </a:lnTo>
                      <a:close/>
                    </a:path>
                  </a:pathLst>
                </a:custGeom>
                <a:solidFill>
                  <a:schemeClr val="bg1"/>
                </a:solidFill>
                <a:ln w="9525" cap="flat">
                  <a:noFill/>
                  <a:prstDash val="solid"/>
                  <a:miter/>
                </a:ln>
              </p:spPr>
              <p:txBody>
                <a:bodyPr rtlCol="0" anchor="ctr"/>
                <a:lstStyle/>
                <a:p>
                  <a:endParaRPr lang="ja-JP" altLang="en-US" dirty="0"/>
                </a:p>
              </p:txBody>
            </p:sp>
            <p:sp>
              <p:nvSpPr>
                <p:cNvPr id="1089" name="フリーフォーム: 図形 40"/>
                <p:cNvSpPr/>
                <p:nvPr/>
              </p:nvSpPr>
              <p:spPr>
                <a:xfrm>
                  <a:off x="581697"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0 w 66675"/>
                    <a:gd name="connsiteY4" fmla="*/ 7144 h 76200"/>
                    <a:gd name="connsiteX5" fmla="*/ 62303 w 66675"/>
                    <a:gd name="connsiteY5" fmla="*/ 26803 h 76200"/>
                    <a:gd name="connsiteX6" fmla="*/ 62303 w 66675"/>
                    <a:gd name="connsiteY6" fmla="*/ 76029 h 76200"/>
                    <a:gd name="connsiteX7" fmla="*/ 48016 w 66675"/>
                    <a:gd name="connsiteY7" fmla="*/ 76029 h 76200"/>
                    <a:gd name="connsiteX8" fmla="*/ 48016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74" y="19736"/>
                        <a:pt x="30490" y="7144"/>
                        <a:pt x="45330" y="7144"/>
                      </a:cubicBezTo>
                      <a:cubicBezTo>
                        <a:pt x="57217" y="7144"/>
                        <a:pt x="62303" y="17040"/>
                        <a:pt x="62303" y="26803"/>
                      </a:cubicBezTo>
                      <a:lnTo>
                        <a:pt x="62303" y="76029"/>
                      </a:lnTo>
                      <a:lnTo>
                        <a:pt x="48016" y="76029"/>
                      </a:lnTo>
                      <a:lnTo>
                        <a:pt x="48016" y="33871"/>
                      </a:lnTo>
                      <a:cubicBezTo>
                        <a:pt x="48016" y="25384"/>
                        <a:pt x="46739" y="17745"/>
                        <a:pt x="39529" y="17745"/>
                      </a:cubicBezTo>
                      <a:cubicBezTo>
                        <a:pt x="2538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090" name="フリーフォーム: 図形 41"/>
                <p:cNvSpPr/>
                <p:nvPr/>
              </p:nvSpPr>
              <p:spPr>
                <a:xfrm>
                  <a:off x="657945" y="5857776"/>
                  <a:ext cx="28575" cy="104775"/>
                </a:xfrm>
                <a:custGeom>
                  <a:avLst/>
                  <a:gdLst>
                    <a:gd name="connsiteX0" fmla="*/ 7144 w 28575"/>
                    <a:gd name="connsiteY0" fmla="*/ 7144 h 104775"/>
                    <a:gd name="connsiteX1" fmla="*/ 22555 w 28575"/>
                    <a:gd name="connsiteY1" fmla="*/ 7144 h 104775"/>
                    <a:gd name="connsiteX2" fmla="*/ 22555 w 28575"/>
                    <a:gd name="connsiteY2" fmla="*/ 21279 h 104775"/>
                    <a:gd name="connsiteX3" fmla="*/ 7144 w 28575"/>
                    <a:gd name="connsiteY3" fmla="*/ 21279 h 104775"/>
                    <a:gd name="connsiteX4" fmla="*/ 7144 w 28575"/>
                    <a:gd name="connsiteY4" fmla="*/ 7144 h 104775"/>
                    <a:gd name="connsiteX5" fmla="*/ 7715 w 28575"/>
                    <a:gd name="connsiteY5" fmla="*/ 37405 h 104775"/>
                    <a:gd name="connsiteX6" fmla="*/ 22003 w 28575"/>
                    <a:gd name="connsiteY6" fmla="*/ 37405 h 104775"/>
                    <a:gd name="connsiteX7" fmla="*/ 22003 w 28575"/>
                    <a:gd name="connsiteY7" fmla="*/ 104727 h 104775"/>
                    <a:gd name="connsiteX8" fmla="*/ 7715 w 28575"/>
                    <a:gd name="connsiteY8" fmla="*/ 104727 h 104775"/>
                    <a:gd name="connsiteX9" fmla="*/ 7715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55" y="7144"/>
                      </a:lnTo>
                      <a:lnTo>
                        <a:pt x="22555" y="21279"/>
                      </a:lnTo>
                      <a:lnTo>
                        <a:pt x="7144" y="21279"/>
                      </a:lnTo>
                      <a:lnTo>
                        <a:pt x="7144" y="7144"/>
                      </a:lnTo>
                      <a:close/>
                      <a:moveTo>
                        <a:pt x="7715" y="37405"/>
                      </a:moveTo>
                      <a:lnTo>
                        <a:pt x="22003" y="37405"/>
                      </a:lnTo>
                      <a:lnTo>
                        <a:pt x="22003" y="104727"/>
                      </a:lnTo>
                      <a:lnTo>
                        <a:pt x="7715" y="104727"/>
                      </a:lnTo>
                      <a:lnTo>
                        <a:pt x="7715" y="37405"/>
                      </a:lnTo>
                      <a:close/>
                    </a:path>
                  </a:pathLst>
                </a:custGeom>
                <a:solidFill>
                  <a:schemeClr val="bg1"/>
                </a:solidFill>
                <a:ln w="9525" cap="flat">
                  <a:noFill/>
                  <a:prstDash val="solid"/>
                  <a:miter/>
                </a:ln>
              </p:spPr>
              <p:txBody>
                <a:bodyPr rtlCol="0" anchor="ctr"/>
                <a:lstStyle/>
                <a:p>
                  <a:endParaRPr lang="ja-JP" altLang="en-US" dirty="0"/>
                </a:p>
              </p:txBody>
            </p:sp>
            <p:sp>
              <p:nvSpPr>
                <p:cNvPr id="1091" name="フリーフォーム: 図形 42"/>
                <p:cNvSpPr/>
                <p:nvPr/>
              </p:nvSpPr>
              <p:spPr>
                <a:xfrm>
                  <a:off x="691606" y="5886465"/>
                  <a:ext cx="57150" cy="76200"/>
                </a:xfrm>
                <a:custGeom>
                  <a:avLst/>
                  <a:gdLst>
                    <a:gd name="connsiteX0" fmla="*/ 46606 w 57150"/>
                    <a:gd name="connsiteY0" fmla="*/ 22003 h 76200"/>
                    <a:gd name="connsiteX1" fmla="*/ 29642 w 57150"/>
                    <a:gd name="connsiteY1" fmla="*/ 15364 h 76200"/>
                    <a:gd name="connsiteX2" fmla="*/ 20021 w 57150"/>
                    <a:gd name="connsiteY2" fmla="*/ 22431 h 76200"/>
                    <a:gd name="connsiteX3" fmla="*/ 50854 w 57150"/>
                    <a:gd name="connsiteY3" fmla="*/ 57236 h 76200"/>
                    <a:gd name="connsiteX4" fmla="*/ 25251 w 57150"/>
                    <a:gd name="connsiteY4" fmla="*/ 77591 h 76200"/>
                    <a:gd name="connsiteX5" fmla="*/ 7277 w 57150"/>
                    <a:gd name="connsiteY5" fmla="*/ 74628 h 76200"/>
                    <a:gd name="connsiteX6" fmla="*/ 7277 w 57150"/>
                    <a:gd name="connsiteY6" fmla="*/ 61474 h 76200"/>
                    <a:gd name="connsiteX7" fmla="*/ 25946 w 57150"/>
                    <a:gd name="connsiteY7" fmla="*/ 68542 h 76200"/>
                    <a:gd name="connsiteX8" fmla="*/ 37548 w 57150"/>
                    <a:gd name="connsiteY8" fmla="*/ 60055 h 76200"/>
                    <a:gd name="connsiteX9" fmla="*/ 7144 w 57150"/>
                    <a:gd name="connsiteY9" fmla="*/ 26527 h 76200"/>
                    <a:gd name="connsiteX10" fmla="*/ 30756 w 57150"/>
                    <a:gd name="connsiteY10" fmla="*/ 7144 h 76200"/>
                    <a:gd name="connsiteX11" fmla="*/ 46596 w 57150"/>
                    <a:gd name="connsiteY11" fmla="*/ 9820 h 76200"/>
                    <a:gd name="connsiteX12" fmla="*/ 4659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06" y="22003"/>
                      </a:moveTo>
                      <a:cubicBezTo>
                        <a:pt x="41796" y="18745"/>
                        <a:pt x="36433" y="15364"/>
                        <a:pt x="29642" y="15364"/>
                      </a:cubicBezTo>
                      <a:cubicBezTo>
                        <a:pt x="25108" y="15364"/>
                        <a:pt x="20021" y="17336"/>
                        <a:pt x="20021" y="22431"/>
                      </a:cubicBezTo>
                      <a:cubicBezTo>
                        <a:pt x="20021" y="34595"/>
                        <a:pt x="50854" y="35728"/>
                        <a:pt x="50854" y="57236"/>
                      </a:cubicBezTo>
                      <a:cubicBezTo>
                        <a:pt x="50854" y="71656"/>
                        <a:pt x="39538" y="77591"/>
                        <a:pt x="25251" y="77591"/>
                      </a:cubicBezTo>
                      <a:cubicBezTo>
                        <a:pt x="16621" y="77591"/>
                        <a:pt x="10678" y="75771"/>
                        <a:pt x="7277" y="74628"/>
                      </a:cubicBezTo>
                      <a:lnTo>
                        <a:pt x="7277" y="61474"/>
                      </a:lnTo>
                      <a:cubicBezTo>
                        <a:pt x="11382" y="64303"/>
                        <a:pt x="18031" y="68542"/>
                        <a:pt x="25946" y="68542"/>
                      </a:cubicBezTo>
                      <a:cubicBezTo>
                        <a:pt x="34147" y="68542"/>
                        <a:pt x="37548" y="64303"/>
                        <a:pt x="37548" y="60055"/>
                      </a:cubicBezTo>
                      <a:cubicBezTo>
                        <a:pt x="37548" y="48168"/>
                        <a:pt x="7144" y="45768"/>
                        <a:pt x="7144" y="26527"/>
                      </a:cubicBezTo>
                      <a:cubicBezTo>
                        <a:pt x="7144" y="16335"/>
                        <a:pt x="13935" y="7144"/>
                        <a:pt x="30756" y="7144"/>
                      </a:cubicBezTo>
                      <a:cubicBezTo>
                        <a:pt x="37976" y="7144"/>
                        <a:pt x="44196" y="9115"/>
                        <a:pt x="46596" y="9820"/>
                      </a:cubicBezTo>
                      <a:lnTo>
                        <a:pt x="46596" y="22003"/>
                      </a:lnTo>
                      <a:close/>
                    </a:path>
                  </a:pathLst>
                </a:custGeom>
                <a:solidFill>
                  <a:schemeClr val="bg1"/>
                </a:solidFill>
                <a:ln w="9525" cap="flat">
                  <a:noFill/>
                  <a:prstDash val="solid"/>
                  <a:miter/>
                </a:ln>
              </p:spPr>
              <p:txBody>
                <a:bodyPr rtlCol="0" anchor="ctr"/>
                <a:lstStyle/>
                <a:p>
                  <a:endParaRPr lang="ja-JP" altLang="en-US" dirty="0"/>
                </a:p>
              </p:txBody>
            </p:sp>
            <p:sp>
              <p:nvSpPr>
                <p:cNvPr id="1092" name="フリーフォーム: 図形 43"/>
                <p:cNvSpPr/>
                <p:nvPr/>
              </p:nvSpPr>
              <p:spPr>
                <a:xfrm>
                  <a:off x="745356" y="5863567"/>
                  <a:ext cx="57150" cy="104775"/>
                </a:xfrm>
                <a:custGeom>
                  <a:avLst/>
                  <a:gdLst>
                    <a:gd name="connsiteX0" fmla="*/ 49016 w 57150"/>
                    <a:gd name="connsiteY0" fmla="*/ 99498 h 104775"/>
                    <a:gd name="connsiteX1" fmla="*/ 39119 w 57150"/>
                    <a:gd name="connsiteY1" fmla="*/ 100489 h 104775"/>
                    <a:gd name="connsiteX2" fmla="*/ 17897 w 57150"/>
                    <a:gd name="connsiteY2" fmla="*/ 83372 h 104775"/>
                    <a:gd name="connsiteX3" fmla="*/ 17897 w 57150"/>
                    <a:gd name="connsiteY3" fmla="*/ 38967 h 104775"/>
                    <a:gd name="connsiteX4" fmla="*/ 7144 w 57150"/>
                    <a:gd name="connsiteY4" fmla="*/ 38967 h 104775"/>
                    <a:gd name="connsiteX5" fmla="*/ 7144 w 57150"/>
                    <a:gd name="connsiteY5" fmla="*/ 31623 h 104775"/>
                    <a:gd name="connsiteX6" fmla="*/ 17897 w 57150"/>
                    <a:gd name="connsiteY6" fmla="*/ 31623 h 104775"/>
                    <a:gd name="connsiteX7" fmla="*/ 17897 w 57150"/>
                    <a:gd name="connsiteY7" fmla="*/ 15773 h 104775"/>
                    <a:gd name="connsiteX8" fmla="*/ 32185 w 57150"/>
                    <a:gd name="connsiteY8" fmla="*/ 7144 h 104775"/>
                    <a:gd name="connsiteX9" fmla="*/ 32185 w 57150"/>
                    <a:gd name="connsiteY9" fmla="*/ 31623 h 104775"/>
                    <a:gd name="connsiteX10" fmla="*/ 50568 w 57150"/>
                    <a:gd name="connsiteY10" fmla="*/ 31623 h 104775"/>
                    <a:gd name="connsiteX11" fmla="*/ 50568 w 57150"/>
                    <a:gd name="connsiteY11" fmla="*/ 38967 h 104775"/>
                    <a:gd name="connsiteX12" fmla="*/ 32185 w 57150"/>
                    <a:gd name="connsiteY12" fmla="*/ 38967 h 104775"/>
                    <a:gd name="connsiteX13" fmla="*/ 32185 w 57150"/>
                    <a:gd name="connsiteY13" fmla="*/ 77714 h 104775"/>
                    <a:gd name="connsiteX14" fmla="*/ 42367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77" y="100489"/>
                        <a:pt x="39119" y="100489"/>
                      </a:cubicBezTo>
                      <a:cubicBezTo>
                        <a:pt x="25679" y="100489"/>
                        <a:pt x="17897" y="96393"/>
                        <a:pt x="17897" y="83372"/>
                      </a:cubicBezTo>
                      <a:lnTo>
                        <a:pt x="17897" y="38967"/>
                      </a:lnTo>
                      <a:lnTo>
                        <a:pt x="7144" y="38967"/>
                      </a:lnTo>
                      <a:lnTo>
                        <a:pt x="7144" y="31623"/>
                      </a:lnTo>
                      <a:lnTo>
                        <a:pt x="17897" y="31623"/>
                      </a:lnTo>
                      <a:lnTo>
                        <a:pt x="17897" y="15773"/>
                      </a:lnTo>
                      <a:lnTo>
                        <a:pt x="32185" y="7144"/>
                      </a:lnTo>
                      <a:lnTo>
                        <a:pt x="32185" y="31623"/>
                      </a:lnTo>
                      <a:lnTo>
                        <a:pt x="50568" y="31623"/>
                      </a:lnTo>
                      <a:lnTo>
                        <a:pt x="50568" y="38967"/>
                      </a:lnTo>
                      <a:lnTo>
                        <a:pt x="32185" y="38967"/>
                      </a:lnTo>
                      <a:lnTo>
                        <a:pt x="32185" y="77714"/>
                      </a:lnTo>
                      <a:cubicBezTo>
                        <a:pt x="32185" y="87611"/>
                        <a:pt x="33176" y="92430"/>
                        <a:pt x="42367" y="92430"/>
                      </a:cubicBezTo>
                      <a:cubicBezTo>
                        <a:pt x="44625" y="92430"/>
                        <a:pt x="47034" y="92154"/>
                        <a:pt x="49006" y="91297"/>
                      </a:cubicBezTo>
                      <a:lnTo>
                        <a:pt x="49006" y="99498"/>
                      </a:lnTo>
                      <a:close/>
                    </a:path>
                  </a:pathLst>
                </a:custGeom>
                <a:solidFill>
                  <a:schemeClr val="bg1"/>
                </a:solidFill>
                <a:ln w="9525" cap="flat">
                  <a:noFill/>
                  <a:prstDash val="solid"/>
                  <a:miter/>
                </a:ln>
              </p:spPr>
              <p:txBody>
                <a:bodyPr rtlCol="0" anchor="ctr"/>
                <a:lstStyle/>
                <a:p>
                  <a:endParaRPr lang="ja-JP" altLang="en-US" dirty="0"/>
                </a:p>
              </p:txBody>
            </p:sp>
            <p:sp>
              <p:nvSpPr>
                <p:cNvPr id="1093" name="フリーフォーム: 図形 44"/>
                <p:cNvSpPr/>
                <p:nvPr/>
              </p:nvSpPr>
              <p:spPr>
                <a:xfrm>
                  <a:off x="801515"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094" name="フリーフォーム: 図形 45"/>
                <p:cNvSpPr/>
                <p:nvPr/>
              </p:nvSpPr>
              <p:spPr>
                <a:xfrm>
                  <a:off x="841253" y="5888037"/>
                  <a:ext cx="76200" cy="104775"/>
                </a:xfrm>
                <a:custGeom>
                  <a:avLst/>
                  <a:gdLst>
                    <a:gd name="connsiteX0" fmla="*/ 33033 w 76200"/>
                    <a:gd name="connsiteY0" fmla="*/ 75181 h 104775"/>
                    <a:gd name="connsiteX1" fmla="*/ 7144 w 76200"/>
                    <a:gd name="connsiteY1" fmla="*/ 7144 h 104775"/>
                    <a:gd name="connsiteX2" fmla="*/ 22003 w 76200"/>
                    <a:gd name="connsiteY2" fmla="*/ 7144 h 104775"/>
                    <a:gd name="connsiteX3" fmla="*/ 39681 w 76200"/>
                    <a:gd name="connsiteY3" fmla="*/ 55235 h 104775"/>
                    <a:gd name="connsiteX4" fmla="*/ 39957 w 76200"/>
                    <a:gd name="connsiteY4" fmla="*/ 55235 h 104775"/>
                    <a:gd name="connsiteX5" fmla="*/ 55797 w 76200"/>
                    <a:gd name="connsiteY5" fmla="*/ 7144 h 104775"/>
                    <a:gd name="connsiteX6" fmla="*/ 69237 w 76200"/>
                    <a:gd name="connsiteY6" fmla="*/ 7144 h 104775"/>
                    <a:gd name="connsiteX7" fmla="*/ 34576 w 76200"/>
                    <a:gd name="connsiteY7" fmla="*/ 104737 h 104775"/>
                    <a:gd name="connsiteX8" fmla="*/ 23117 w 76200"/>
                    <a:gd name="connsiteY8" fmla="*/ 104737 h 104775"/>
                    <a:gd name="connsiteX9" fmla="*/ 33033 w 76200"/>
                    <a:gd name="connsiteY9" fmla="*/ 7518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104775">
                      <a:moveTo>
                        <a:pt x="33033" y="75181"/>
                      </a:moveTo>
                      <a:lnTo>
                        <a:pt x="7144" y="7144"/>
                      </a:lnTo>
                      <a:lnTo>
                        <a:pt x="22003" y="7144"/>
                      </a:lnTo>
                      <a:lnTo>
                        <a:pt x="39681" y="55235"/>
                      </a:lnTo>
                      <a:lnTo>
                        <a:pt x="39957" y="55235"/>
                      </a:lnTo>
                      <a:lnTo>
                        <a:pt x="55797" y="7144"/>
                      </a:lnTo>
                      <a:lnTo>
                        <a:pt x="69237" y="7144"/>
                      </a:lnTo>
                      <a:lnTo>
                        <a:pt x="34576" y="104737"/>
                      </a:lnTo>
                      <a:lnTo>
                        <a:pt x="23117" y="104737"/>
                      </a:lnTo>
                      <a:lnTo>
                        <a:pt x="33033" y="75181"/>
                      </a:lnTo>
                      <a:close/>
                    </a:path>
                  </a:pathLst>
                </a:custGeom>
                <a:solidFill>
                  <a:schemeClr val="bg1"/>
                </a:solidFill>
                <a:ln w="9525" cap="flat">
                  <a:noFill/>
                  <a:prstDash val="solid"/>
                  <a:miter/>
                </a:ln>
              </p:spPr>
              <p:txBody>
                <a:bodyPr rtlCol="0" anchor="ctr"/>
                <a:lstStyle/>
                <a:p>
                  <a:endParaRPr lang="ja-JP" altLang="en-US" dirty="0"/>
                </a:p>
              </p:txBody>
            </p:sp>
            <p:sp>
              <p:nvSpPr>
                <p:cNvPr id="1095" name="フリーフォーム: 図形 46"/>
                <p:cNvSpPr/>
                <p:nvPr/>
              </p:nvSpPr>
              <p:spPr>
                <a:xfrm>
                  <a:off x="948762" y="5886475"/>
                  <a:ext cx="66675" cy="76200"/>
                </a:xfrm>
                <a:custGeom>
                  <a:avLst/>
                  <a:gdLst>
                    <a:gd name="connsiteX0" fmla="*/ 7144 w 66675"/>
                    <a:gd name="connsiteY0" fmla="*/ 42358 h 76200"/>
                    <a:gd name="connsiteX1" fmla="*/ 36843 w 66675"/>
                    <a:gd name="connsiteY1" fmla="*/ 7144 h 76200"/>
                    <a:gd name="connsiteX2" fmla="*/ 66694 w 66675"/>
                    <a:gd name="connsiteY2" fmla="*/ 42358 h 76200"/>
                    <a:gd name="connsiteX3" fmla="*/ 36843 w 66675"/>
                    <a:gd name="connsiteY3" fmla="*/ 77571 h 76200"/>
                    <a:gd name="connsiteX4" fmla="*/ 7144 w 66675"/>
                    <a:gd name="connsiteY4" fmla="*/ 42358 h 76200"/>
                    <a:gd name="connsiteX5" fmla="*/ 36843 w 66675"/>
                    <a:gd name="connsiteY5" fmla="*/ 71647 h 76200"/>
                    <a:gd name="connsiteX6" fmla="*/ 51130 w 66675"/>
                    <a:gd name="connsiteY6" fmla="*/ 42367 h 76200"/>
                    <a:gd name="connsiteX7" fmla="*/ 36843 w 66675"/>
                    <a:gd name="connsiteY7" fmla="*/ 13087 h 76200"/>
                    <a:gd name="connsiteX8" fmla="*/ 22708 w 66675"/>
                    <a:gd name="connsiteY8" fmla="*/ 42367 h 76200"/>
                    <a:gd name="connsiteX9" fmla="*/ 36843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40" y="7144"/>
                        <a:pt x="36843" y="7144"/>
                      </a:cubicBezTo>
                      <a:cubicBezTo>
                        <a:pt x="56645" y="7144"/>
                        <a:pt x="66694" y="19593"/>
                        <a:pt x="66694" y="42358"/>
                      </a:cubicBezTo>
                      <a:cubicBezTo>
                        <a:pt x="66694" y="65122"/>
                        <a:pt x="56645" y="77571"/>
                        <a:pt x="36843" y="77571"/>
                      </a:cubicBezTo>
                      <a:cubicBezTo>
                        <a:pt x="17040" y="77571"/>
                        <a:pt x="7144" y="65132"/>
                        <a:pt x="7144" y="42358"/>
                      </a:cubicBezTo>
                      <a:close/>
                      <a:moveTo>
                        <a:pt x="36843" y="71647"/>
                      </a:moveTo>
                      <a:cubicBezTo>
                        <a:pt x="49578" y="71647"/>
                        <a:pt x="51130" y="54683"/>
                        <a:pt x="51130" y="42367"/>
                      </a:cubicBezTo>
                      <a:cubicBezTo>
                        <a:pt x="51130" y="30070"/>
                        <a:pt x="49578" y="13087"/>
                        <a:pt x="36843" y="13087"/>
                      </a:cubicBezTo>
                      <a:cubicBezTo>
                        <a:pt x="24260" y="13087"/>
                        <a:pt x="22708" y="30070"/>
                        <a:pt x="22708" y="42367"/>
                      </a:cubicBezTo>
                      <a:cubicBezTo>
                        <a:pt x="22698" y="54673"/>
                        <a:pt x="24251" y="71647"/>
                        <a:pt x="36843" y="71647"/>
                      </a:cubicBezTo>
                      <a:close/>
                    </a:path>
                  </a:pathLst>
                </a:custGeom>
                <a:solidFill>
                  <a:schemeClr val="bg1"/>
                </a:solidFill>
                <a:ln w="9525" cap="flat">
                  <a:noFill/>
                  <a:prstDash val="solid"/>
                  <a:miter/>
                </a:ln>
              </p:spPr>
              <p:txBody>
                <a:bodyPr rtlCol="0" anchor="ctr"/>
                <a:lstStyle/>
                <a:p>
                  <a:endParaRPr lang="ja-JP" altLang="en-US" dirty="0"/>
                </a:p>
              </p:txBody>
            </p:sp>
            <p:sp>
              <p:nvSpPr>
                <p:cNvPr id="1096" name="フリーフォーム: 図形 47"/>
                <p:cNvSpPr/>
                <p:nvPr/>
              </p:nvSpPr>
              <p:spPr>
                <a:xfrm>
                  <a:off x="1017637" y="5856214"/>
                  <a:ext cx="57150" cy="104775"/>
                </a:xfrm>
                <a:custGeom>
                  <a:avLst/>
                  <a:gdLst>
                    <a:gd name="connsiteX0" fmla="*/ 18878 w 57150"/>
                    <a:gd name="connsiteY0" fmla="*/ 46320 h 104775"/>
                    <a:gd name="connsiteX1" fmla="*/ 7144 w 57150"/>
                    <a:gd name="connsiteY1" fmla="*/ 46320 h 104775"/>
                    <a:gd name="connsiteX2" fmla="*/ 7144 w 57150"/>
                    <a:gd name="connsiteY2" fmla="*/ 38976 h 104775"/>
                    <a:gd name="connsiteX3" fmla="*/ 18878 w 57150"/>
                    <a:gd name="connsiteY3" fmla="*/ 38976 h 104775"/>
                    <a:gd name="connsiteX4" fmla="*/ 18878 w 57150"/>
                    <a:gd name="connsiteY4" fmla="*/ 32613 h 104775"/>
                    <a:gd name="connsiteX5" fmla="*/ 44482 w 57150"/>
                    <a:gd name="connsiteY5" fmla="*/ 7144 h 104775"/>
                    <a:gd name="connsiteX6" fmla="*/ 58769 w 57150"/>
                    <a:gd name="connsiteY6" fmla="*/ 8706 h 104775"/>
                    <a:gd name="connsiteX7" fmla="*/ 58769 w 57150"/>
                    <a:gd name="connsiteY7" fmla="*/ 18450 h 104775"/>
                    <a:gd name="connsiteX8" fmla="*/ 46177 w 57150"/>
                    <a:gd name="connsiteY8" fmla="*/ 15345 h 104775"/>
                    <a:gd name="connsiteX9" fmla="*/ 33166 w 57150"/>
                    <a:gd name="connsiteY9" fmla="*/ 30899 h 104775"/>
                    <a:gd name="connsiteX10" fmla="*/ 33166 w 57150"/>
                    <a:gd name="connsiteY10" fmla="*/ 38976 h 104775"/>
                    <a:gd name="connsiteX11" fmla="*/ 52264 w 57150"/>
                    <a:gd name="connsiteY11" fmla="*/ 38976 h 104775"/>
                    <a:gd name="connsiteX12" fmla="*/ 52264 w 57150"/>
                    <a:gd name="connsiteY12" fmla="*/ 46320 h 104775"/>
                    <a:gd name="connsiteX13" fmla="*/ 33166 w 57150"/>
                    <a:gd name="connsiteY13" fmla="*/ 46320 h 104775"/>
                    <a:gd name="connsiteX14" fmla="*/ 33166 w 57150"/>
                    <a:gd name="connsiteY14" fmla="*/ 106299 h 104775"/>
                    <a:gd name="connsiteX15" fmla="*/ 18878 w 57150"/>
                    <a:gd name="connsiteY15" fmla="*/ 106299 h 104775"/>
                    <a:gd name="connsiteX16" fmla="*/ 18878 w 57150"/>
                    <a:gd name="connsiteY16" fmla="*/ 463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18878" y="46320"/>
                      </a:moveTo>
                      <a:lnTo>
                        <a:pt x="7144" y="46320"/>
                      </a:lnTo>
                      <a:lnTo>
                        <a:pt x="7144" y="38976"/>
                      </a:lnTo>
                      <a:lnTo>
                        <a:pt x="18878" y="38976"/>
                      </a:lnTo>
                      <a:lnTo>
                        <a:pt x="18878" y="32613"/>
                      </a:lnTo>
                      <a:cubicBezTo>
                        <a:pt x="18878" y="20145"/>
                        <a:pt x="21860" y="7144"/>
                        <a:pt x="44482" y="7144"/>
                      </a:cubicBezTo>
                      <a:cubicBezTo>
                        <a:pt x="50273" y="7144"/>
                        <a:pt x="55378" y="8001"/>
                        <a:pt x="58769" y="8706"/>
                      </a:cubicBezTo>
                      <a:lnTo>
                        <a:pt x="58769" y="18450"/>
                      </a:lnTo>
                      <a:cubicBezTo>
                        <a:pt x="55788" y="17183"/>
                        <a:pt x="51978" y="15345"/>
                        <a:pt x="46177" y="15345"/>
                      </a:cubicBezTo>
                      <a:cubicBezTo>
                        <a:pt x="34576" y="15345"/>
                        <a:pt x="33166" y="23698"/>
                        <a:pt x="33166" y="30899"/>
                      </a:cubicBezTo>
                      <a:lnTo>
                        <a:pt x="33166" y="38976"/>
                      </a:lnTo>
                      <a:lnTo>
                        <a:pt x="52264" y="38976"/>
                      </a:lnTo>
                      <a:lnTo>
                        <a:pt x="52264" y="46320"/>
                      </a:lnTo>
                      <a:lnTo>
                        <a:pt x="33166" y="46320"/>
                      </a:lnTo>
                      <a:lnTo>
                        <a:pt x="33166" y="106299"/>
                      </a:lnTo>
                      <a:lnTo>
                        <a:pt x="18878" y="106299"/>
                      </a:lnTo>
                      <a:lnTo>
                        <a:pt x="18878" y="46320"/>
                      </a:lnTo>
                      <a:close/>
                    </a:path>
                  </a:pathLst>
                </a:custGeom>
                <a:solidFill>
                  <a:schemeClr val="bg1"/>
                </a:solidFill>
                <a:ln w="9525" cap="flat">
                  <a:noFill/>
                  <a:prstDash val="solid"/>
                  <a:miter/>
                </a:ln>
              </p:spPr>
              <p:txBody>
                <a:bodyPr rtlCol="0" anchor="ctr"/>
                <a:lstStyle/>
                <a:p>
                  <a:endParaRPr lang="ja-JP" altLang="en-US" dirty="0"/>
                </a:p>
              </p:txBody>
            </p:sp>
            <p:sp>
              <p:nvSpPr>
                <p:cNvPr id="1097" name="フリーフォーム: 図形 48"/>
                <p:cNvSpPr/>
                <p:nvPr/>
              </p:nvSpPr>
              <p:spPr>
                <a:xfrm>
                  <a:off x="1114811" y="5857776"/>
                  <a:ext cx="57150" cy="104775"/>
                </a:xfrm>
                <a:custGeom>
                  <a:avLst/>
                  <a:gdLst>
                    <a:gd name="connsiteX0" fmla="*/ 7144 w 57150"/>
                    <a:gd name="connsiteY0" fmla="*/ 7144 h 104775"/>
                    <a:gd name="connsiteX1" fmla="*/ 22708 w 57150"/>
                    <a:gd name="connsiteY1" fmla="*/ 7144 h 104775"/>
                    <a:gd name="connsiteX2" fmla="*/ 22708 w 57150"/>
                    <a:gd name="connsiteY2" fmla="*/ 94545 h 104775"/>
                    <a:gd name="connsiteX3" fmla="*/ 58769 w 57150"/>
                    <a:gd name="connsiteY3" fmla="*/ 94545 h 104775"/>
                    <a:gd name="connsiteX4" fmla="*/ 58769 w 57150"/>
                    <a:gd name="connsiteY4" fmla="*/ 104737 h 104775"/>
                    <a:gd name="connsiteX5" fmla="*/ 7144 w 57150"/>
                    <a:gd name="connsiteY5" fmla="*/ 104737 h 104775"/>
                    <a:gd name="connsiteX6" fmla="*/ 7144 w 57150"/>
                    <a:gd name="connsiteY6"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04775">
                      <a:moveTo>
                        <a:pt x="7144" y="7144"/>
                      </a:moveTo>
                      <a:lnTo>
                        <a:pt x="22708" y="7144"/>
                      </a:lnTo>
                      <a:lnTo>
                        <a:pt x="22708" y="94545"/>
                      </a:lnTo>
                      <a:lnTo>
                        <a:pt x="58769" y="94545"/>
                      </a:lnTo>
                      <a:lnTo>
                        <a:pt x="58769" y="104737"/>
                      </a:lnTo>
                      <a:lnTo>
                        <a:pt x="7144" y="104737"/>
                      </a:lnTo>
                      <a:lnTo>
                        <a:pt x="7144" y="7144"/>
                      </a:lnTo>
                      <a:close/>
                    </a:path>
                  </a:pathLst>
                </a:custGeom>
                <a:solidFill>
                  <a:schemeClr val="bg1"/>
                </a:solidFill>
                <a:ln w="9525" cap="flat">
                  <a:noFill/>
                  <a:prstDash val="solid"/>
                  <a:miter/>
                </a:ln>
              </p:spPr>
              <p:txBody>
                <a:bodyPr rtlCol="0" anchor="ctr"/>
                <a:lstStyle/>
                <a:p>
                  <a:endParaRPr lang="ja-JP" altLang="en-US" dirty="0"/>
                </a:p>
              </p:txBody>
            </p:sp>
            <p:sp>
              <p:nvSpPr>
                <p:cNvPr id="1098" name="フリーフォーム: 図形 49"/>
                <p:cNvSpPr/>
                <p:nvPr/>
              </p:nvSpPr>
              <p:spPr>
                <a:xfrm>
                  <a:off x="1172523" y="5886475"/>
                  <a:ext cx="57150" cy="76200"/>
                </a:xfrm>
                <a:custGeom>
                  <a:avLst/>
                  <a:gdLst>
                    <a:gd name="connsiteX0" fmla="*/ 44768 w 57150"/>
                    <a:gd name="connsiteY0" fmla="*/ 66694 h 76200"/>
                    <a:gd name="connsiteX1" fmla="*/ 44491 w 57150"/>
                    <a:gd name="connsiteY1" fmla="*/ 66694 h 76200"/>
                    <a:gd name="connsiteX2" fmla="*/ 25537 w 57150"/>
                    <a:gd name="connsiteY2" fmla="*/ 77581 h 76200"/>
                    <a:gd name="connsiteX3" fmla="*/ 7144 w 57150"/>
                    <a:gd name="connsiteY3" fmla="*/ 60760 h 76200"/>
                    <a:gd name="connsiteX4" fmla="*/ 44768 w 57150"/>
                    <a:gd name="connsiteY4" fmla="*/ 38548 h 76200"/>
                    <a:gd name="connsiteX5" fmla="*/ 44768 w 57150"/>
                    <a:gd name="connsiteY5" fmla="*/ 32613 h 76200"/>
                    <a:gd name="connsiteX6" fmla="*/ 35290 w 57150"/>
                    <a:gd name="connsiteY6" fmla="*/ 13078 h 76200"/>
                    <a:gd name="connsiteX7" fmla="*/ 24394 w 57150"/>
                    <a:gd name="connsiteY7" fmla="*/ 27794 h 76200"/>
                    <a:gd name="connsiteX8" fmla="*/ 9401 w 57150"/>
                    <a:gd name="connsiteY8" fmla="*/ 27794 h 76200"/>
                    <a:gd name="connsiteX9" fmla="*/ 35290 w 57150"/>
                    <a:gd name="connsiteY9" fmla="*/ 7144 h 76200"/>
                    <a:gd name="connsiteX10" fmla="*/ 59055 w 57150"/>
                    <a:gd name="connsiteY10" fmla="*/ 32613 h 76200"/>
                    <a:gd name="connsiteX11" fmla="*/ 59055 w 57150"/>
                    <a:gd name="connsiteY11" fmla="*/ 76038 h 76200"/>
                    <a:gd name="connsiteX12" fmla="*/ 44768 w 57150"/>
                    <a:gd name="connsiteY12" fmla="*/ 76038 h 76200"/>
                    <a:gd name="connsiteX13" fmla="*/ 44768 w 57150"/>
                    <a:gd name="connsiteY13" fmla="*/ 66694 h 76200"/>
                    <a:gd name="connsiteX14" fmla="*/ 44768 w 57150"/>
                    <a:gd name="connsiteY14" fmla="*/ 44482 h 76200"/>
                    <a:gd name="connsiteX15" fmla="*/ 22708 w 57150"/>
                    <a:gd name="connsiteY15" fmla="*/ 58636 h 76200"/>
                    <a:gd name="connsiteX16" fmla="*/ 30909 w 57150"/>
                    <a:gd name="connsiteY16" fmla="*/ 68666 h 76200"/>
                    <a:gd name="connsiteX17" fmla="*/ 44768 w 57150"/>
                    <a:gd name="connsiteY17" fmla="*/ 52406 h 76200"/>
                    <a:gd name="connsiteX18" fmla="*/ 44768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68" y="66694"/>
                      </a:moveTo>
                      <a:lnTo>
                        <a:pt x="44491" y="66694"/>
                      </a:lnTo>
                      <a:cubicBezTo>
                        <a:pt x="42224" y="70656"/>
                        <a:pt x="36290" y="77581"/>
                        <a:pt x="25537" y="77581"/>
                      </a:cubicBezTo>
                      <a:cubicBezTo>
                        <a:pt x="14926" y="77581"/>
                        <a:pt x="7144" y="70085"/>
                        <a:pt x="7144" y="60760"/>
                      </a:cubicBezTo>
                      <a:cubicBezTo>
                        <a:pt x="7144" y="39957"/>
                        <a:pt x="35862" y="38976"/>
                        <a:pt x="44768" y="38548"/>
                      </a:cubicBezTo>
                      <a:lnTo>
                        <a:pt x="44768" y="32613"/>
                      </a:lnTo>
                      <a:cubicBezTo>
                        <a:pt x="44768" y="25251"/>
                        <a:pt x="44768" y="13078"/>
                        <a:pt x="35290" y="13078"/>
                      </a:cubicBezTo>
                      <a:cubicBezTo>
                        <a:pt x="26518" y="13078"/>
                        <a:pt x="24965" y="19869"/>
                        <a:pt x="24394" y="27794"/>
                      </a:cubicBezTo>
                      <a:lnTo>
                        <a:pt x="9401" y="27794"/>
                      </a:lnTo>
                      <a:cubicBezTo>
                        <a:pt x="10106" y="17745"/>
                        <a:pt x="14069" y="7144"/>
                        <a:pt x="35290" y="7144"/>
                      </a:cubicBezTo>
                      <a:cubicBezTo>
                        <a:pt x="57217" y="7144"/>
                        <a:pt x="59055" y="19440"/>
                        <a:pt x="59055" y="32613"/>
                      </a:cubicBezTo>
                      <a:lnTo>
                        <a:pt x="59055" y="76038"/>
                      </a:lnTo>
                      <a:lnTo>
                        <a:pt x="44768" y="76038"/>
                      </a:lnTo>
                      <a:lnTo>
                        <a:pt x="44768" y="66694"/>
                      </a:lnTo>
                      <a:close/>
                      <a:moveTo>
                        <a:pt x="44768" y="44482"/>
                      </a:moveTo>
                      <a:cubicBezTo>
                        <a:pt x="38824" y="44910"/>
                        <a:pt x="22708" y="46177"/>
                        <a:pt x="22708" y="58636"/>
                      </a:cubicBezTo>
                      <a:cubicBezTo>
                        <a:pt x="22708" y="64703"/>
                        <a:pt x="26241" y="68666"/>
                        <a:pt x="30909" y="68666"/>
                      </a:cubicBezTo>
                      <a:cubicBezTo>
                        <a:pt x="35862" y="68666"/>
                        <a:pt x="44768" y="63865"/>
                        <a:pt x="44768" y="52406"/>
                      </a:cubicBezTo>
                      <a:lnTo>
                        <a:pt x="44768" y="44482"/>
                      </a:lnTo>
                      <a:close/>
                    </a:path>
                  </a:pathLst>
                </a:custGeom>
                <a:solidFill>
                  <a:schemeClr val="bg1"/>
                </a:solidFill>
                <a:ln w="9525" cap="flat">
                  <a:noFill/>
                  <a:prstDash val="solid"/>
                  <a:miter/>
                </a:ln>
              </p:spPr>
              <p:txBody>
                <a:bodyPr rtlCol="0" anchor="ctr"/>
                <a:lstStyle/>
                <a:p>
                  <a:endParaRPr lang="ja-JP" altLang="en-US" dirty="0"/>
                </a:p>
              </p:txBody>
            </p:sp>
            <p:sp>
              <p:nvSpPr>
                <p:cNvPr id="1099" name="フリーフォーム: 図形 50"/>
                <p:cNvSpPr/>
                <p:nvPr/>
              </p:nvSpPr>
              <p:spPr>
                <a:xfrm>
                  <a:off x="1245075"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03 w 66675"/>
                    <a:gd name="connsiteY5" fmla="*/ 26803 h 76200"/>
                    <a:gd name="connsiteX6" fmla="*/ 62303 w 66675"/>
                    <a:gd name="connsiteY6" fmla="*/ 76029 h 76200"/>
                    <a:gd name="connsiteX7" fmla="*/ 48016 w 66675"/>
                    <a:gd name="connsiteY7" fmla="*/ 76029 h 76200"/>
                    <a:gd name="connsiteX8" fmla="*/ 48016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74" y="19736"/>
                        <a:pt x="30489" y="7144"/>
                        <a:pt x="45339" y="7144"/>
                      </a:cubicBezTo>
                      <a:cubicBezTo>
                        <a:pt x="57217" y="7144"/>
                        <a:pt x="62303" y="17040"/>
                        <a:pt x="62303" y="26803"/>
                      </a:cubicBezTo>
                      <a:lnTo>
                        <a:pt x="62303" y="76029"/>
                      </a:lnTo>
                      <a:lnTo>
                        <a:pt x="48016" y="76029"/>
                      </a:lnTo>
                      <a:lnTo>
                        <a:pt x="48016" y="33871"/>
                      </a:lnTo>
                      <a:cubicBezTo>
                        <a:pt x="48016" y="25384"/>
                        <a:pt x="46749" y="17745"/>
                        <a:pt x="39529" y="17745"/>
                      </a:cubicBezTo>
                      <a:cubicBezTo>
                        <a:pt x="2538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100" name="フリーフォーム: 図形 51"/>
                <p:cNvSpPr/>
                <p:nvPr/>
              </p:nvSpPr>
              <p:spPr>
                <a:xfrm>
                  <a:off x="1316379" y="5857776"/>
                  <a:ext cx="66675" cy="104775"/>
                </a:xfrm>
                <a:custGeom>
                  <a:avLst/>
                  <a:gdLst>
                    <a:gd name="connsiteX0" fmla="*/ 50283 w 66675"/>
                    <a:gd name="connsiteY0" fmla="*/ 93697 h 104775"/>
                    <a:gd name="connsiteX1" fmla="*/ 49997 w 66675"/>
                    <a:gd name="connsiteY1" fmla="*/ 93697 h 104775"/>
                    <a:gd name="connsiteX2" fmla="*/ 32461 w 66675"/>
                    <a:gd name="connsiteY2" fmla="*/ 106270 h 104775"/>
                    <a:gd name="connsiteX3" fmla="*/ 7144 w 66675"/>
                    <a:gd name="connsiteY3" fmla="*/ 71056 h 104775"/>
                    <a:gd name="connsiteX4" fmla="*/ 32461 w 66675"/>
                    <a:gd name="connsiteY4" fmla="*/ 35843 h 104775"/>
                    <a:gd name="connsiteX5" fmla="*/ 49997 w 66675"/>
                    <a:gd name="connsiteY5" fmla="*/ 46729 h 104775"/>
                    <a:gd name="connsiteX6" fmla="*/ 50283 w 66675"/>
                    <a:gd name="connsiteY6" fmla="*/ 46729 h 104775"/>
                    <a:gd name="connsiteX7" fmla="*/ 50283 w 66675"/>
                    <a:gd name="connsiteY7" fmla="*/ 7144 h 104775"/>
                    <a:gd name="connsiteX8" fmla="*/ 64570 w 66675"/>
                    <a:gd name="connsiteY8" fmla="*/ 7144 h 104775"/>
                    <a:gd name="connsiteX9" fmla="*/ 64570 w 66675"/>
                    <a:gd name="connsiteY9" fmla="*/ 104737 h 104775"/>
                    <a:gd name="connsiteX10" fmla="*/ 50283 w 66675"/>
                    <a:gd name="connsiteY10" fmla="*/ 104737 h 104775"/>
                    <a:gd name="connsiteX11" fmla="*/ 50283 w 66675"/>
                    <a:gd name="connsiteY11" fmla="*/ 93697 h 104775"/>
                    <a:gd name="connsiteX12" fmla="*/ 36271 w 66675"/>
                    <a:gd name="connsiteY12" fmla="*/ 97241 h 104775"/>
                    <a:gd name="connsiteX13" fmla="*/ 49711 w 66675"/>
                    <a:gd name="connsiteY13" fmla="*/ 71066 h 104775"/>
                    <a:gd name="connsiteX14" fmla="*/ 36271 w 66675"/>
                    <a:gd name="connsiteY14" fmla="*/ 44053 h 104775"/>
                    <a:gd name="connsiteX15" fmla="*/ 22689 w 66675"/>
                    <a:gd name="connsiteY15" fmla="*/ 71066 h 104775"/>
                    <a:gd name="connsiteX16" fmla="*/ 36271 w 66675"/>
                    <a:gd name="connsiteY16" fmla="*/ 9724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0283" y="93697"/>
                      </a:moveTo>
                      <a:lnTo>
                        <a:pt x="49997" y="93697"/>
                      </a:lnTo>
                      <a:cubicBezTo>
                        <a:pt x="48016" y="98222"/>
                        <a:pt x="43358" y="106270"/>
                        <a:pt x="32461" y="106270"/>
                      </a:cubicBezTo>
                      <a:cubicBezTo>
                        <a:pt x="13078" y="106270"/>
                        <a:pt x="7144" y="90440"/>
                        <a:pt x="7144" y="71056"/>
                      </a:cubicBezTo>
                      <a:cubicBezTo>
                        <a:pt x="7144" y="50835"/>
                        <a:pt x="14640" y="35843"/>
                        <a:pt x="32461" y="35843"/>
                      </a:cubicBezTo>
                      <a:cubicBezTo>
                        <a:pt x="43910" y="35843"/>
                        <a:pt x="48016" y="43062"/>
                        <a:pt x="49997" y="46729"/>
                      </a:cubicBezTo>
                      <a:lnTo>
                        <a:pt x="50283" y="46729"/>
                      </a:lnTo>
                      <a:lnTo>
                        <a:pt x="50283" y="7144"/>
                      </a:lnTo>
                      <a:lnTo>
                        <a:pt x="64570" y="7144"/>
                      </a:lnTo>
                      <a:lnTo>
                        <a:pt x="64570" y="104737"/>
                      </a:lnTo>
                      <a:lnTo>
                        <a:pt x="50283" y="104737"/>
                      </a:lnTo>
                      <a:lnTo>
                        <a:pt x="50283" y="93697"/>
                      </a:lnTo>
                      <a:close/>
                      <a:moveTo>
                        <a:pt x="36271" y="97241"/>
                      </a:moveTo>
                      <a:cubicBezTo>
                        <a:pt x="48006" y="97241"/>
                        <a:pt x="49711" y="82248"/>
                        <a:pt x="49711" y="71066"/>
                      </a:cubicBezTo>
                      <a:cubicBezTo>
                        <a:pt x="49711" y="59331"/>
                        <a:pt x="48578" y="44053"/>
                        <a:pt x="36271" y="44053"/>
                      </a:cubicBezTo>
                      <a:cubicBezTo>
                        <a:pt x="25098" y="44053"/>
                        <a:pt x="22689" y="59331"/>
                        <a:pt x="22689" y="71066"/>
                      </a:cubicBezTo>
                      <a:cubicBezTo>
                        <a:pt x="22689" y="82239"/>
                        <a:pt x="24822" y="97241"/>
                        <a:pt x="36271" y="97241"/>
                      </a:cubicBezTo>
                      <a:close/>
                    </a:path>
                  </a:pathLst>
                </a:custGeom>
                <a:solidFill>
                  <a:schemeClr val="bg1"/>
                </a:solidFill>
                <a:ln w="9525" cap="flat">
                  <a:noFill/>
                  <a:prstDash val="solid"/>
                  <a:miter/>
                </a:ln>
              </p:spPr>
              <p:txBody>
                <a:bodyPr rtlCol="0" anchor="ctr"/>
                <a:lstStyle/>
                <a:p>
                  <a:endParaRPr lang="ja-JP" altLang="en-US" dirty="0"/>
                </a:p>
              </p:txBody>
            </p:sp>
            <p:sp>
              <p:nvSpPr>
                <p:cNvPr id="1101" name="フリーフォーム: 図形 52"/>
                <p:cNvSpPr/>
                <p:nvPr/>
              </p:nvSpPr>
              <p:spPr>
                <a:xfrm>
                  <a:off x="1392189" y="5938252"/>
                  <a:ext cx="28575" cy="38100"/>
                </a:xfrm>
                <a:custGeom>
                  <a:avLst/>
                  <a:gdLst>
                    <a:gd name="connsiteX0" fmla="*/ 8411 w 28575"/>
                    <a:gd name="connsiteY0" fmla="*/ 7144 h 38100"/>
                    <a:gd name="connsiteX1" fmla="*/ 24822 w 28575"/>
                    <a:gd name="connsiteY1" fmla="*/ 7144 h 38100"/>
                    <a:gd name="connsiteX2" fmla="*/ 18459 w 28575"/>
                    <a:gd name="connsiteY2" fmla="*/ 39253 h 38100"/>
                    <a:gd name="connsiteX3" fmla="*/ 7144 w 28575"/>
                    <a:gd name="connsiteY3" fmla="*/ 39253 h 38100"/>
                    <a:gd name="connsiteX4" fmla="*/ 8411 w 28575"/>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8411" y="7144"/>
                      </a:moveTo>
                      <a:lnTo>
                        <a:pt x="24822" y="7144"/>
                      </a:lnTo>
                      <a:lnTo>
                        <a:pt x="18459" y="39253"/>
                      </a:lnTo>
                      <a:lnTo>
                        <a:pt x="7144" y="39253"/>
                      </a:lnTo>
                      <a:lnTo>
                        <a:pt x="8411" y="7144"/>
                      </a:lnTo>
                      <a:close/>
                    </a:path>
                  </a:pathLst>
                </a:custGeom>
                <a:solidFill>
                  <a:schemeClr val="bg1"/>
                </a:solidFill>
                <a:ln w="9525" cap="flat">
                  <a:noFill/>
                  <a:prstDash val="solid"/>
                  <a:miter/>
                </a:ln>
              </p:spPr>
              <p:txBody>
                <a:bodyPr rtlCol="0" anchor="ctr"/>
                <a:lstStyle/>
                <a:p>
                  <a:endParaRPr lang="ja-JP" altLang="en-US" dirty="0"/>
                </a:p>
              </p:txBody>
            </p:sp>
            <p:sp>
              <p:nvSpPr>
                <p:cNvPr id="1102" name="フリーフォーム: 図形 53"/>
                <p:cNvSpPr/>
                <p:nvPr/>
              </p:nvSpPr>
              <p:spPr>
                <a:xfrm>
                  <a:off x="1466722" y="5857776"/>
                  <a:ext cx="28575" cy="104775"/>
                </a:xfrm>
                <a:custGeom>
                  <a:avLst/>
                  <a:gdLst>
                    <a:gd name="connsiteX0" fmla="*/ 7144 w 28575"/>
                    <a:gd name="connsiteY0" fmla="*/ 7144 h 104775"/>
                    <a:gd name="connsiteX1" fmla="*/ 22708 w 28575"/>
                    <a:gd name="connsiteY1" fmla="*/ 7144 h 104775"/>
                    <a:gd name="connsiteX2" fmla="*/ 22708 w 28575"/>
                    <a:gd name="connsiteY2" fmla="*/ 104737 h 104775"/>
                    <a:gd name="connsiteX3" fmla="*/ 7144 w 28575"/>
                    <a:gd name="connsiteY3" fmla="*/ 104737 h 104775"/>
                    <a:gd name="connsiteX4" fmla="*/ 7144 w 28575"/>
                    <a:gd name="connsiteY4" fmla="*/ 714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104775">
                      <a:moveTo>
                        <a:pt x="7144" y="7144"/>
                      </a:moveTo>
                      <a:lnTo>
                        <a:pt x="22708" y="7144"/>
                      </a:lnTo>
                      <a:lnTo>
                        <a:pt x="22708" y="104737"/>
                      </a:lnTo>
                      <a:lnTo>
                        <a:pt x="7144" y="104737"/>
                      </a:lnTo>
                      <a:lnTo>
                        <a:pt x="7144" y="7144"/>
                      </a:lnTo>
                      <a:close/>
                    </a:path>
                  </a:pathLst>
                </a:custGeom>
                <a:solidFill>
                  <a:schemeClr val="bg1"/>
                </a:solidFill>
                <a:ln w="9525" cap="flat">
                  <a:noFill/>
                  <a:prstDash val="solid"/>
                  <a:miter/>
                </a:ln>
              </p:spPr>
              <p:txBody>
                <a:bodyPr rtlCol="0" anchor="ctr"/>
                <a:lstStyle/>
                <a:p>
                  <a:endParaRPr lang="ja-JP" altLang="en-US" dirty="0"/>
                </a:p>
              </p:txBody>
            </p:sp>
            <p:sp>
              <p:nvSpPr>
                <p:cNvPr id="1103" name="フリーフォーム: 図形 54"/>
                <p:cNvSpPr/>
                <p:nvPr/>
              </p:nvSpPr>
              <p:spPr>
                <a:xfrm>
                  <a:off x="1504622"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13 w 66675"/>
                    <a:gd name="connsiteY5" fmla="*/ 26803 h 76200"/>
                    <a:gd name="connsiteX6" fmla="*/ 62313 w 66675"/>
                    <a:gd name="connsiteY6" fmla="*/ 76029 h 76200"/>
                    <a:gd name="connsiteX7" fmla="*/ 48025 w 66675"/>
                    <a:gd name="connsiteY7" fmla="*/ 76029 h 76200"/>
                    <a:gd name="connsiteX8" fmla="*/ 48025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84" y="19736"/>
                        <a:pt x="30490" y="7144"/>
                        <a:pt x="45339" y="7144"/>
                      </a:cubicBezTo>
                      <a:cubicBezTo>
                        <a:pt x="57217" y="7144"/>
                        <a:pt x="62313" y="17040"/>
                        <a:pt x="62313" y="26803"/>
                      </a:cubicBezTo>
                      <a:lnTo>
                        <a:pt x="62313" y="76029"/>
                      </a:lnTo>
                      <a:lnTo>
                        <a:pt x="48025" y="76029"/>
                      </a:lnTo>
                      <a:lnTo>
                        <a:pt x="48025" y="33871"/>
                      </a:lnTo>
                      <a:cubicBezTo>
                        <a:pt x="48025" y="25384"/>
                        <a:pt x="46749" y="17745"/>
                        <a:pt x="39529" y="17745"/>
                      </a:cubicBezTo>
                      <a:cubicBezTo>
                        <a:pt x="2539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104" name="フリーフォーム: 図形 55"/>
                <p:cNvSpPr/>
                <p:nvPr/>
              </p:nvSpPr>
              <p:spPr>
                <a:xfrm>
                  <a:off x="1573945" y="5856214"/>
                  <a:ext cx="57150" cy="104775"/>
                </a:xfrm>
                <a:custGeom>
                  <a:avLst/>
                  <a:gdLst>
                    <a:gd name="connsiteX0" fmla="*/ 18878 w 57150"/>
                    <a:gd name="connsiteY0" fmla="*/ 46320 h 104775"/>
                    <a:gd name="connsiteX1" fmla="*/ 7144 w 57150"/>
                    <a:gd name="connsiteY1" fmla="*/ 46320 h 104775"/>
                    <a:gd name="connsiteX2" fmla="*/ 7144 w 57150"/>
                    <a:gd name="connsiteY2" fmla="*/ 38976 h 104775"/>
                    <a:gd name="connsiteX3" fmla="*/ 18878 w 57150"/>
                    <a:gd name="connsiteY3" fmla="*/ 38976 h 104775"/>
                    <a:gd name="connsiteX4" fmla="*/ 18878 w 57150"/>
                    <a:gd name="connsiteY4" fmla="*/ 32613 h 104775"/>
                    <a:gd name="connsiteX5" fmla="*/ 44482 w 57150"/>
                    <a:gd name="connsiteY5" fmla="*/ 7144 h 104775"/>
                    <a:gd name="connsiteX6" fmla="*/ 58769 w 57150"/>
                    <a:gd name="connsiteY6" fmla="*/ 8706 h 104775"/>
                    <a:gd name="connsiteX7" fmla="*/ 58769 w 57150"/>
                    <a:gd name="connsiteY7" fmla="*/ 18450 h 104775"/>
                    <a:gd name="connsiteX8" fmla="*/ 46177 w 57150"/>
                    <a:gd name="connsiteY8" fmla="*/ 15345 h 104775"/>
                    <a:gd name="connsiteX9" fmla="*/ 33166 w 57150"/>
                    <a:gd name="connsiteY9" fmla="*/ 30899 h 104775"/>
                    <a:gd name="connsiteX10" fmla="*/ 33166 w 57150"/>
                    <a:gd name="connsiteY10" fmla="*/ 38976 h 104775"/>
                    <a:gd name="connsiteX11" fmla="*/ 52264 w 57150"/>
                    <a:gd name="connsiteY11" fmla="*/ 38976 h 104775"/>
                    <a:gd name="connsiteX12" fmla="*/ 52264 w 57150"/>
                    <a:gd name="connsiteY12" fmla="*/ 46320 h 104775"/>
                    <a:gd name="connsiteX13" fmla="*/ 33166 w 57150"/>
                    <a:gd name="connsiteY13" fmla="*/ 46320 h 104775"/>
                    <a:gd name="connsiteX14" fmla="*/ 33166 w 57150"/>
                    <a:gd name="connsiteY14" fmla="*/ 106299 h 104775"/>
                    <a:gd name="connsiteX15" fmla="*/ 18878 w 57150"/>
                    <a:gd name="connsiteY15" fmla="*/ 106299 h 104775"/>
                    <a:gd name="connsiteX16" fmla="*/ 18878 w 57150"/>
                    <a:gd name="connsiteY16" fmla="*/ 463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18878" y="46320"/>
                      </a:moveTo>
                      <a:lnTo>
                        <a:pt x="7144" y="46320"/>
                      </a:lnTo>
                      <a:lnTo>
                        <a:pt x="7144" y="38976"/>
                      </a:lnTo>
                      <a:lnTo>
                        <a:pt x="18878" y="38976"/>
                      </a:lnTo>
                      <a:lnTo>
                        <a:pt x="18878" y="32613"/>
                      </a:lnTo>
                      <a:cubicBezTo>
                        <a:pt x="18878" y="20145"/>
                        <a:pt x="21860" y="7144"/>
                        <a:pt x="44482" y="7144"/>
                      </a:cubicBezTo>
                      <a:cubicBezTo>
                        <a:pt x="50273" y="7144"/>
                        <a:pt x="55378" y="8001"/>
                        <a:pt x="58769" y="8706"/>
                      </a:cubicBezTo>
                      <a:lnTo>
                        <a:pt x="58769" y="18450"/>
                      </a:lnTo>
                      <a:cubicBezTo>
                        <a:pt x="55788" y="17183"/>
                        <a:pt x="51978" y="15345"/>
                        <a:pt x="46177" y="15345"/>
                      </a:cubicBezTo>
                      <a:cubicBezTo>
                        <a:pt x="34576" y="15345"/>
                        <a:pt x="33166" y="23698"/>
                        <a:pt x="33166" y="30899"/>
                      </a:cubicBezTo>
                      <a:lnTo>
                        <a:pt x="33166" y="38976"/>
                      </a:lnTo>
                      <a:lnTo>
                        <a:pt x="52264" y="38976"/>
                      </a:lnTo>
                      <a:lnTo>
                        <a:pt x="52264" y="46320"/>
                      </a:lnTo>
                      <a:lnTo>
                        <a:pt x="33166" y="46320"/>
                      </a:lnTo>
                      <a:lnTo>
                        <a:pt x="33166" y="106299"/>
                      </a:lnTo>
                      <a:lnTo>
                        <a:pt x="18878" y="106299"/>
                      </a:lnTo>
                      <a:lnTo>
                        <a:pt x="18878" y="46320"/>
                      </a:lnTo>
                      <a:close/>
                    </a:path>
                  </a:pathLst>
                </a:custGeom>
                <a:solidFill>
                  <a:schemeClr val="bg1"/>
                </a:solidFill>
                <a:ln w="9525" cap="flat">
                  <a:noFill/>
                  <a:prstDash val="solid"/>
                  <a:miter/>
                </a:ln>
              </p:spPr>
              <p:txBody>
                <a:bodyPr rtlCol="0" anchor="ctr"/>
                <a:lstStyle/>
                <a:p>
                  <a:endParaRPr lang="ja-JP" altLang="en-US" dirty="0"/>
                </a:p>
              </p:txBody>
            </p:sp>
            <p:sp>
              <p:nvSpPr>
                <p:cNvPr id="1105" name="フリーフォーム: 図形 56"/>
                <p:cNvSpPr/>
                <p:nvPr/>
              </p:nvSpPr>
              <p:spPr>
                <a:xfrm>
                  <a:off x="1630943"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1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1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106" name="フリーフォーム: 図形 57"/>
                <p:cNvSpPr/>
                <p:nvPr/>
              </p:nvSpPr>
              <p:spPr>
                <a:xfrm>
                  <a:off x="1676348" y="5886475"/>
                  <a:ext cx="57150" cy="76200"/>
                </a:xfrm>
                <a:custGeom>
                  <a:avLst/>
                  <a:gdLst>
                    <a:gd name="connsiteX0" fmla="*/ 44758 w 57150"/>
                    <a:gd name="connsiteY0" fmla="*/ 66694 h 76200"/>
                    <a:gd name="connsiteX1" fmla="*/ 44482 w 57150"/>
                    <a:gd name="connsiteY1" fmla="*/ 66694 h 76200"/>
                    <a:gd name="connsiteX2" fmla="*/ 25527 w 57150"/>
                    <a:gd name="connsiteY2" fmla="*/ 77581 h 76200"/>
                    <a:gd name="connsiteX3" fmla="*/ 7144 w 57150"/>
                    <a:gd name="connsiteY3" fmla="*/ 60760 h 76200"/>
                    <a:gd name="connsiteX4" fmla="*/ 44758 w 57150"/>
                    <a:gd name="connsiteY4" fmla="*/ 38548 h 76200"/>
                    <a:gd name="connsiteX5" fmla="*/ 44758 w 57150"/>
                    <a:gd name="connsiteY5" fmla="*/ 32613 h 76200"/>
                    <a:gd name="connsiteX6" fmla="*/ 35290 w 57150"/>
                    <a:gd name="connsiteY6" fmla="*/ 13078 h 76200"/>
                    <a:gd name="connsiteX7" fmla="*/ 24393 w 57150"/>
                    <a:gd name="connsiteY7" fmla="*/ 27794 h 76200"/>
                    <a:gd name="connsiteX8" fmla="*/ 9401 w 57150"/>
                    <a:gd name="connsiteY8" fmla="*/ 27794 h 76200"/>
                    <a:gd name="connsiteX9" fmla="*/ 35290 w 57150"/>
                    <a:gd name="connsiteY9" fmla="*/ 7144 h 76200"/>
                    <a:gd name="connsiteX10" fmla="*/ 59045 w 57150"/>
                    <a:gd name="connsiteY10" fmla="*/ 32613 h 76200"/>
                    <a:gd name="connsiteX11" fmla="*/ 59045 w 57150"/>
                    <a:gd name="connsiteY11" fmla="*/ 76038 h 76200"/>
                    <a:gd name="connsiteX12" fmla="*/ 44758 w 57150"/>
                    <a:gd name="connsiteY12" fmla="*/ 76038 h 76200"/>
                    <a:gd name="connsiteX13" fmla="*/ 44758 w 57150"/>
                    <a:gd name="connsiteY13" fmla="*/ 66694 h 76200"/>
                    <a:gd name="connsiteX14" fmla="*/ 44758 w 57150"/>
                    <a:gd name="connsiteY14" fmla="*/ 44482 h 76200"/>
                    <a:gd name="connsiteX15" fmla="*/ 22698 w 57150"/>
                    <a:gd name="connsiteY15" fmla="*/ 58636 h 76200"/>
                    <a:gd name="connsiteX16" fmla="*/ 30899 w 57150"/>
                    <a:gd name="connsiteY16" fmla="*/ 68666 h 76200"/>
                    <a:gd name="connsiteX17" fmla="*/ 44758 w 57150"/>
                    <a:gd name="connsiteY17" fmla="*/ 52406 h 76200"/>
                    <a:gd name="connsiteX18" fmla="*/ 44758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58" y="66694"/>
                      </a:moveTo>
                      <a:lnTo>
                        <a:pt x="44482" y="66694"/>
                      </a:lnTo>
                      <a:cubicBezTo>
                        <a:pt x="42224" y="70656"/>
                        <a:pt x="36281" y="77581"/>
                        <a:pt x="25527" y="77581"/>
                      </a:cubicBezTo>
                      <a:cubicBezTo>
                        <a:pt x="14916" y="77581"/>
                        <a:pt x="7144" y="70085"/>
                        <a:pt x="7144" y="60760"/>
                      </a:cubicBezTo>
                      <a:cubicBezTo>
                        <a:pt x="7144" y="39957"/>
                        <a:pt x="35852" y="38976"/>
                        <a:pt x="44758" y="38548"/>
                      </a:cubicBezTo>
                      <a:lnTo>
                        <a:pt x="44758" y="32613"/>
                      </a:lnTo>
                      <a:cubicBezTo>
                        <a:pt x="44758" y="25251"/>
                        <a:pt x="44758" y="13078"/>
                        <a:pt x="35290" y="13078"/>
                      </a:cubicBezTo>
                      <a:cubicBezTo>
                        <a:pt x="26518" y="13078"/>
                        <a:pt x="24965" y="19869"/>
                        <a:pt x="24393" y="27794"/>
                      </a:cubicBezTo>
                      <a:lnTo>
                        <a:pt x="9401" y="27794"/>
                      </a:lnTo>
                      <a:cubicBezTo>
                        <a:pt x="10106" y="17745"/>
                        <a:pt x="14068" y="7144"/>
                        <a:pt x="35290" y="7144"/>
                      </a:cubicBezTo>
                      <a:cubicBezTo>
                        <a:pt x="57217" y="7144"/>
                        <a:pt x="59045" y="19440"/>
                        <a:pt x="59045" y="32613"/>
                      </a:cubicBezTo>
                      <a:lnTo>
                        <a:pt x="59045" y="76038"/>
                      </a:lnTo>
                      <a:lnTo>
                        <a:pt x="44758" y="76038"/>
                      </a:lnTo>
                      <a:lnTo>
                        <a:pt x="44758" y="66694"/>
                      </a:lnTo>
                      <a:close/>
                      <a:moveTo>
                        <a:pt x="44758" y="44482"/>
                      </a:moveTo>
                      <a:cubicBezTo>
                        <a:pt x="38824" y="44910"/>
                        <a:pt x="22698" y="46177"/>
                        <a:pt x="22698" y="58636"/>
                      </a:cubicBezTo>
                      <a:cubicBezTo>
                        <a:pt x="22698" y="64703"/>
                        <a:pt x="26232" y="68666"/>
                        <a:pt x="30899" y="68666"/>
                      </a:cubicBezTo>
                      <a:cubicBezTo>
                        <a:pt x="35852" y="68666"/>
                        <a:pt x="44758" y="63865"/>
                        <a:pt x="44758" y="52406"/>
                      </a:cubicBezTo>
                      <a:lnTo>
                        <a:pt x="44758" y="44482"/>
                      </a:lnTo>
                      <a:close/>
                    </a:path>
                  </a:pathLst>
                </a:custGeom>
                <a:solidFill>
                  <a:schemeClr val="bg1"/>
                </a:solidFill>
                <a:ln w="9525" cap="flat">
                  <a:noFill/>
                  <a:prstDash val="solid"/>
                  <a:miter/>
                </a:ln>
              </p:spPr>
              <p:txBody>
                <a:bodyPr rtlCol="0" anchor="ctr"/>
                <a:lstStyle/>
                <a:p>
                  <a:endParaRPr lang="ja-JP" altLang="en-US" dirty="0"/>
                </a:p>
              </p:txBody>
            </p:sp>
            <p:sp>
              <p:nvSpPr>
                <p:cNvPr id="1107" name="フリーフォーム: 図形 58"/>
                <p:cNvSpPr/>
                <p:nvPr/>
              </p:nvSpPr>
              <p:spPr>
                <a:xfrm>
                  <a:off x="1745938" y="5886465"/>
                  <a:ext cx="57150" cy="76200"/>
                </a:xfrm>
                <a:custGeom>
                  <a:avLst/>
                  <a:gdLst>
                    <a:gd name="connsiteX0" fmla="*/ 46606 w 57150"/>
                    <a:gd name="connsiteY0" fmla="*/ 22003 h 76200"/>
                    <a:gd name="connsiteX1" fmla="*/ 29632 w 57150"/>
                    <a:gd name="connsiteY1" fmla="*/ 15364 h 76200"/>
                    <a:gd name="connsiteX2" fmla="*/ 20021 w 57150"/>
                    <a:gd name="connsiteY2" fmla="*/ 22431 h 76200"/>
                    <a:gd name="connsiteX3" fmla="*/ 50844 w 57150"/>
                    <a:gd name="connsiteY3" fmla="*/ 57236 h 76200"/>
                    <a:gd name="connsiteX4" fmla="*/ 25241 w 57150"/>
                    <a:gd name="connsiteY4" fmla="*/ 77591 h 76200"/>
                    <a:gd name="connsiteX5" fmla="*/ 7277 w 57150"/>
                    <a:gd name="connsiteY5" fmla="*/ 74628 h 76200"/>
                    <a:gd name="connsiteX6" fmla="*/ 7277 w 57150"/>
                    <a:gd name="connsiteY6" fmla="*/ 61474 h 76200"/>
                    <a:gd name="connsiteX7" fmla="*/ 25946 w 57150"/>
                    <a:gd name="connsiteY7" fmla="*/ 68542 h 76200"/>
                    <a:gd name="connsiteX8" fmla="*/ 37547 w 57150"/>
                    <a:gd name="connsiteY8" fmla="*/ 60055 h 76200"/>
                    <a:gd name="connsiteX9" fmla="*/ 7144 w 57150"/>
                    <a:gd name="connsiteY9" fmla="*/ 26527 h 76200"/>
                    <a:gd name="connsiteX10" fmla="*/ 3075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06" y="22003"/>
                      </a:moveTo>
                      <a:cubicBezTo>
                        <a:pt x="41796" y="18745"/>
                        <a:pt x="36423" y="15364"/>
                        <a:pt x="29632" y="15364"/>
                      </a:cubicBezTo>
                      <a:cubicBezTo>
                        <a:pt x="25098" y="15364"/>
                        <a:pt x="20021" y="17336"/>
                        <a:pt x="20021" y="22431"/>
                      </a:cubicBezTo>
                      <a:cubicBezTo>
                        <a:pt x="20021" y="34595"/>
                        <a:pt x="50844" y="35728"/>
                        <a:pt x="50844" y="57236"/>
                      </a:cubicBezTo>
                      <a:cubicBezTo>
                        <a:pt x="50844" y="71656"/>
                        <a:pt x="39529" y="77591"/>
                        <a:pt x="25241" y="77591"/>
                      </a:cubicBezTo>
                      <a:cubicBezTo>
                        <a:pt x="16621" y="77591"/>
                        <a:pt x="10678" y="75771"/>
                        <a:pt x="7277" y="74628"/>
                      </a:cubicBezTo>
                      <a:lnTo>
                        <a:pt x="7277" y="61474"/>
                      </a:lnTo>
                      <a:cubicBezTo>
                        <a:pt x="11382" y="64303"/>
                        <a:pt x="18031" y="68542"/>
                        <a:pt x="25946" y="68542"/>
                      </a:cubicBezTo>
                      <a:cubicBezTo>
                        <a:pt x="34147" y="68542"/>
                        <a:pt x="37547" y="64303"/>
                        <a:pt x="37547" y="60055"/>
                      </a:cubicBezTo>
                      <a:cubicBezTo>
                        <a:pt x="37547" y="48168"/>
                        <a:pt x="7144" y="45768"/>
                        <a:pt x="7144" y="26527"/>
                      </a:cubicBezTo>
                      <a:cubicBezTo>
                        <a:pt x="7144" y="16335"/>
                        <a:pt x="13935" y="7144"/>
                        <a:pt x="30756" y="7144"/>
                      </a:cubicBezTo>
                      <a:cubicBezTo>
                        <a:pt x="37976" y="7144"/>
                        <a:pt x="44196" y="9115"/>
                        <a:pt x="46606" y="9820"/>
                      </a:cubicBezTo>
                      <a:lnTo>
                        <a:pt x="46606" y="22003"/>
                      </a:lnTo>
                      <a:close/>
                    </a:path>
                  </a:pathLst>
                </a:custGeom>
                <a:solidFill>
                  <a:schemeClr val="bg1"/>
                </a:solidFill>
                <a:ln w="9525" cap="flat">
                  <a:noFill/>
                  <a:prstDash val="solid"/>
                  <a:miter/>
                </a:ln>
              </p:spPr>
              <p:txBody>
                <a:bodyPr rtlCol="0" anchor="ctr"/>
                <a:lstStyle/>
                <a:p>
                  <a:endParaRPr lang="ja-JP" altLang="en-US" dirty="0"/>
                </a:p>
              </p:txBody>
            </p:sp>
            <p:sp>
              <p:nvSpPr>
                <p:cNvPr id="1108" name="フリーフォーム: 図形 59"/>
                <p:cNvSpPr/>
                <p:nvPr/>
              </p:nvSpPr>
              <p:spPr>
                <a:xfrm>
                  <a:off x="1799678" y="5863567"/>
                  <a:ext cx="57150" cy="104775"/>
                </a:xfrm>
                <a:custGeom>
                  <a:avLst/>
                  <a:gdLst>
                    <a:gd name="connsiteX0" fmla="*/ 49016 w 57150"/>
                    <a:gd name="connsiteY0" fmla="*/ 99498 h 104775"/>
                    <a:gd name="connsiteX1" fmla="*/ 39119 w 57150"/>
                    <a:gd name="connsiteY1" fmla="*/ 100489 h 104775"/>
                    <a:gd name="connsiteX2" fmla="*/ 17897 w 57150"/>
                    <a:gd name="connsiteY2" fmla="*/ 83372 h 104775"/>
                    <a:gd name="connsiteX3" fmla="*/ 17897 w 57150"/>
                    <a:gd name="connsiteY3" fmla="*/ 38967 h 104775"/>
                    <a:gd name="connsiteX4" fmla="*/ 7144 w 57150"/>
                    <a:gd name="connsiteY4" fmla="*/ 38967 h 104775"/>
                    <a:gd name="connsiteX5" fmla="*/ 7144 w 57150"/>
                    <a:gd name="connsiteY5" fmla="*/ 31623 h 104775"/>
                    <a:gd name="connsiteX6" fmla="*/ 17897 w 57150"/>
                    <a:gd name="connsiteY6" fmla="*/ 31623 h 104775"/>
                    <a:gd name="connsiteX7" fmla="*/ 17897 w 57150"/>
                    <a:gd name="connsiteY7" fmla="*/ 15773 h 104775"/>
                    <a:gd name="connsiteX8" fmla="*/ 32185 w 57150"/>
                    <a:gd name="connsiteY8" fmla="*/ 7144 h 104775"/>
                    <a:gd name="connsiteX9" fmla="*/ 32185 w 57150"/>
                    <a:gd name="connsiteY9" fmla="*/ 31623 h 104775"/>
                    <a:gd name="connsiteX10" fmla="*/ 50578 w 57150"/>
                    <a:gd name="connsiteY10" fmla="*/ 31623 h 104775"/>
                    <a:gd name="connsiteX11" fmla="*/ 50578 w 57150"/>
                    <a:gd name="connsiteY11" fmla="*/ 38967 h 104775"/>
                    <a:gd name="connsiteX12" fmla="*/ 32185 w 57150"/>
                    <a:gd name="connsiteY12" fmla="*/ 38967 h 104775"/>
                    <a:gd name="connsiteX13" fmla="*/ 32185 w 57150"/>
                    <a:gd name="connsiteY13" fmla="*/ 77714 h 104775"/>
                    <a:gd name="connsiteX14" fmla="*/ 42376 w 57150"/>
                    <a:gd name="connsiteY14" fmla="*/ 92430 h 104775"/>
                    <a:gd name="connsiteX15" fmla="*/ 49016 w 57150"/>
                    <a:gd name="connsiteY15" fmla="*/ 91297 h 104775"/>
                    <a:gd name="connsiteX16" fmla="*/ 4901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76" y="100489"/>
                        <a:pt x="39119" y="100489"/>
                      </a:cubicBezTo>
                      <a:cubicBezTo>
                        <a:pt x="25679" y="100489"/>
                        <a:pt x="17897" y="96393"/>
                        <a:pt x="17897" y="83372"/>
                      </a:cubicBezTo>
                      <a:lnTo>
                        <a:pt x="17897" y="38967"/>
                      </a:lnTo>
                      <a:lnTo>
                        <a:pt x="7144" y="38967"/>
                      </a:lnTo>
                      <a:lnTo>
                        <a:pt x="7144" y="31623"/>
                      </a:lnTo>
                      <a:lnTo>
                        <a:pt x="17897" y="31623"/>
                      </a:lnTo>
                      <a:lnTo>
                        <a:pt x="17897" y="15773"/>
                      </a:lnTo>
                      <a:lnTo>
                        <a:pt x="32185" y="7144"/>
                      </a:lnTo>
                      <a:lnTo>
                        <a:pt x="32185" y="31623"/>
                      </a:lnTo>
                      <a:lnTo>
                        <a:pt x="50578" y="31623"/>
                      </a:lnTo>
                      <a:lnTo>
                        <a:pt x="50578" y="38967"/>
                      </a:lnTo>
                      <a:lnTo>
                        <a:pt x="32185" y="38967"/>
                      </a:lnTo>
                      <a:lnTo>
                        <a:pt x="32185" y="77714"/>
                      </a:lnTo>
                      <a:cubicBezTo>
                        <a:pt x="32185" y="87611"/>
                        <a:pt x="33176" y="92430"/>
                        <a:pt x="42376" y="92430"/>
                      </a:cubicBezTo>
                      <a:cubicBezTo>
                        <a:pt x="44634" y="92430"/>
                        <a:pt x="47044" y="92154"/>
                        <a:pt x="49016" y="91297"/>
                      </a:cubicBezTo>
                      <a:lnTo>
                        <a:pt x="49016" y="99498"/>
                      </a:lnTo>
                      <a:close/>
                    </a:path>
                  </a:pathLst>
                </a:custGeom>
                <a:solidFill>
                  <a:schemeClr val="bg1"/>
                </a:solidFill>
                <a:ln w="9525" cap="flat">
                  <a:noFill/>
                  <a:prstDash val="solid"/>
                  <a:miter/>
                </a:ln>
              </p:spPr>
              <p:txBody>
                <a:bodyPr rtlCol="0" anchor="ctr"/>
                <a:lstStyle/>
                <a:p>
                  <a:endParaRPr lang="ja-JP" altLang="en-US" dirty="0"/>
                </a:p>
              </p:txBody>
            </p:sp>
            <p:sp>
              <p:nvSpPr>
                <p:cNvPr id="1109" name="フリーフォーム: 図形 60"/>
                <p:cNvSpPr/>
                <p:nvPr/>
              </p:nvSpPr>
              <p:spPr>
                <a:xfrm>
                  <a:off x="1855837"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1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1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110" name="フリーフォーム: 図形 61"/>
                <p:cNvSpPr/>
                <p:nvPr/>
              </p:nvSpPr>
              <p:spPr>
                <a:xfrm>
                  <a:off x="1905634" y="5888037"/>
                  <a:ext cx="66675" cy="76200"/>
                </a:xfrm>
                <a:custGeom>
                  <a:avLst/>
                  <a:gdLst>
                    <a:gd name="connsiteX0" fmla="*/ 47873 w 66675"/>
                    <a:gd name="connsiteY0" fmla="*/ 58493 h 76200"/>
                    <a:gd name="connsiteX1" fmla="*/ 47597 w 66675"/>
                    <a:gd name="connsiteY1" fmla="*/ 58493 h 76200"/>
                    <a:gd name="connsiteX2" fmla="*/ 24117 w 66675"/>
                    <a:gd name="connsiteY2" fmla="*/ 76019 h 76200"/>
                    <a:gd name="connsiteX3" fmla="*/ 7144 w 66675"/>
                    <a:gd name="connsiteY3" fmla="*/ 56369 h 76200"/>
                    <a:gd name="connsiteX4" fmla="*/ 7144 w 66675"/>
                    <a:gd name="connsiteY4" fmla="*/ 7144 h 76200"/>
                    <a:gd name="connsiteX5" fmla="*/ 21431 w 66675"/>
                    <a:gd name="connsiteY5" fmla="*/ 7144 h 76200"/>
                    <a:gd name="connsiteX6" fmla="*/ 21431 w 66675"/>
                    <a:gd name="connsiteY6" fmla="*/ 49282 h 76200"/>
                    <a:gd name="connsiteX7" fmla="*/ 29918 w 66675"/>
                    <a:gd name="connsiteY7" fmla="*/ 65408 h 76200"/>
                    <a:gd name="connsiteX8" fmla="*/ 48015 w 66675"/>
                    <a:gd name="connsiteY8" fmla="*/ 34995 h 76200"/>
                    <a:gd name="connsiteX9" fmla="*/ 48015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7" y="58493"/>
                      </a:lnTo>
                      <a:cubicBezTo>
                        <a:pt x="45339" y="63446"/>
                        <a:pt x="38967" y="76019"/>
                        <a:pt x="24117" y="76019"/>
                      </a:cubicBezTo>
                      <a:cubicBezTo>
                        <a:pt x="12230" y="76019"/>
                        <a:pt x="7144" y="66122"/>
                        <a:pt x="7144" y="56369"/>
                      </a:cubicBezTo>
                      <a:lnTo>
                        <a:pt x="7144" y="7144"/>
                      </a:lnTo>
                      <a:lnTo>
                        <a:pt x="21431" y="7144"/>
                      </a:lnTo>
                      <a:lnTo>
                        <a:pt x="21431" y="49282"/>
                      </a:lnTo>
                      <a:cubicBezTo>
                        <a:pt x="21431" y="57788"/>
                        <a:pt x="22708" y="65408"/>
                        <a:pt x="29918" y="65408"/>
                      </a:cubicBezTo>
                      <a:cubicBezTo>
                        <a:pt x="44063" y="65408"/>
                        <a:pt x="48015" y="43348"/>
                        <a:pt x="48015" y="34995"/>
                      </a:cubicBezTo>
                      <a:lnTo>
                        <a:pt x="48015" y="7144"/>
                      </a:lnTo>
                      <a:lnTo>
                        <a:pt x="62303" y="7144"/>
                      </a:lnTo>
                      <a:lnTo>
                        <a:pt x="62303" y="74466"/>
                      </a:lnTo>
                      <a:lnTo>
                        <a:pt x="47873" y="74466"/>
                      </a:lnTo>
                      <a:lnTo>
                        <a:pt x="47873" y="58493"/>
                      </a:lnTo>
                      <a:close/>
                    </a:path>
                  </a:pathLst>
                </a:custGeom>
                <a:solidFill>
                  <a:schemeClr val="bg1"/>
                </a:solidFill>
                <a:ln w="9525" cap="flat">
                  <a:noFill/>
                  <a:prstDash val="solid"/>
                  <a:miter/>
                </a:ln>
              </p:spPr>
              <p:txBody>
                <a:bodyPr rtlCol="0" anchor="ctr"/>
                <a:lstStyle/>
                <a:p>
                  <a:endParaRPr lang="ja-JP" altLang="en-US" dirty="0"/>
                </a:p>
              </p:txBody>
            </p:sp>
            <p:sp>
              <p:nvSpPr>
                <p:cNvPr id="1111" name="フリーフォーム: 図形 62"/>
                <p:cNvSpPr/>
                <p:nvPr/>
              </p:nvSpPr>
              <p:spPr>
                <a:xfrm>
                  <a:off x="1976776" y="5886465"/>
                  <a:ext cx="66675" cy="76200"/>
                </a:xfrm>
                <a:custGeom>
                  <a:avLst/>
                  <a:gdLst>
                    <a:gd name="connsiteX0" fmla="*/ 58912 w 66675"/>
                    <a:gd name="connsiteY0" fmla="*/ 74200 h 76200"/>
                    <a:gd name="connsiteX1" fmla="*/ 40948 w 66675"/>
                    <a:gd name="connsiteY1" fmla="*/ 77581 h 76200"/>
                    <a:gd name="connsiteX2" fmla="*/ 7144 w 66675"/>
                    <a:gd name="connsiteY2" fmla="*/ 39681 h 76200"/>
                    <a:gd name="connsiteX3" fmla="*/ 35709 w 66675"/>
                    <a:gd name="connsiteY3" fmla="*/ 7144 h 76200"/>
                    <a:gd name="connsiteX4" fmla="*/ 59893 w 66675"/>
                    <a:gd name="connsiteY4" fmla="*/ 30623 h 76200"/>
                    <a:gd name="connsiteX5" fmla="*/ 44910 w 66675"/>
                    <a:gd name="connsiteY5" fmla="*/ 30623 h 76200"/>
                    <a:gd name="connsiteX6" fmla="*/ 35147 w 66675"/>
                    <a:gd name="connsiteY6" fmla="*/ 13078 h 76200"/>
                    <a:gd name="connsiteX7" fmla="*/ 22698 w 66675"/>
                    <a:gd name="connsiteY7" fmla="*/ 34862 h 76200"/>
                    <a:gd name="connsiteX8" fmla="*/ 46892 w 66675"/>
                    <a:gd name="connsiteY8" fmla="*/ 70075 h 76200"/>
                    <a:gd name="connsiteX9" fmla="*/ 58912 w 66675"/>
                    <a:gd name="connsiteY9" fmla="*/ 67542 h 76200"/>
                    <a:gd name="connsiteX10" fmla="*/ 58912 w 66675"/>
                    <a:gd name="connsiteY10" fmla="*/ 74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 h="76200">
                      <a:moveTo>
                        <a:pt x="58912" y="74200"/>
                      </a:moveTo>
                      <a:cubicBezTo>
                        <a:pt x="53121" y="76324"/>
                        <a:pt x="47034" y="77581"/>
                        <a:pt x="40948" y="77581"/>
                      </a:cubicBezTo>
                      <a:cubicBezTo>
                        <a:pt x="19593" y="77581"/>
                        <a:pt x="7144" y="64703"/>
                        <a:pt x="7144" y="39681"/>
                      </a:cubicBezTo>
                      <a:cubicBezTo>
                        <a:pt x="7144" y="19593"/>
                        <a:pt x="16335" y="7144"/>
                        <a:pt x="35709" y="7144"/>
                      </a:cubicBezTo>
                      <a:cubicBezTo>
                        <a:pt x="53816" y="7144"/>
                        <a:pt x="59893" y="16764"/>
                        <a:pt x="59893" y="30623"/>
                      </a:cubicBezTo>
                      <a:lnTo>
                        <a:pt x="44910" y="30623"/>
                      </a:lnTo>
                      <a:cubicBezTo>
                        <a:pt x="44910" y="22565"/>
                        <a:pt x="44053" y="13078"/>
                        <a:pt x="35147" y="13078"/>
                      </a:cubicBezTo>
                      <a:cubicBezTo>
                        <a:pt x="26946" y="13078"/>
                        <a:pt x="22698" y="22698"/>
                        <a:pt x="22698" y="34862"/>
                      </a:cubicBezTo>
                      <a:cubicBezTo>
                        <a:pt x="22698" y="51273"/>
                        <a:pt x="29632" y="70075"/>
                        <a:pt x="46892" y="70075"/>
                      </a:cubicBezTo>
                      <a:cubicBezTo>
                        <a:pt x="50987" y="70075"/>
                        <a:pt x="54950" y="69085"/>
                        <a:pt x="58912" y="67542"/>
                      </a:cubicBezTo>
                      <a:lnTo>
                        <a:pt x="58912" y="74200"/>
                      </a:lnTo>
                      <a:close/>
                    </a:path>
                  </a:pathLst>
                </a:custGeom>
                <a:solidFill>
                  <a:schemeClr val="bg1"/>
                </a:solidFill>
                <a:ln w="9525" cap="flat">
                  <a:noFill/>
                  <a:prstDash val="solid"/>
                  <a:miter/>
                </a:ln>
              </p:spPr>
              <p:txBody>
                <a:bodyPr rtlCol="0" anchor="ctr"/>
                <a:lstStyle/>
                <a:p>
                  <a:endParaRPr lang="ja-JP" altLang="en-US" dirty="0"/>
                </a:p>
              </p:txBody>
            </p:sp>
            <p:sp>
              <p:nvSpPr>
                <p:cNvPr id="1112" name="フリーフォーム: 図形 63"/>
                <p:cNvSpPr/>
                <p:nvPr/>
              </p:nvSpPr>
              <p:spPr>
                <a:xfrm>
                  <a:off x="2035469" y="5863567"/>
                  <a:ext cx="57150" cy="104775"/>
                </a:xfrm>
                <a:custGeom>
                  <a:avLst/>
                  <a:gdLst>
                    <a:gd name="connsiteX0" fmla="*/ 49016 w 57150"/>
                    <a:gd name="connsiteY0" fmla="*/ 99498 h 104775"/>
                    <a:gd name="connsiteX1" fmla="*/ 39119 w 57150"/>
                    <a:gd name="connsiteY1" fmla="*/ 100489 h 104775"/>
                    <a:gd name="connsiteX2" fmla="*/ 17898 w 57150"/>
                    <a:gd name="connsiteY2" fmla="*/ 83372 h 104775"/>
                    <a:gd name="connsiteX3" fmla="*/ 17898 w 57150"/>
                    <a:gd name="connsiteY3" fmla="*/ 38967 h 104775"/>
                    <a:gd name="connsiteX4" fmla="*/ 7144 w 57150"/>
                    <a:gd name="connsiteY4" fmla="*/ 38967 h 104775"/>
                    <a:gd name="connsiteX5" fmla="*/ 7144 w 57150"/>
                    <a:gd name="connsiteY5" fmla="*/ 31623 h 104775"/>
                    <a:gd name="connsiteX6" fmla="*/ 17898 w 57150"/>
                    <a:gd name="connsiteY6" fmla="*/ 31623 h 104775"/>
                    <a:gd name="connsiteX7" fmla="*/ 17898 w 57150"/>
                    <a:gd name="connsiteY7" fmla="*/ 15773 h 104775"/>
                    <a:gd name="connsiteX8" fmla="*/ 32185 w 57150"/>
                    <a:gd name="connsiteY8" fmla="*/ 7144 h 104775"/>
                    <a:gd name="connsiteX9" fmla="*/ 32185 w 57150"/>
                    <a:gd name="connsiteY9" fmla="*/ 31623 h 104775"/>
                    <a:gd name="connsiteX10" fmla="*/ 50568 w 57150"/>
                    <a:gd name="connsiteY10" fmla="*/ 31623 h 104775"/>
                    <a:gd name="connsiteX11" fmla="*/ 50568 w 57150"/>
                    <a:gd name="connsiteY11" fmla="*/ 38967 h 104775"/>
                    <a:gd name="connsiteX12" fmla="*/ 32185 w 57150"/>
                    <a:gd name="connsiteY12" fmla="*/ 38967 h 104775"/>
                    <a:gd name="connsiteX13" fmla="*/ 32185 w 57150"/>
                    <a:gd name="connsiteY13" fmla="*/ 77714 h 104775"/>
                    <a:gd name="connsiteX14" fmla="*/ 42358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67" y="100489"/>
                        <a:pt x="39119" y="100489"/>
                      </a:cubicBezTo>
                      <a:cubicBezTo>
                        <a:pt x="25680" y="100489"/>
                        <a:pt x="17898" y="96393"/>
                        <a:pt x="17898" y="83372"/>
                      </a:cubicBezTo>
                      <a:lnTo>
                        <a:pt x="17898" y="38967"/>
                      </a:lnTo>
                      <a:lnTo>
                        <a:pt x="7144" y="38967"/>
                      </a:lnTo>
                      <a:lnTo>
                        <a:pt x="7144" y="31623"/>
                      </a:lnTo>
                      <a:lnTo>
                        <a:pt x="17898" y="31623"/>
                      </a:lnTo>
                      <a:lnTo>
                        <a:pt x="17898" y="15773"/>
                      </a:lnTo>
                      <a:lnTo>
                        <a:pt x="32185" y="7144"/>
                      </a:lnTo>
                      <a:lnTo>
                        <a:pt x="32185" y="31623"/>
                      </a:lnTo>
                      <a:lnTo>
                        <a:pt x="50568" y="31623"/>
                      </a:lnTo>
                      <a:lnTo>
                        <a:pt x="50568" y="38967"/>
                      </a:lnTo>
                      <a:lnTo>
                        <a:pt x="32185" y="38967"/>
                      </a:lnTo>
                      <a:lnTo>
                        <a:pt x="32185" y="77714"/>
                      </a:lnTo>
                      <a:cubicBezTo>
                        <a:pt x="32185" y="87611"/>
                        <a:pt x="33176" y="92430"/>
                        <a:pt x="42358" y="92430"/>
                      </a:cubicBezTo>
                      <a:cubicBezTo>
                        <a:pt x="44625" y="92430"/>
                        <a:pt x="47025" y="92154"/>
                        <a:pt x="49006" y="91297"/>
                      </a:cubicBezTo>
                      <a:lnTo>
                        <a:pt x="49006" y="99498"/>
                      </a:lnTo>
                      <a:close/>
                    </a:path>
                  </a:pathLst>
                </a:custGeom>
                <a:solidFill>
                  <a:schemeClr val="bg1"/>
                </a:solidFill>
                <a:ln w="9525" cap="flat">
                  <a:noFill/>
                  <a:prstDash val="solid"/>
                  <a:miter/>
                </a:ln>
              </p:spPr>
              <p:txBody>
                <a:bodyPr rtlCol="0" anchor="ctr"/>
                <a:lstStyle/>
                <a:p>
                  <a:endParaRPr lang="ja-JP" altLang="en-US" dirty="0"/>
                </a:p>
              </p:txBody>
            </p:sp>
            <p:sp>
              <p:nvSpPr>
                <p:cNvPr id="1113" name="フリーフォーム: 図形 64"/>
                <p:cNvSpPr/>
                <p:nvPr/>
              </p:nvSpPr>
              <p:spPr>
                <a:xfrm>
                  <a:off x="2091629" y="5888037"/>
                  <a:ext cx="66675" cy="76200"/>
                </a:xfrm>
                <a:custGeom>
                  <a:avLst/>
                  <a:gdLst>
                    <a:gd name="connsiteX0" fmla="*/ 47873 w 66675"/>
                    <a:gd name="connsiteY0" fmla="*/ 58493 h 76200"/>
                    <a:gd name="connsiteX1" fmla="*/ 47596 w 66675"/>
                    <a:gd name="connsiteY1" fmla="*/ 58493 h 76200"/>
                    <a:gd name="connsiteX2" fmla="*/ 24117 w 66675"/>
                    <a:gd name="connsiteY2" fmla="*/ 76019 h 76200"/>
                    <a:gd name="connsiteX3" fmla="*/ 7144 w 66675"/>
                    <a:gd name="connsiteY3" fmla="*/ 56369 h 76200"/>
                    <a:gd name="connsiteX4" fmla="*/ 7144 w 66675"/>
                    <a:gd name="connsiteY4" fmla="*/ 7144 h 76200"/>
                    <a:gd name="connsiteX5" fmla="*/ 21431 w 66675"/>
                    <a:gd name="connsiteY5" fmla="*/ 7144 h 76200"/>
                    <a:gd name="connsiteX6" fmla="*/ 21431 w 66675"/>
                    <a:gd name="connsiteY6" fmla="*/ 49282 h 76200"/>
                    <a:gd name="connsiteX7" fmla="*/ 29918 w 66675"/>
                    <a:gd name="connsiteY7" fmla="*/ 65408 h 76200"/>
                    <a:gd name="connsiteX8" fmla="*/ 48025 w 66675"/>
                    <a:gd name="connsiteY8" fmla="*/ 34995 h 76200"/>
                    <a:gd name="connsiteX9" fmla="*/ 48025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6" y="58493"/>
                      </a:lnTo>
                      <a:cubicBezTo>
                        <a:pt x="45339" y="63446"/>
                        <a:pt x="38967" y="76019"/>
                        <a:pt x="24117" y="76019"/>
                      </a:cubicBezTo>
                      <a:cubicBezTo>
                        <a:pt x="12230" y="76019"/>
                        <a:pt x="7144" y="66122"/>
                        <a:pt x="7144" y="56369"/>
                      </a:cubicBezTo>
                      <a:lnTo>
                        <a:pt x="7144" y="7144"/>
                      </a:lnTo>
                      <a:lnTo>
                        <a:pt x="21431" y="7144"/>
                      </a:lnTo>
                      <a:lnTo>
                        <a:pt x="21431" y="49282"/>
                      </a:lnTo>
                      <a:cubicBezTo>
                        <a:pt x="21431" y="57788"/>
                        <a:pt x="22708" y="65408"/>
                        <a:pt x="29918" y="65408"/>
                      </a:cubicBezTo>
                      <a:cubicBezTo>
                        <a:pt x="44062" y="65408"/>
                        <a:pt x="48025" y="43348"/>
                        <a:pt x="48025" y="34995"/>
                      </a:cubicBezTo>
                      <a:lnTo>
                        <a:pt x="48025" y="7144"/>
                      </a:lnTo>
                      <a:lnTo>
                        <a:pt x="62303" y="7144"/>
                      </a:lnTo>
                      <a:lnTo>
                        <a:pt x="62303" y="74466"/>
                      </a:lnTo>
                      <a:lnTo>
                        <a:pt x="47873" y="74466"/>
                      </a:lnTo>
                      <a:lnTo>
                        <a:pt x="47873" y="58493"/>
                      </a:lnTo>
                      <a:close/>
                    </a:path>
                  </a:pathLst>
                </a:custGeom>
                <a:solidFill>
                  <a:schemeClr val="bg1"/>
                </a:solidFill>
                <a:ln w="9525" cap="flat">
                  <a:noFill/>
                  <a:prstDash val="solid"/>
                  <a:miter/>
                </a:ln>
              </p:spPr>
              <p:txBody>
                <a:bodyPr rtlCol="0" anchor="ctr"/>
                <a:lstStyle/>
                <a:p>
                  <a:endParaRPr lang="ja-JP" altLang="en-US" dirty="0"/>
                </a:p>
              </p:txBody>
            </p:sp>
            <p:sp>
              <p:nvSpPr>
                <p:cNvPr id="1114" name="フリーフォーム: 図形 65"/>
                <p:cNvSpPr/>
                <p:nvPr/>
              </p:nvSpPr>
              <p:spPr>
                <a:xfrm>
                  <a:off x="2167724"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115" name="フリーフォーム: 図形 66"/>
                <p:cNvSpPr/>
                <p:nvPr/>
              </p:nvSpPr>
              <p:spPr>
                <a:xfrm>
                  <a:off x="2212568" y="5886465"/>
                  <a:ext cx="66675" cy="76200"/>
                </a:xfrm>
                <a:custGeom>
                  <a:avLst/>
                  <a:gdLst>
                    <a:gd name="connsiteX0" fmla="*/ 60465 w 66675"/>
                    <a:gd name="connsiteY0" fmla="*/ 73771 h 76200"/>
                    <a:gd name="connsiteX1" fmla="*/ 40805 w 66675"/>
                    <a:gd name="connsiteY1" fmla="*/ 77581 h 76200"/>
                    <a:gd name="connsiteX2" fmla="*/ 7144 w 66675"/>
                    <a:gd name="connsiteY2" fmla="*/ 39405 h 76200"/>
                    <a:gd name="connsiteX3" fmla="*/ 35861 w 66675"/>
                    <a:gd name="connsiteY3" fmla="*/ 7144 h 76200"/>
                    <a:gd name="connsiteX4" fmla="*/ 61751 w 66675"/>
                    <a:gd name="connsiteY4" fmla="*/ 34728 h 76200"/>
                    <a:gd name="connsiteX5" fmla="*/ 21441 w 66675"/>
                    <a:gd name="connsiteY5" fmla="*/ 34728 h 76200"/>
                    <a:gd name="connsiteX6" fmla="*/ 47606 w 66675"/>
                    <a:gd name="connsiteY6" fmla="*/ 70075 h 76200"/>
                    <a:gd name="connsiteX7" fmla="*/ 60484 w 66675"/>
                    <a:gd name="connsiteY7" fmla="*/ 67246 h 76200"/>
                    <a:gd name="connsiteX8" fmla="*/ 60484 w 66675"/>
                    <a:gd name="connsiteY8" fmla="*/ 73771 h 76200"/>
                    <a:gd name="connsiteX9" fmla="*/ 47730 w 66675"/>
                    <a:gd name="connsiteY9" fmla="*/ 28232 h 76200"/>
                    <a:gd name="connsiteX10" fmla="*/ 35281 w 66675"/>
                    <a:gd name="connsiteY10" fmla="*/ 13087 h 76200"/>
                    <a:gd name="connsiteX11" fmla="*/ 21850 w 66675"/>
                    <a:gd name="connsiteY11" fmla="*/ 28232 h 76200"/>
                    <a:gd name="connsiteX12" fmla="*/ 47730 w 66675"/>
                    <a:gd name="connsiteY12" fmla="*/ 2823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75" h="76200">
                      <a:moveTo>
                        <a:pt x="60465" y="73771"/>
                      </a:moveTo>
                      <a:cubicBezTo>
                        <a:pt x="54521" y="76172"/>
                        <a:pt x="49292" y="77581"/>
                        <a:pt x="40805" y="77581"/>
                      </a:cubicBezTo>
                      <a:cubicBezTo>
                        <a:pt x="22136" y="77581"/>
                        <a:pt x="7144" y="66551"/>
                        <a:pt x="7144" y="39405"/>
                      </a:cubicBezTo>
                      <a:cubicBezTo>
                        <a:pt x="7144" y="20726"/>
                        <a:pt x="14640" y="7144"/>
                        <a:pt x="35861" y="7144"/>
                      </a:cubicBezTo>
                      <a:cubicBezTo>
                        <a:pt x="57645" y="7144"/>
                        <a:pt x="61751" y="21707"/>
                        <a:pt x="61751" y="34728"/>
                      </a:cubicBezTo>
                      <a:lnTo>
                        <a:pt x="21441" y="34728"/>
                      </a:lnTo>
                      <a:cubicBezTo>
                        <a:pt x="21441" y="48015"/>
                        <a:pt x="27384" y="70075"/>
                        <a:pt x="47606" y="70075"/>
                      </a:cubicBezTo>
                      <a:cubicBezTo>
                        <a:pt x="51997" y="70075"/>
                        <a:pt x="56236" y="69237"/>
                        <a:pt x="60484" y="67246"/>
                      </a:cubicBezTo>
                      <a:lnTo>
                        <a:pt x="60484" y="73771"/>
                      </a:lnTo>
                      <a:close/>
                      <a:moveTo>
                        <a:pt x="47730" y="28232"/>
                      </a:moveTo>
                      <a:cubicBezTo>
                        <a:pt x="47730" y="23003"/>
                        <a:pt x="45901" y="13087"/>
                        <a:pt x="35281" y="13087"/>
                      </a:cubicBezTo>
                      <a:cubicBezTo>
                        <a:pt x="24251" y="13087"/>
                        <a:pt x="22127" y="24412"/>
                        <a:pt x="21850" y="28232"/>
                      </a:cubicBezTo>
                      <a:lnTo>
                        <a:pt x="47730" y="28232"/>
                      </a:lnTo>
                      <a:close/>
                    </a:path>
                  </a:pathLst>
                </a:custGeom>
                <a:solidFill>
                  <a:schemeClr val="bg1"/>
                </a:solidFill>
                <a:ln w="9525" cap="flat">
                  <a:noFill/>
                  <a:prstDash val="solid"/>
                  <a:miter/>
                </a:ln>
              </p:spPr>
              <p:txBody>
                <a:bodyPr rtlCol="0" anchor="ctr"/>
                <a:lstStyle/>
                <a:p>
                  <a:endParaRPr lang="ja-JP" altLang="en-US" dirty="0"/>
                </a:p>
              </p:txBody>
            </p:sp>
            <p:sp>
              <p:nvSpPr>
                <p:cNvPr id="1116" name="フリーフォーム: 図形 67"/>
                <p:cNvSpPr/>
                <p:nvPr/>
              </p:nvSpPr>
              <p:spPr>
                <a:xfrm>
                  <a:off x="2280605" y="5938252"/>
                  <a:ext cx="28575" cy="38100"/>
                </a:xfrm>
                <a:custGeom>
                  <a:avLst/>
                  <a:gdLst>
                    <a:gd name="connsiteX0" fmla="*/ 8411 w 28575"/>
                    <a:gd name="connsiteY0" fmla="*/ 7144 h 38100"/>
                    <a:gd name="connsiteX1" fmla="*/ 24822 w 28575"/>
                    <a:gd name="connsiteY1" fmla="*/ 7144 h 38100"/>
                    <a:gd name="connsiteX2" fmla="*/ 18459 w 28575"/>
                    <a:gd name="connsiteY2" fmla="*/ 39253 h 38100"/>
                    <a:gd name="connsiteX3" fmla="*/ 7144 w 28575"/>
                    <a:gd name="connsiteY3" fmla="*/ 39253 h 38100"/>
                    <a:gd name="connsiteX4" fmla="*/ 8411 w 28575"/>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8411" y="7144"/>
                      </a:moveTo>
                      <a:lnTo>
                        <a:pt x="24822" y="7144"/>
                      </a:lnTo>
                      <a:lnTo>
                        <a:pt x="18459" y="39253"/>
                      </a:lnTo>
                      <a:lnTo>
                        <a:pt x="7144" y="39253"/>
                      </a:lnTo>
                      <a:lnTo>
                        <a:pt x="8411" y="7144"/>
                      </a:lnTo>
                      <a:close/>
                    </a:path>
                  </a:pathLst>
                </a:custGeom>
                <a:solidFill>
                  <a:schemeClr val="bg1"/>
                </a:solidFill>
                <a:ln w="9525" cap="flat">
                  <a:noFill/>
                  <a:prstDash val="solid"/>
                  <a:miter/>
                </a:ln>
              </p:spPr>
              <p:txBody>
                <a:bodyPr rtlCol="0" anchor="ctr"/>
                <a:lstStyle/>
                <a:p>
                  <a:endParaRPr lang="ja-JP" altLang="en-US" dirty="0"/>
                </a:p>
              </p:txBody>
            </p:sp>
            <p:sp>
              <p:nvSpPr>
                <p:cNvPr id="1117" name="フリーフォーム: 図形 68"/>
                <p:cNvSpPr/>
                <p:nvPr/>
              </p:nvSpPr>
              <p:spPr>
                <a:xfrm>
                  <a:off x="2343260" y="5857766"/>
                  <a:ext cx="76200" cy="104775"/>
                </a:xfrm>
                <a:custGeom>
                  <a:avLst/>
                  <a:gdLst>
                    <a:gd name="connsiteX0" fmla="*/ 30756 w 76200"/>
                    <a:gd name="connsiteY0" fmla="*/ 16469 h 104775"/>
                    <a:gd name="connsiteX1" fmla="*/ 7144 w 76200"/>
                    <a:gd name="connsiteY1" fmla="*/ 16469 h 104775"/>
                    <a:gd name="connsiteX2" fmla="*/ 7144 w 76200"/>
                    <a:gd name="connsiteY2" fmla="*/ 7144 h 104775"/>
                    <a:gd name="connsiteX3" fmla="*/ 69942 w 76200"/>
                    <a:gd name="connsiteY3" fmla="*/ 7144 h 104775"/>
                    <a:gd name="connsiteX4" fmla="*/ 69942 w 76200"/>
                    <a:gd name="connsiteY4" fmla="*/ 16469 h 104775"/>
                    <a:gd name="connsiteX5" fmla="*/ 46329 w 76200"/>
                    <a:gd name="connsiteY5" fmla="*/ 16469 h 104775"/>
                    <a:gd name="connsiteX6" fmla="*/ 46329 w 76200"/>
                    <a:gd name="connsiteY6" fmla="*/ 104747 h 104775"/>
                    <a:gd name="connsiteX7" fmla="*/ 30766 w 76200"/>
                    <a:gd name="connsiteY7" fmla="*/ 104747 h 104775"/>
                    <a:gd name="connsiteX8" fmla="*/ 30766 w 76200"/>
                    <a:gd name="connsiteY8" fmla="*/ 164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4775">
                      <a:moveTo>
                        <a:pt x="30756" y="16469"/>
                      </a:moveTo>
                      <a:lnTo>
                        <a:pt x="7144" y="16469"/>
                      </a:lnTo>
                      <a:lnTo>
                        <a:pt x="7144" y="7144"/>
                      </a:lnTo>
                      <a:lnTo>
                        <a:pt x="69942" y="7144"/>
                      </a:lnTo>
                      <a:lnTo>
                        <a:pt x="69942" y="16469"/>
                      </a:lnTo>
                      <a:lnTo>
                        <a:pt x="46329" y="16469"/>
                      </a:lnTo>
                      <a:lnTo>
                        <a:pt x="46329" y="104747"/>
                      </a:lnTo>
                      <a:lnTo>
                        <a:pt x="30766" y="104747"/>
                      </a:lnTo>
                      <a:lnTo>
                        <a:pt x="30766" y="16469"/>
                      </a:lnTo>
                      <a:close/>
                    </a:path>
                  </a:pathLst>
                </a:custGeom>
                <a:solidFill>
                  <a:schemeClr val="bg1"/>
                </a:solidFill>
                <a:ln w="9525" cap="flat">
                  <a:noFill/>
                  <a:prstDash val="solid"/>
                  <a:miter/>
                </a:ln>
              </p:spPr>
              <p:txBody>
                <a:bodyPr rtlCol="0" anchor="ctr"/>
                <a:lstStyle/>
                <a:p>
                  <a:endParaRPr lang="ja-JP" altLang="en-US" dirty="0"/>
                </a:p>
              </p:txBody>
            </p:sp>
            <p:sp>
              <p:nvSpPr>
                <p:cNvPr id="1118" name="フリーフォーム: 図形 69"/>
                <p:cNvSpPr/>
                <p:nvPr/>
              </p:nvSpPr>
              <p:spPr>
                <a:xfrm>
                  <a:off x="2416669"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119" name="フリーフォーム: 図形 70"/>
                <p:cNvSpPr/>
                <p:nvPr/>
              </p:nvSpPr>
              <p:spPr>
                <a:xfrm>
                  <a:off x="2462075" y="5886475"/>
                  <a:ext cx="57150" cy="76200"/>
                </a:xfrm>
                <a:custGeom>
                  <a:avLst/>
                  <a:gdLst>
                    <a:gd name="connsiteX0" fmla="*/ 44777 w 57150"/>
                    <a:gd name="connsiteY0" fmla="*/ 66694 h 76200"/>
                    <a:gd name="connsiteX1" fmla="*/ 44482 w 57150"/>
                    <a:gd name="connsiteY1" fmla="*/ 66694 h 76200"/>
                    <a:gd name="connsiteX2" fmla="*/ 25537 w 57150"/>
                    <a:gd name="connsiteY2" fmla="*/ 77581 h 76200"/>
                    <a:gd name="connsiteX3" fmla="*/ 7144 w 57150"/>
                    <a:gd name="connsiteY3" fmla="*/ 60760 h 76200"/>
                    <a:gd name="connsiteX4" fmla="*/ 44777 w 57150"/>
                    <a:gd name="connsiteY4" fmla="*/ 38548 h 76200"/>
                    <a:gd name="connsiteX5" fmla="*/ 44777 w 57150"/>
                    <a:gd name="connsiteY5" fmla="*/ 32613 h 76200"/>
                    <a:gd name="connsiteX6" fmla="*/ 35290 w 57150"/>
                    <a:gd name="connsiteY6" fmla="*/ 13078 h 76200"/>
                    <a:gd name="connsiteX7" fmla="*/ 24394 w 57150"/>
                    <a:gd name="connsiteY7" fmla="*/ 27794 h 76200"/>
                    <a:gd name="connsiteX8" fmla="*/ 9401 w 57150"/>
                    <a:gd name="connsiteY8" fmla="*/ 27794 h 76200"/>
                    <a:gd name="connsiteX9" fmla="*/ 35290 w 57150"/>
                    <a:gd name="connsiteY9" fmla="*/ 7144 h 76200"/>
                    <a:gd name="connsiteX10" fmla="*/ 59064 w 57150"/>
                    <a:gd name="connsiteY10" fmla="*/ 32613 h 76200"/>
                    <a:gd name="connsiteX11" fmla="*/ 59064 w 57150"/>
                    <a:gd name="connsiteY11" fmla="*/ 76038 h 76200"/>
                    <a:gd name="connsiteX12" fmla="*/ 44777 w 57150"/>
                    <a:gd name="connsiteY12" fmla="*/ 76038 h 76200"/>
                    <a:gd name="connsiteX13" fmla="*/ 44777 w 57150"/>
                    <a:gd name="connsiteY13" fmla="*/ 66694 h 76200"/>
                    <a:gd name="connsiteX14" fmla="*/ 44777 w 57150"/>
                    <a:gd name="connsiteY14" fmla="*/ 44482 h 76200"/>
                    <a:gd name="connsiteX15" fmla="*/ 22708 w 57150"/>
                    <a:gd name="connsiteY15" fmla="*/ 58636 h 76200"/>
                    <a:gd name="connsiteX16" fmla="*/ 30899 w 57150"/>
                    <a:gd name="connsiteY16" fmla="*/ 68666 h 76200"/>
                    <a:gd name="connsiteX17" fmla="*/ 44777 w 57150"/>
                    <a:gd name="connsiteY17" fmla="*/ 52406 h 76200"/>
                    <a:gd name="connsiteX18" fmla="*/ 44777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77" y="66694"/>
                      </a:moveTo>
                      <a:lnTo>
                        <a:pt x="44482" y="66694"/>
                      </a:lnTo>
                      <a:cubicBezTo>
                        <a:pt x="42224" y="70656"/>
                        <a:pt x="36281" y="77581"/>
                        <a:pt x="25537" y="77581"/>
                      </a:cubicBezTo>
                      <a:cubicBezTo>
                        <a:pt x="14926" y="77581"/>
                        <a:pt x="7144" y="70085"/>
                        <a:pt x="7144" y="60760"/>
                      </a:cubicBezTo>
                      <a:cubicBezTo>
                        <a:pt x="7144" y="39957"/>
                        <a:pt x="35861" y="38976"/>
                        <a:pt x="44777" y="38548"/>
                      </a:cubicBezTo>
                      <a:lnTo>
                        <a:pt x="44777" y="32613"/>
                      </a:lnTo>
                      <a:cubicBezTo>
                        <a:pt x="44777" y="25251"/>
                        <a:pt x="44777" y="13078"/>
                        <a:pt x="35290" y="13078"/>
                      </a:cubicBezTo>
                      <a:cubicBezTo>
                        <a:pt x="26518" y="13078"/>
                        <a:pt x="24965" y="19869"/>
                        <a:pt x="24394" y="27794"/>
                      </a:cubicBezTo>
                      <a:lnTo>
                        <a:pt x="9401" y="27794"/>
                      </a:lnTo>
                      <a:cubicBezTo>
                        <a:pt x="10106" y="17745"/>
                        <a:pt x="14068" y="7144"/>
                        <a:pt x="35290" y="7144"/>
                      </a:cubicBezTo>
                      <a:cubicBezTo>
                        <a:pt x="57217" y="7144"/>
                        <a:pt x="59064" y="19440"/>
                        <a:pt x="59064" y="32613"/>
                      </a:cubicBezTo>
                      <a:lnTo>
                        <a:pt x="59064" y="76038"/>
                      </a:lnTo>
                      <a:lnTo>
                        <a:pt x="44777" y="76038"/>
                      </a:lnTo>
                      <a:lnTo>
                        <a:pt x="44777" y="66694"/>
                      </a:lnTo>
                      <a:close/>
                      <a:moveTo>
                        <a:pt x="44777" y="44482"/>
                      </a:moveTo>
                      <a:cubicBezTo>
                        <a:pt x="38824" y="44910"/>
                        <a:pt x="22708" y="46177"/>
                        <a:pt x="22708" y="58636"/>
                      </a:cubicBezTo>
                      <a:cubicBezTo>
                        <a:pt x="22708" y="64703"/>
                        <a:pt x="26241" y="68666"/>
                        <a:pt x="30899" y="68666"/>
                      </a:cubicBezTo>
                      <a:cubicBezTo>
                        <a:pt x="35861" y="68666"/>
                        <a:pt x="44777" y="63865"/>
                        <a:pt x="44777" y="52406"/>
                      </a:cubicBezTo>
                      <a:lnTo>
                        <a:pt x="44777" y="44482"/>
                      </a:lnTo>
                      <a:close/>
                    </a:path>
                  </a:pathLst>
                </a:custGeom>
                <a:solidFill>
                  <a:schemeClr val="bg1"/>
                </a:solidFill>
                <a:ln w="9525" cap="flat">
                  <a:noFill/>
                  <a:prstDash val="solid"/>
                  <a:miter/>
                </a:ln>
              </p:spPr>
              <p:txBody>
                <a:bodyPr rtlCol="0" anchor="ctr"/>
                <a:lstStyle/>
                <a:p>
                  <a:endParaRPr lang="ja-JP" altLang="en-US" dirty="0"/>
                </a:p>
              </p:txBody>
            </p:sp>
            <p:sp>
              <p:nvSpPr>
                <p:cNvPr id="1120" name="フリーフォーム: 図形 71"/>
                <p:cNvSpPr/>
                <p:nvPr/>
              </p:nvSpPr>
              <p:spPr>
                <a:xfrm>
                  <a:off x="2534627" y="5886475"/>
                  <a:ext cx="66675" cy="76200"/>
                </a:xfrm>
                <a:custGeom>
                  <a:avLst/>
                  <a:gdLst>
                    <a:gd name="connsiteX0" fmla="*/ 7153 w 66675"/>
                    <a:gd name="connsiteY0" fmla="*/ 8706 h 76200"/>
                    <a:gd name="connsiteX1" fmla="*/ 21431 w 66675"/>
                    <a:gd name="connsiteY1" fmla="*/ 8706 h 76200"/>
                    <a:gd name="connsiteX2" fmla="*/ 21431 w 66675"/>
                    <a:gd name="connsiteY2" fmla="*/ 24689 h 76200"/>
                    <a:gd name="connsiteX3" fmla="*/ 21717 w 66675"/>
                    <a:gd name="connsiteY3" fmla="*/ 24689 h 76200"/>
                    <a:gd name="connsiteX4" fmla="*/ 45329 w 66675"/>
                    <a:gd name="connsiteY4" fmla="*/ 7144 h 76200"/>
                    <a:gd name="connsiteX5" fmla="*/ 62303 w 66675"/>
                    <a:gd name="connsiteY5" fmla="*/ 26803 h 76200"/>
                    <a:gd name="connsiteX6" fmla="*/ 62303 w 66675"/>
                    <a:gd name="connsiteY6" fmla="*/ 76029 h 76200"/>
                    <a:gd name="connsiteX7" fmla="*/ 48015 w 66675"/>
                    <a:gd name="connsiteY7" fmla="*/ 76029 h 76200"/>
                    <a:gd name="connsiteX8" fmla="*/ 48015 w 66675"/>
                    <a:gd name="connsiteY8" fmla="*/ 33871 h 76200"/>
                    <a:gd name="connsiteX9" fmla="*/ 39529 w 66675"/>
                    <a:gd name="connsiteY9" fmla="*/ 17745 h 76200"/>
                    <a:gd name="connsiteX10" fmla="*/ 21422 w 66675"/>
                    <a:gd name="connsiteY10" fmla="*/ 48158 h 76200"/>
                    <a:gd name="connsiteX11" fmla="*/ 21422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31" y="8706"/>
                      </a:lnTo>
                      <a:lnTo>
                        <a:pt x="21431" y="24689"/>
                      </a:lnTo>
                      <a:lnTo>
                        <a:pt x="21717" y="24689"/>
                      </a:lnTo>
                      <a:cubicBezTo>
                        <a:pt x="23974" y="19736"/>
                        <a:pt x="30489" y="7144"/>
                        <a:pt x="45329" y="7144"/>
                      </a:cubicBezTo>
                      <a:cubicBezTo>
                        <a:pt x="57217" y="7144"/>
                        <a:pt x="62303" y="17040"/>
                        <a:pt x="62303" y="26803"/>
                      </a:cubicBezTo>
                      <a:lnTo>
                        <a:pt x="62303" y="76029"/>
                      </a:lnTo>
                      <a:lnTo>
                        <a:pt x="48015" y="76029"/>
                      </a:lnTo>
                      <a:lnTo>
                        <a:pt x="48015" y="33871"/>
                      </a:lnTo>
                      <a:cubicBezTo>
                        <a:pt x="48015" y="25384"/>
                        <a:pt x="46739" y="17745"/>
                        <a:pt x="39529" y="17745"/>
                      </a:cubicBezTo>
                      <a:cubicBezTo>
                        <a:pt x="25384" y="17745"/>
                        <a:pt x="21422" y="39805"/>
                        <a:pt x="21422" y="48158"/>
                      </a:cubicBezTo>
                      <a:lnTo>
                        <a:pt x="21422"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121" name="フリーフォーム: 図形 72"/>
                <p:cNvSpPr/>
                <p:nvPr/>
              </p:nvSpPr>
              <p:spPr>
                <a:xfrm>
                  <a:off x="2607750" y="5886465"/>
                  <a:ext cx="57150" cy="76200"/>
                </a:xfrm>
                <a:custGeom>
                  <a:avLst/>
                  <a:gdLst>
                    <a:gd name="connsiteX0" fmla="*/ 46615 w 57150"/>
                    <a:gd name="connsiteY0" fmla="*/ 22003 h 76200"/>
                    <a:gd name="connsiteX1" fmla="*/ 29642 w 57150"/>
                    <a:gd name="connsiteY1" fmla="*/ 15364 h 76200"/>
                    <a:gd name="connsiteX2" fmla="*/ 20022 w 57150"/>
                    <a:gd name="connsiteY2" fmla="*/ 22431 h 76200"/>
                    <a:gd name="connsiteX3" fmla="*/ 50854 w 57150"/>
                    <a:gd name="connsiteY3" fmla="*/ 57236 h 76200"/>
                    <a:gd name="connsiteX4" fmla="*/ 25251 w 57150"/>
                    <a:gd name="connsiteY4" fmla="*/ 77591 h 76200"/>
                    <a:gd name="connsiteX5" fmla="*/ 7277 w 57150"/>
                    <a:gd name="connsiteY5" fmla="*/ 74628 h 76200"/>
                    <a:gd name="connsiteX6" fmla="*/ 7277 w 57150"/>
                    <a:gd name="connsiteY6" fmla="*/ 61474 h 76200"/>
                    <a:gd name="connsiteX7" fmla="*/ 25956 w 57150"/>
                    <a:gd name="connsiteY7" fmla="*/ 68542 h 76200"/>
                    <a:gd name="connsiteX8" fmla="*/ 37557 w 57150"/>
                    <a:gd name="connsiteY8" fmla="*/ 60055 h 76200"/>
                    <a:gd name="connsiteX9" fmla="*/ 7144 w 57150"/>
                    <a:gd name="connsiteY9" fmla="*/ 26527 h 76200"/>
                    <a:gd name="connsiteX10" fmla="*/ 3076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15" y="22003"/>
                      </a:moveTo>
                      <a:cubicBezTo>
                        <a:pt x="41805" y="18745"/>
                        <a:pt x="36433" y="15364"/>
                        <a:pt x="29642" y="15364"/>
                      </a:cubicBezTo>
                      <a:cubicBezTo>
                        <a:pt x="25108" y="15364"/>
                        <a:pt x="20022" y="17336"/>
                        <a:pt x="20022" y="22431"/>
                      </a:cubicBezTo>
                      <a:cubicBezTo>
                        <a:pt x="20022" y="34595"/>
                        <a:pt x="50854" y="35728"/>
                        <a:pt x="50854" y="57236"/>
                      </a:cubicBezTo>
                      <a:cubicBezTo>
                        <a:pt x="50854" y="71656"/>
                        <a:pt x="39538" y="77591"/>
                        <a:pt x="25251" y="77591"/>
                      </a:cubicBezTo>
                      <a:cubicBezTo>
                        <a:pt x="16621" y="77591"/>
                        <a:pt x="10678" y="75771"/>
                        <a:pt x="7277" y="74628"/>
                      </a:cubicBezTo>
                      <a:lnTo>
                        <a:pt x="7277" y="61474"/>
                      </a:lnTo>
                      <a:cubicBezTo>
                        <a:pt x="11382" y="64303"/>
                        <a:pt x="18031" y="68542"/>
                        <a:pt x="25956" y="68542"/>
                      </a:cubicBezTo>
                      <a:cubicBezTo>
                        <a:pt x="34157" y="68542"/>
                        <a:pt x="37557" y="64303"/>
                        <a:pt x="37557" y="60055"/>
                      </a:cubicBezTo>
                      <a:cubicBezTo>
                        <a:pt x="37557" y="48168"/>
                        <a:pt x="7144" y="45768"/>
                        <a:pt x="7144" y="26527"/>
                      </a:cubicBezTo>
                      <a:cubicBezTo>
                        <a:pt x="7144" y="16335"/>
                        <a:pt x="13935" y="7144"/>
                        <a:pt x="30766" y="7144"/>
                      </a:cubicBezTo>
                      <a:cubicBezTo>
                        <a:pt x="37976" y="7144"/>
                        <a:pt x="44196" y="9115"/>
                        <a:pt x="46606" y="9820"/>
                      </a:cubicBezTo>
                      <a:lnTo>
                        <a:pt x="46606" y="22003"/>
                      </a:lnTo>
                      <a:close/>
                    </a:path>
                  </a:pathLst>
                </a:custGeom>
                <a:solidFill>
                  <a:schemeClr val="bg1"/>
                </a:solidFill>
                <a:ln w="9525" cap="flat">
                  <a:noFill/>
                  <a:prstDash val="solid"/>
                  <a:miter/>
                </a:ln>
              </p:spPr>
              <p:txBody>
                <a:bodyPr rtlCol="0" anchor="ctr"/>
                <a:lstStyle/>
                <a:p>
                  <a:endParaRPr lang="ja-JP" altLang="en-US" dirty="0"/>
                </a:p>
              </p:txBody>
            </p:sp>
            <p:sp>
              <p:nvSpPr>
                <p:cNvPr id="1122" name="フリーフォーム: 図形 73"/>
                <p:cNvSpPr/>
                <p:nvPr/>
              </p:nvSpPr>
              <p:spPr>
                <a:xfrm>
                  <a:off x="2668015" y="5886475"/>
                  <a:ext cx="66675" cy="104775"/>
                </a:xfrm>
                <a:custGeom>
                  <a:avLst/>
                  <a:gdLst>
                    <a:gd name="connsiteX0" fmla="*/ 7144 w 66675"/>
                    <a:gd name="connsiteY0" fmla="*/ 8706 h 104775"/>
                    <a:gd name="connsiteX1" fmla="*/ 21431 w 66675"/>
                    <a:gd name="connsiteY1" fmla="*/ 8706 h 104775"/>
                    <a:gd name="connsiteX2" fmla="*/ 21431 w 66675"/>
                    <a:gd name="connsiteY2" fmla="*/ 19736 h 104775"/>
                    <a:gd name="connsiteX3" fmla="*/ 21707 w 66675"/>
                    <a:gd name="connsiteY3" fmla="*/ 19736 h 104775"/>
                    <a:gd name="connsiteX4" fmla="*/ 39110 w 66675"/>
                    <a:gd name="connsiteY4" fmla="*/ 7144 h 104775"/>
                    <a:gd name="connsiteX5" fmla="*/ 64570 w 66675"/>
                    <a:gd name="connsiteY5" fmla="*/ 42358 h 104775"/>
                    <a:gd name="connsiteX6" fmla="*/ 39110 w 66675"/>
                    <a:gd name="connsiteY6" fmla="*/ 77571 h 104775"/>
                    <a:gd name="connsiteX7" fmla="*/ 21707 w 66675"/>
                    <a:gd name="connsiteY7" fmla="*/ 66684 h 104775"/>
                    <a:gd name="connsiteX8" fmla="*/ 21431 w 66675"/>
                    <a:gd name="connsiteY8" fmla="*/ 66684 h 104775"/>
                    <a:gd name="connsiteX9" fmla="*/ 21431 w 66675"/>
                    <a:gd name="connsiteY9" fmla="*/ 106289 h 104775"/>
                    <a:gd name="connsiteX10" fmla="*/ 7144 w 66675"/>
                    <a:gd name="connsiteY10" fmla="*/ 106289 h 104775"/>
                    <a:gd name="connsiteX11" fmla="*/ 7144 w 66675"/>
                    <a:gd name="connsiteY11" fmla="*/ 8706 h 104775"/>
                    <a:gd name="connsiteX12" fmla="*/ 35423 w 66675"/>
                    <a:gd name="connsiteY12" fmla="*/ 69370 h 104775"/>
                    <a:gd name="connsiteX13" fmla="*/ 49006 w 66675"/>
                    <a:gd name="connsiteY13" fmla="*/ 42358 h 104775"/>
                    <a:gd name="connsiteX14" fmla="*/ 35423 w 66675"/>
                    <a:gd name="connsiteY14" fmla="*/ 16202 h 104775"/>
                    <a:gd name="connsiteX15" fmla="*/ 21993 w 66675"/>
                    <a:gd name="connsiteY15" fmla="*/ 42358 h 104775"/>
                    <a:gd name="connsiteX16" fmla="*/ 35423 w 66675"/>
                    <a:gd name="connsiteY16" fmla="*/ 6937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7144" y="8706"/>
                      </a:moveTo>
                      <a:lnTo>
                        <a:pt x="21431" y="8706"/>
                      </a:lnTo>
                      <a:lnTo>
                        <a:pt x="21431" y="19736"/>
                      </a:lnTo>
                      <a:lnTo>
                        <a:pt x="21707" y="19736"/>
                      </a:lnTo>
                      <a:cubicBezTo>
                        <a:pt x="23689" y="15192"/>
                        <a:pt x="28356" y="7144"/>
                        <a:pt x="39110" y="7144"/>
                      </a:cubicBezTo>
                      <a:cubicBezTo>
                        <a:pt x="58626" y="7144"/>
                        <a:pt x="64570" y="22993"/>
                        <a:pt x="64570" y="42358"/>
                      </a:cubicBezTo>
                      <a:cubicBezTo>
                        <a:pt x="64570" y="62579"/>
                        <a:pt x="57074" y="77571"/>
                        <a:pt x="39110" y="77571"/>
                      </a:cubicBezTo>
                      <a:cubicBezTo>
                        <a:pt x="27794" y="77571"/>
                        <a:pt x="23689" y="70371"/>
                        <a:pt x="21707" y="66684"/>
                      </a:cubicBezTo>
                      <a:lnTo>
                        <a:pt x="21431" y="66684"/>
                      </a:lnTo>
                      <a:lnTo>
                        <a:pt x="21431" y="106289"/>
                      </a:lnTo>
                      <a:lnTo>
                        <a:pt x="7144" y="106289"/>
                      </a:lnTo>
                      <a:lnTo>
                        <a:pt x="7144" y="8706"/>
                      </a:lnTo>
                      <a:close/>
                      <a:moveTo>
                        <a:pt x="35423" y="69370"/>
                      </a:moveTo>
                      <a:cubicBezTo>
                        <a:pt x="46606" y="69370"/>
                        <a:pt x="49006" y="54092"/>
                        <a:pt x="49006" y="42358"/>
                      </a:cubicBezTo>
                      <a:cubicBezTo>
                        <a:pt x="49006" y="31194"/>
                        <a:pt x="46882" y="16202"/>
                        <a:pt x="35423" y="16202"/>
                      </a:cubicBezTo>
                      <a:cubicBezTo>
                        <a:pt x="23689" y="16202"/>
                        <a:pt x="21993" y="31194"/>
                        <a:pt x="21993" y="42358"/>
                      </a:cubicBezTo>
                      <a:cubicBezTo>
                        <a:pt x="21993" y="54102"/>
                        <a:pt x="23117" y="69370"/>
                        <a:pt x="35423" y="69370"/>
                      </a:cubicBezTo>
                      <a:close/>
                    </a:path>
                  </a:pathLst>
                </a:custGeom>
                <a:solidFill>
                  <a:schemeClr val="bg1"/>
                </a:solidFill>
                <a:ln w="9525" cap="flat">
                  <a:noFill/>
                  <a:prstDash val="solid"/>
                  <a:miter/>
                </a:ln>
              </p:spPr>
              <p:txBody>
                <a:bodyPr rtlCol="0" anchor="ctr"/>
                <a:lstStyle/>
                <a:p>
                  <a:endParaRPr lang="ja-JP" altLang="en-US" dirty="0"/>
                </a:p>
              </p:txBody>
            </p:sp>
            <p:sp>
              <p:nvSpPr>
                <p:cNvPr id="1123" name="フリーフォーム: 図形 74"/>
                <p:cNvSpPr/>
                <p:nvPr/>
              </p:nvSpPr>
              <p:spPr>
                <a:xfrm>
                  <a:off x="2736614" y="5886475"/>
                  <a:ext cx="66675" cy="76200"/>
                </a:xfrm>
                <a:custGeom>
                  <a:avLst/>
                  <a:gdLst>
                    <a:gd name="connsiteX0" fmla="*/ 7144 w 66675"/>
                    <a:gd name="connsiteY0" fmla="*/ 42358 h 76200"/>
                    <a:gd name="connsiteX1" fmla="*/ 36852 w 66675"/>
                    <a:gd name="connsiteY1" fmla="*/ 7144 h 76200"/>
                    <a:gd name="connsiteX2" fmla="*/ 66694 w 66675"/>
                    <a:gd name="connsiteY2" fmla="*/ 42358 h 76200"/>
                    <a:gd name="connsiteX3" fmla="*/ 36852 w 66675"/>
                    <a:gd name="connsiteY3" fmla="*/ 77571 h 76200"/>
                    <a:gd name="connsiteX4" fmla="*/ 7144 w 66675"/>
                    <a:gd name="connsiteY4" fmla="*/ 42358 h 76200"/>
                    <a:gd name="connsiteX5" fmla="*/ 36852 w 66675"/>
                    <a:gd name="connsiteY5" fmla="*/ 71647 h 76200"/>
                    <a:gd name="connsiteX6" fmla="*/ 51130 w 66675"/>
                    <a:gd name="connsiteY6" fmla="*/ 42367 h 76200"/>
                    <a:gd name="connsiteX7" fmla="*/ 36852 w 66675"/>
                    <a:gd name="connsiteY7" fmla="*/ 13087 h 76200"/>
                    <a:gd name="connsiteX8" fmla="*/ 22708 w 66675"/>
                    <a:gd name="connsiteY8" fmla="*/ 42367 h 76200"/>
                    <a:gd name="connsiteX9" fmla="*/ 36852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50" y="7144"/>
                        <a:pt x="36852" y="7144"/>
                      </a:cubicBezTo>
                      <a:cubicBezTo>
                        <a:pt x="56645" y="7144"/>
                        <a:pt x="66694" y="19593"/>
                        <a:pt x="66694" y="42358"/>
                      </a:cubicBezTo>
                      <a:cubicBezTo>
                        <a:pt x="66694" y="65122"/>
                        <a:pt x="56645" y="77571"/>
                        <a:pt x="36852" y="77571"/>
                      </a:cubicBezTo>
                      <a:cubicBezTo>
                        <a:pt x="17050" y="77581"/>
                        <a:pt x="7144" y="65132"/>
                        <a:pt x="7144" y="42358"/>
                      </a:cubicBezTo>
                      <a:close/>
                      <a:moveTo>
                        <a:pt x="36852" y="71647"/>
                      </a:moveTo>
                      <a:cubicBezTo>
                        <a:pt x="49577" y="71647"/>
                        <a:pt x="51130" y="54683"/>
                        <a:pt x="51130" y="42367"/>
                      </a:cubicBezTo>
                      <a:cubicBezTo>
                        <a:pt x="51130" y="30070"/>
                        <a:pt x="49577" y="13087"/>
                        <a:pt x="36852" y="13087"/>
                      </a:cubicBezTo>
                      <a:cubicBezTo>
                        <a:pt x="24260" y="13087"/>
                        <a:pt x="22708" y="30070"/>
                        <a:pt x="22708" y="42367"/>
                      </a:cubicBezTo>
                      <a:cubicBezTo>
                        <a:pt x="22698" y="54673"/>
                        <a:pt x="24260" y="71647"/>
                        <a:pt x="36852" y="71647"/>
                      </a:cubicBezTo>
                      <a:close/>
                    </a:path>
                  </a:pathLst>
                </a:custGeom>
                <a:solidFill>
                  <a:schemeClr val="bg1"/>
                </a:solidFill>
                <a:ln w="9525" cap="flat">
                  <a:noFill/>
                  <a:prstDash val="solid"/>
                  <a:miter/>
                </a:ln>
              </p:spPr>
              <p:txBody>
                <a:bodyPr rtlCol="0" anchor="ctr"/>
                <a:lstStyle/>
                <a:p>
                  <a:endParaRPr lang="ja-JP" altLang="en-US" dirty="0"/>
                </a:p>
              </p:txBody>
            </p:sp>
            <p:sp>
              <p:nvSpPr>
                <p:cNvPr id="1124" name="フリーフォーム: 図形 75"/>
                <p:cNvSpPr/>
                <p:nvPr/>
              </p:nvSpPr>
              <p:spPr>
                <a:xfrm>
                  <a:off x="2812290" y="5886475"/>
                  <a:ext cx="47625" cy="76200"/>
                </a:xfrm>
                <a:custGeom>
                  <a:avLst/>
                  <a:gdLst>
                    <a:gd name="connsiteX0" fmla="*/ 7144 w 47625"/>
                    <a:gd name="connsiteY0" fmla="*/ 8706 h 76200"/>
                    <a:gd name="connsiteX1" fmla="*/ 21422 w 47625"/>
                    <a:gd name="connsiteY1" fmla="*/ 8706 h 76200"/>
                    <a:gd name="connsiteX2" fmla="*/ 21422 w 47625"/>
                    <a:gd name="connsiteY2" fmla="*/ 25822 h 76200"/>
                    <a:gd name="connsiteX3" fmla="*/ 21708 w 47625"/>
                    <a:gd name="connsiteY3" fmla="*/ 25822 h 76200"/>
                    <a:gd name="connsiteX4" fmla="*/ 43491 w 47625"/>
                    <a:gd name="connsiteY4" fmla="*/ 7144 h 76200"/>
                    <a:gd name="connsiteX5" fmla="*/ 43491 w 47625"/>
                    <a:gd name="connsiteY5" fmla="*/ 21993 h 76200"/>
                    <a:gd name="connsiteX6" fmla="*/ 21422 w 47625"/>
                    <a:gd name="connsiteY6" fmla="*/ 45196 h 76200"/>
                    <a:gd name="connsiteX7" fmla="*/ 21422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22" y="8706"/>
                      </a:lnTo>
                      <a:lnTo>
                        <a:pt x="21422" y="25822"/>
                      </a:lnTo>
                      <a:lnTo>
                        <a:pt x="21708" y="25822"/>
                      </a:lnTo>
                      <a:cubicBezTo>
                        <a:pt x="26232" y="16764"/>
                        <a:pt x="31185" y="8134"/>
                        <a:pt x="43491" y="7144"/>
                      </a:cubicBezTo>
                      <a:lnTo>
                        <a:pt x="43491" y="21993"/>
                      </a:lnTo>
                      <a:cubicBezTo>
                        <a:pt x="29775" y="22422"/>
                        <a:pt x="21422" y="27089"/>
                        <a:pt x="21422" y="45196"/>
                      </a:cubicBezTo>
                      <a:lnTo>
                        <a:pt x="21422"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125" name="フリーフォーム: 図形 76"/>
                <p:cNvSpPr/>
                <p:nvPr/>
              </p:nvSpPr>
              <p:spPr>
                <a:xfrm>
                  <a:off x="2855562" y="5863567"/>
                  <a:ext cx="57150" cy="104775"/>
                </a:xfrm>
                <a:custGeom>
                  <a:avLst/>
                  <a:gdLst>
                    <a:gd name="connsiteX0" fmla="*/ 49016 w 57150"/>
                    <a:gd name="connsiteY0" fmla="*/ 99498 h 104775"/>
                    <a:gd name="connsiteX1" fmla="*/ 39110 w 57150"/>
                    <a:gd name="connsiteY1" fmla="*/ 100489 h 104775"/>
                    <a:gd name="connsiteX2" fmla="*/ 17888 w 57150"/>
                    <a:gd name="connsiteY2" fmla="*/ 83372 h 104775"/>
                    <a:gd name="connsiteX3" fmla="*/ 17888 w 57150"/>
                    <a:gd name="connsiteY3" fmla="*/ 38967 h 104775"/>
                    <a:gd name="connsiteX4" fmla="*/ 7144 w 57150"/>
                    <a:gd name="connsiteY4" fmla="*/ 38967 h 104775"/>
                    <a:gd name="connsiteX5" fmla="*/ 7144 w 57150"/>
                    <a:gd name="connsiteY5" fmla="*/ 31623 h 104775"/>
                    <a:gd name="connsiteX6" fmla="*/ 17888 w 57150"/>
                    <a:gd name="connsiteY6" fmla="*/ 31623 h 104775"/>
                    <a:gd name="connsiteX7" fmla="*/ 17888 w 57150"/>
                    <a:gd name="connsiteY7" fmla="*/ 15773 h 104775"/>
                    <a:gd name="connsiteX8" fmla="*/ 32175 w 57150"/>
                    <a:gd name="connsiteY8" fmla="*/ 7144 h 104775"/>
                    <a:gd name="connsiteX9" fmla="*/ 32175 w 57150"/>
                    <a:gd name="connsiteY9" fmla="*/ 31623 h 104775"/>
                    <a:gd name="connsiteX10" fmla="*/ 50568 w 57150"/>
                    <a:gd name="connsiteY10" fmla="*/ 31623 h 104775"/>
                    <a:gd name="connsiteX11" fmla="*/ 50568 w 57150"/>
                    <a:gd name="connsiteY11" fmla="*/ 38967 h 104775"/>
                    <a:gd name="connsiteX12" fmla="*/ 32175 w 57150"/>
                    <a:gd name="connsiteY12" fmla="*/ 38967 h 104775"/>
                    <a:gd name="connsiteX13" fmla="*/ 32175 w 57150"/>
                    <a:gd name="connsiteY13" fmla="*/ 77714 h 104775"/>
                    <a:gd name="connsiteX14" fmla="*/ 42358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77" y="100203"/>
                        <a:pt x="42367" y="100489"/>
                        <a:pt x="39110" y="100489"/>
                      </a:cubicBezTo>
                      <a:cubicBezTo>
                        <a:pt x="25679" y="100489"/>
                        <a:pt x="17888" y="96393"/>
                        <a:pt x="17888" y="83372"/>
                      </a:cubicBezTo>
                      <a:lnTo>
                        <a:pt x="17888" y="38967"/>
                      </a:lnTo>
                      <a:lnTo>
                        <a:pt x="7144" y="38967"/>
                      </a:lnTo>
                      <a:lnTo>
                        <a:pt x="7144" y="31623"/>
                      </a:lnTo>
                      <a:lnTo>
                        <a:pt x="17888" y="31623"/>
                      </a:lnTo>
                      <a:lnTo>
                        <a:pt x="17888" y="15773"/>
                      </a:lnTo>
                      <a:lnTo>
                        <a:pt x="32175" y="7144"/>
                      </a:lnTo>
                      <a:lnTo>
                        <a:pt x="32175" y="31623"/>
                      </a:lnTo>
                      <a:lnTo>
                        <a:pt x="50568" y="31623"/>
                      </a:lnTo>
                      <a:lnTo>
                        <a:pt x="50568" y="38967"/>
                      </a:lnTo>
                      <a:lnTo>
                        <a:pt x="32175" y="38967"/>
                      </a:lnTo>
                      <a:lnTo>
                        <a:pt x="32175" y="77714"/>
                      </a:lnTo>
                      <a:cubicBezTo>
                        <a:pt x="32175" y="87611"/>
                        <a:pt x="33166" y="92430"/>
                        <a:pt x="42358" y="92430"/>
                      </a:cubicBezTo>
                      <a:cubicBezTo>
                        <a:pt x="44615" y="92430"/>
                        <a:pt x="47025" y="92154"/>
                        <a:pt x="49006" y="91297"/>
                      </a:cubicBezTo>
                      <a:lnTo>
                        <a:pt x="49006" y="99498"/>
                      </a:lnTo>
                      <a:close/>
                    </a:path>
                  </a:pathLst>
                </a:custGeom>
                <a:solidFill>
                  <a:schemeClr val="bg1"/>
                </a:solidFill>
                <a:ln w="9525" cap="flat">
                  <a:noFill/>
                  <a:prstDash val="solid"/>
                  <a:miter/>
                </a:ln>
              </p:spPr>
              <p:txBody>
                <a:bodyPr rtlCol="0" anchor="ctr"/>
                <a:lstStyle/>
                <a:p>
                  <a:endParaRPr lang="ja-JP" altLang="en-US" dirty="0"/>
                </a:p>
              </p:txBody>
            </p:sp>
            <p:sp>
              <p:nvSpPr>
                <p:cNvPr id="1126" name="フリーフォーム: 図形 77"/>
                <p:cNvSpPr/>
                <p:nvPr/>
              </p:nvSpPr>
              <p:spPr>
                <a:xfrm>
                  <a:off x="2946659" y="5886475"/>
                  <a:ext cx="57150" cy="76200"/>
                </a:xfrm>
                <a:custGeom>
                  <a:avLst/>
                  <a:gdLst>
                    <a:gd name="connsiteX0" fmla="*/ 44767 w 57150"/>
                    <a:gd name="connsiteY0" fmla="*/ 66694 h 76200"/>
                    <a:gd name="connsiteX1" fmla="*/ 44491 w 57150"/>
                    <a:gd name="connsiteY1" fmla="*/ 66694 h 76200"/>
                    <a:gd name="connsiteX2" fmla="*/ 25537 w 57150"/>
                    <a:gd name="connsiteY2" fmla="*/ 77581 h 76200"/>
                    <a:gd name="connsiteX3" fmla="*/ 7144 w 57150"/>
                    <a:gd name="connsiteY3" fmla="*/ 60760 h 76200"/>
                    <a:gd name="connsiteX4" fmla="*/ 44767 w 57150"/>
                    <a:gd name="connsiteY4" fmla="*/ 38548 h 76200"/>
                    <a:gd name="connsiteX5" fmla="*/ 44767 w 57150"/>
                    <a:gd name="connsiteY5" fmla="*/ 32613 h 76200"/>
                    <a:gd name="connsiteX6" fmla="*/ 35290 w 57150"/>
                    <a:gd name="connsiteY6" fmla="*/ 13078 h 76200"/>
                    <a:gd name="connsiteX7" fmla="*/ 24403 w 57150"/>
                    <a:gd name="connsiteY7" fmla="*/ 27794 h 76200"/>
                    <a:gd name="connsiteX8" fmla="*/ 9410 w 57150"/>
                    <a:gd name="connsiteY8" fmla="*/ 27794 h 76200"/>
                    <a:gd name="connsiteX9" fmla="*/ 35290 w 57150"/>
                    <a:gd name="connsiteY9" fmla="*/ 7144 h 76200"/>
                    <a:gd name="connsiteX10" fmla="*/ 59055 w 57150"/>
                    <a:gd name="connsiteY10" fmla="*/ 32613 h 76200"/>
                    <a:gd name="connsiteX11" fmla="*/ 59055 w 57150"/>
                    <a:gd name="connsiteY11" fmla="*/ 76038 h 76200"/>
                    <a:gd name="connsiteX12" fmla="*/ 44767 w 57150"/>
                    <a:gd name="connsiteY12" fmla="*/ 76038 h 76200"/>
                    <a:gd name="connsiteX13" fmla="*/ 44767 w 57150"/>
                    <a:gd name="connsiteY13" fmla="*/ 66694 h 76200"/>
                    <a:gd name="connsiteX14" fmla="*/ 44767 w 57150"/>
                    <a:gd name="connsiteY14" fmla="*/ 44482 h 76200"/>
                    <a:gd name="connsiteX15" fmla="*/ 22708 w 57150"/>
                    <a:gd name="connsiteY15" fmla="*/ 58636 h 76200"/>
                    <a:gd name="connsiteX16" fmla="*/ 30909 w 57150"/>
                    <a:gd name="connsiteY16" fmla="*/ 68666 h 76200"/>
                    <a:gd name="connsiteX17" fmla="*/ 44767 w 57150"/>
                    <a:gd name="connsiteY17" fmla="*/ 52406 h 76200"/>
                    <a:gd name="connsiteX18" fmla="*/ 44767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67" y="66694"/>
                      </a:moveTo>
                      <a:lnTo>
                        <a:pt x="44491" y="66694"/>
                      </a:lnTo>
                      <a:cubicBezTo>
                        <a:pt x="42234" y="70656"/>
                        <a:pt x="36290" y="77581"/>
                        <a:pt x="25537" y="77581"/>
                      </a:cubicBezTo>
                      <a:cubicBezTo>
                        <a:pt x="14935" y="77581"/>
                        <a:pt x="7144" y="70085"/>
                        <a:pt x="7144" y="60760"/>
                      </a:cubicBezTo>
                      <a:cubicBezTo>
                        <a:pt x="7144" y="39957"/>
                        <a:pt x="35861" y="38976"/>
                        <a:pt x="44767" y="38548"/>
                      </a:cubicBezTo>
                      <a:lnTo>
                        <a:pt x="44767" y="32613"/>
                      </a:lnTo>
                      <a:cubicBezTo>
                        <a:pt x="44767" y="25251"/>
                        <a:pt x="44767" y="13078"/>
                        <a:pt x="35290" y="13078"/>
                      </a:cubicBezTo>
                      <a:cubicBezTo>
                        <a:pt x="26527" y="13078"/>
                        <a:pt x="24965" y="19869"/>
                        <a:pt x="24403" y="27794"/>
                      </a:cubicBezTo>
                      <a:lnTo>
                        <a:pt x="9410" y="27794"/>
                      </a:lnTo>
                      <a:cubicBezTo>
                        <a:pt x="10115" y="17745"/>
                        <a:pt x="14078" y="7144"/>
                        <a:pt x="35290" y="7144"/>
                      </a:cubicBezTo>
                      <a:cubicBezTo>
                        <a:pt x="57217" y="7144"/>
                        <a:pt x="59055" y="19440"/>
                        <a:pt x="59055" y="32613"/>
                      </a:cubicBezTo>
                      <a:lnTo>
                        <a:pt x="59055" y="76038"/>
                      </a:lnTo>
                      <a:lnTo>
                        <a:pt x="44767" y="76038"/>
                      </a:lnTo>
                      <a:lnTo>
                        <a:pt x="44767" y="66694"/>
                      </a:lnTo>
                      <a:close/>
                      <a:moveTo>
                        <a:pt x="44767" y="44482"/>
                      </a:moveTo>
                      <a:cubicBezTo>
                        <a:pt x="38833" y="44910"/>
                        <a:pt x="22708" y="46177"/>
                        <a:pt x="22708" y="58636"/>
                      </a:cubicBezTo>
                      <a:cubicBezTo>
                        <a:pt x="22708" y="64703"/>
                        <a:pt x="26241" y="68666"/>
                        <a:pt x="30909" y="68666"/>
                      </a:cubicBezTo>
                      <a:cubicBezTo>
                        <a:pt x="35861" y="68666"/>
                        <a:pt x="44767" y="63865"/>
                        <a:pt x="44767" y="52406"/>
                      </a:cubicBezTo>
                      <a:lnTo>
                        <a:pt x="44767" y="44482"/>
                      </a:lnTo>
                      <a:close/>
                    </a:path>
                  </a:pathLst>
                </a:custGeom>
                <a:solidFill>
                  <a:schemeClr val="bg1"/>
                </a:solidFill>
                <a:ln w="9525" cap="flat">
                  <a:noFill/>
                  <a:prstDash val="solid"/>
                  <a:miter/>
                </a:ln>
              </p:spPr>
              <p:txBody>
                <a:bodyPr rtlCol="0" anchor="ctr"/>
                <a:lstStyle/>
                <a:p>
                  <a:endParaRPr lang="ja-JP" altLang="en-US" dirty="0"/>
                </a:p>
              </p:txBody>
            </p:sp>
            <p:sp>
              <p:nvSpPr>
                <p:cNvPr id="1127" name="フリーフォーム: 図形 78"/>
                <p:cNvSpPr/>
                <p:nvPr/>
              </p:nvSpPr>
              <p:spPr>
                <a:xfrm>
                  <a:off x="3019221"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13 w 66675"/>
                    <a:gd name="connsiteY5" fmla="*/ 26803 h 76200"/>
                    <a:gd name="connsiteX6" fmla="*/ 62313 w 66675"/>
                    <a:gd name="connsiteY6" fmla="*/ 76029 h 76200"/>
                    <a:gd name="connsiteX7" fmla="*/ 48025 w 66675"/>
                    <a:gd name="connsiteY7" fmla="*/ 76029 h 76200"/>
                    <a:gd name="connsiteX8" fmla="*/ 48025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84" y="19736"/>
                        <a:pt x="30490" y="7144"/>
                        <a:pt x="45339" y="7144"/>
                      </a:cubicBezTo>
                      <a:cubicBezTo>
                        <a:pt x="57217" y="7144"/>
                        <a:pt x="62313" y="17040"/>
                        <a:pt x="62313" y="26803"/>
                      </a:cubicBezTo>
                      <a:lnTo>
                        <a:pt x="62313" y="76029"/>
                      </a:lnTo>
                      <a:lnTo>
                        <a:pt x="48025" y="76029"/>
                      </a:lnTo>
                      <a:lnTo>
                        <a:pt x="48025" y="33871"/>
                      </a:lnTo>
                      <a:cubicBezTo>
                        <a:pt x="48025" y="25384"/>
                        <a:pt x="46749" y="17745"/>
                        <a:pt x="39529" y="17745"/>
                      </a:cubicBezTo>
                      <a:cubicBezTo>
                        <a:pt x="25394" y="17745"/>
                        <a:pt x="21431" y="39805"/>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128" name="フリーフォーム: 図形 79"/>
                <p:cNvSpPr/>
                <p:nvPr/>
              </p:nvSpPr>
              <p:spPr>
                <a:xfrm>
                  <a:off x="3090515" y="5857776"/>
                  <a:ext cx="66675" cy="104775"/>
                </a:xfrm>
                <a:custGeom>
                  <a:avLst/>
                  <a:gdLst>
                    <a:gd name="connsiteX0" fmla="*/ 50282 w 66675"/>
                    <a:gd name="connsiteY0" fmla="*/ 93697 h 104775"/>
                    <a:gd name="connsiteX1" fmla="*/ 50006 w 66675"/>
                    <a:gd name="connsiteY1" fmla="*/ 93697 h 104775"/>
                    <a:gd name="connsiteX2" fmla="*/ 32461 w 66675"/>
                    <a:gd name="connsiteY2" fmla="*/ 106270 h 104775"/>
                    <a:gd name="connsiteX3" fmla="*/ 7144 w 66675"/>
                    <a:gd name="connsiteY3" fmla="*/ 71056 h 104775"/>
                    <a:gd name="connsiteX4" fmla="*/ 32461 w 66675"/>
                    <a:gd name="connsiteY4" fmla="*/ 35843 h 104775"/>
                    <a:gd name="connsiteX5" fmla="*/ 50006 w 66675"/>
                    <a:gd name="connsiteY5" fmla="*/ 46729 h 104775"/>
                    <a:gd name="connsiteX6" fmla="*/ 50282 w 66675"/>
                    <a:gd name="connsiteY6" fmla="*/ 46729 h 104775"/>
                    <a:gd name="connsiteX7" fmla="*/ 50282 w 66675"/>
                    <a:gd name="connsiteY7" fmla="*/ 7144 h 104775"/>
                    <a:gd name="connsiteX8" fmla="*/ 64570 w 66675"/>
                    <a:gd name="connsiteY8" fmla="*/ 7144 h 104775"/>
                    <a:gd name="connsiteX9" fmla="*/ 64570 w 66675"/>
                    <a:gd name="connsiteY9" fmla="*/ 104737 h 104775"/>
                    <a:gd name="connsiteX10" fmla="*/ 50282 w 66675"/>
                    <a:gd name="connsiteY10" fmla="*/ 104737 h 104775"/>
                    <a:gd name="connsiteX11" fmla="*/ 50282 w 66675"/>
                    <a:gd name="connsiteY11" fmla="*/ 93697 h 104775"/>
                    <a:gd name="connsiteX12" fmla="*/ 36290 w 66675"/>
                    <a:gd name="connsiteY12" fmla="*/ 97241 h 104775"/>
                    <a:gd name="connsiteX13" fmla="*/ 49721 w 66675"/>
                    <a:gd name="connsiteY13" fmla="*/ 71066 h 104775"/>
                    <a:gd name="connsiteX14" fmla="*/ 36290 w 66675"/>
                    <a:gd name="connsiteY14" fmla="*/ 44053 h 104775"/>
                    <a:gd name="connsiteX15" fmla="*/ 22708 w 66675"/>
                    <a:gd name="connsiteY15" fmla="*/ 71066 h 104775"/>
                    <a:gd name="connsiteX16" fmla="*/ 36290 w 66675"/>
                    <a:gd name="connsiteY16" fmla="*/ 9724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0282" y="93697"/>
                      </a:moveTo>
                      <a:lnTo>
                        <a:pt x="50006" y="93697"/>
                      </a:lnTo>
                      <a:cubicBezTo>
                        <a:pt x="48025" y="98222"/>
                        <a:pt x="43358" y="106270"/>
                        <a:pt x="32461" y="106270"/>
                      </a:cubicBezTo>
                      <a:cubicBezTo>
                        <a:pt x="13087" y="106270"/>
                        <a:pt x="7144" y="90440"/>
                        <a:pt x="7144" y="71056"/>
                      </a:cubicBezTo>
                      <a:cubicBezTo>
                        <a:pt x="7144" y="50835"/>
                        <a:pt x="14640" y="35843"/>
                        <a:pt x="32461" y="35843"/>
                      </a:cubicBezTo>
                      <a:cubicBezTo>
                        <a:pt x="43920" y="35843"/>
                        <a:pt x="48025" y="43062"/>
                        <a:pt x="50006" y="46729"/>
                      </a:cubicBezTo>
                      <a:lnTo>
                        <a:pt x="50282" y="46729"/>
                      </a:lnTo>
                      <a:lnTo>
                        <a:pt x="50282" y="7144"/>
                      </a:lnTo>
                      <a:lnTo>
                        <a:pt x="64570" y="7144"/>
                      </a:lnTo>
                      <a:lnTo>
                        <a:pt x="64570" y="104737"/>
                      </a:lnTo>
                      <a:lnTo>
                        <a:pt x="50282" y="104737"/>
                      </a:lnTo>
                      <a:lnTo>
                        <a:pt x="50282" y="93697"/>
                      </a:lnTo>
                      <a:close/>
                      <a:moveTo>
                        <a:pt x="36290" y="97241"/>
                      </a:moveTo>
                      <a:cubicBezTo>
                        <a:pt x="48025" y="97241"/>
                        <a:pt x="49721" y="82248"/>
                        <a:pt x="49721" y="71066"/>
                      </a:cubicBezTo>
                      <a:cubicBezTo>
                        <a:pt x="49721" y="59331"/>
                        <a:pt x="48596" y="44053"/>
                        <a:pt x="36290" y="44053"/>
                      </a:cubicBezTo>
                      <a:cubicBezTo>
                        <a:pt x="25108" y="44053"/>
                        <a:pt x="22708" y="59331"/>
                        <a:pt x="22708" y="71066"/>
                      </a:cubicBezTo>
                      <a:cubicBezTo>
                        <a:pt x="22708" y="82239"/>
                        <a:pt x="24822" y="97241"/>
                        <a:pt x="36290" y="97241"/>
                      </a:cubicBezTo>
                      <a:close/>
                    </a:path>
                  </a:pathLst>
                </a:custGeom>
                <a:solidFill>
                  <a:schemeClr val="bg1"/>
                </a:solidFill>
                <a:ln w="9525" cap="flat">
                  <a:noFill/>
                  <a:prstDash val="solid"/>
                  <a:miter/>
                </a:ln>
              </p:spPr>
              <p:txBody>
                <a:bodyPr rtlCol="0" anchor="ctr"/>
                <a:lstStyle/>
                <a:p>
                  <a:endParaRPr lang="ja-JP" altLang="en-US" dirty="0"/>
                </a:p>
              </p:txBody>
            </p:sp>
            <p:sp>
              <p:nvSpPr>
                <p:cNvPr id="1129" name="フリーフォーム: 図形 80"/>
                <p:cNvSpPr/>
                <p:nvPr/>
              </p:nvSpPr>
              <p:spPr>
                <a:xfrm>
                  <a:off x="3197595" y="5857766"/>
                  <a:ext cx="76200" cy="104775"/>
                </a:xfrm>
                <a:custGeom>
                  <a:avLst/>
                  <a:gdLst>
                    <a:gd name="connsiteX0" fmla="*/ 30766 w 76200"/>
                    <a:gd name="connsiteY0" fmla="*/ 16469 h 104775"/>
                    <a:gd name="connsiteX1" fmla="*/ 7144 w 76200"/>
                    <a:gd name="connsiteY1" fmla="*/ 16469 h 104775"/>
                    <a:gd name="connsiteX2" fmla="*/ 7144 w 76200"/>
                    <a:gd name="connsiteY2" fmla="*/ 7144 h 104775"/>
                    <a:gd name="connsiteX3" fmla="*/ 69952 w 76200"/>
                    <a:gd name="connsiteY3" fmla="*/ 7144 h 104775"/>
                    <a:gd name="connsiteX4" fmla="*/ 69952 w 76200"/>
                    <a:gd name="connsiteY4" fmla="*/ 16469 h 104775"/>
                    <a:gd name="connsiteX5" fmla="*/ 46339 w 76200"/>
                    <a:gd name="connsiteY5" fmla="*/ 16469 h 104775"/>
                    <a:gd name="connsiteX6" fmla="*/ 46339 w 76200"/>
                    <a:gd name="connsiteY6" fmla="*/ 104747 h 104775"/>
                    <a:gd name="connsiteX7" fmla="*/ 30775 w 76200"/>
                    <a:gd name="connsiteY7" fmla="*/ 104747 h 104775"/>
                    <a:gd name="connsiteX8" fmla="*/ 30775 w 76200"/>
                    <a:gd name="connsiteY8" fmla="*/ 164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4775">
                      <a:moveTo>
                        <a:pt x="30766" y="16469"/>
                      </a:moveTo>
                      <a:lnTo>
                        <a:pt x="7144" y="16469"/>
                      </a:lnTo>
                      <a:lnTo>
                        <a:pt x="7144" y="7144"/>
                      </a:lnTo>
                      <a:lnTo>
                        <a:pt x="69952" y="7144"/>
                      </a:lnTo>
                      <a:lnTo>
                        <a:pt x="69952" y="16469"/>
                      </a:lnTo>
                      <a:lnTo>
                        <a:pt x="46339" y="16469"/>
                      </a:lnTo>
                      <a:lnTo>
                        <a:pt x="46339" y="104747"/>
                      </a:lnTo>
                      <a:lnTo>
                        <a:pt x="30775" y="104747"/>
                      </a:lnTo>
                      <a:lnTo>
                        <a:pt x="30775" y="16469"/>
                      </a:lnTo>
                      <a:close/>
                    </a:path>
                  </a:pathLst>
                </a:custGeom>
                <a:solidFill>
                  <a:schemeClr val="bg1"/>
                </a:solidFill>
                <a:ln w="9525" cap="flat">
                  <a:noFill/>
                  <a:prstDash val="solid"/>
                  <a:miter/>
                </a:ln>
              </p:spPr>
              <p:txBody>
                <a:bodyPr rtlCol="0" anchor="ctr"/>
                <a:lstStyle/>
                <a:p>
                  <a:endParaRPr lang="ja-JP" altLang="en-US" dirty="0"/>
                </a:p>
              </p:txBody>
            </p:sp>
            <p:sp>
              <p:nvSpPr>
                <p:cNvPr id="1130" name="フリーフォーム: 図形 81"/>
                <p:cNvSpPr/>
                <p:nvPr/>
              </p:nvSpPr>
              <p:spPr>
                <a:xfrm>
                  <a:off x="3266185" y="5886475"/>
                  <a:ext cx="66675" cy="76200"/>
                </a:xfrm>
                <a:custGeom>
                  <a:avLst/>
                  <a:gdLst>
                    <a:gd name="connsiteX0" fmla="*/ 7144 w 66675"/>
                    <a:gd name="connsiteY0" fmla="*/ 42358 h 76200"/>
                    <a:gd name="connsiteX1" fmla="*/ 36852 w 66675"/>
                    <a:gd name="connsiteY1" fmla="*/ 7144 h 76200"/>
                    <a:gd name="connsiteX2" fmla="*/ 66694 w 66675"/>
                    <a:gd name="connsiteY2" fmla="*/ 42358 h 76200"/>
                    <a:gd name="connsiteX3" fmla="*/ 36852 w 66675"/>
                    <a:gd name="connsiteY3" fmla="*/ 77571 h 76200"/>
                    <a:gd name="connsiteX4" fmla="*/ 7144 w 66675"/>
                    <a:gd name="connsiteY4" fmla="*/ 42358 h 76200"/>
                    <a:gd name="connsiteX5" fmla="*/ 36852 w 66675"/>
                    <a:gd name="connsiteY5" fmla="*/ 71647 h 76200"/>
                    <a:gd name="connsiteX6" fmla="*/ 51140 w 66675"/>
                    <a:gd name="connsiteY6" fmla="*/ 42367 h 76200"/>
                    <a:gd name="connsiteX7" fmla="*/ 36852 w 66675"/>
                    <a:gd name="connsiteY7" fmla="*/ 13087 h 76200"/>
                    <a:gd name="connsiteX8" fmla="*/ 22708 w 66675"/>
                    <a:gd name="connsiteY8" fmla="*/ 42367 h 76200"/>
                    <a:gd name="connsiteX9" fmla="*/ 36852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50" y="7144"/>
                        <a:pt x="36852" y="7144"/>
                      </a:cubicBezTo>
                      <a:cubicBezTo>
                        <a:pt x="56655" y="7144"/>
                        <a:pt x="66694" y="19593"/>
                        <a:pt x="66694" y="42358"/>
                      </a:cubicBezTo>
                      <a:cubicBezTo>
                        <a:pt x="66694" y="65122"/>
                        <a:pt x="56655" y="77571"/>
                        <a:pt x="36852" y="77571"/>
                      </a:cubicBezTo>
                      <a:cubicBezTo>
                        <a:pt x="17050" y="77571"/>
                        <a:pt x="7144" y="65132"/>
                        <a:pt x="7144" y="42358"/>
                      </a:cubicBezTo>
                      <a:close/>
                      <a:moveTo>
                        <a:pt x="36852" y="71647"/>
                      </a:moveTo>
                      <a:cubicBezTo>
                        <a:pt x="49578" y="71647"/>
                        <a:pt x="51140" y="54683"/>
                        <a:pt x="51140" y="42367"/>
                      </a:cubicBezTo>
                      <a:cubicBezTo>
                        <a:pt x="51140" y="30070"/>
                        <a:pt x="49578" y="13087"/>
                        <a:pt x="36852" y="13087"/>
                      </a:cubicBezTo>
                      <a:cubicBezTo>
                        <a:pt x="24261" y="13087"/>
                        <a:pt x="22708" y="30070"/>
                        <a:pt x="22708" y="42367"/>
                      </a:cubicBezTo>
                      <a:cubicBezTo>
                        <a:pt x="22708" y="54673"/>
                        <a:pt x="24261" y="71647"/>
                        <a:pt x="36852" y="71647"/>
                      </a:cubicBezTo>
                      <a:close/>
                    </a:path>
                  </a:pathLst>
                </a:custGeom>
                <a:solidFill>
                  <a:schemeClr val="bg1"/>
                </a:solidFill>
                <a:ln w="9525" cap="flat">
                  <a:noFill/>
                  <a:prstDash val="solid"/>
                  <a:miter/>
                </a:ln>
              </p:spPr>
              <p:txBody>
                <a:bodyPr rtlCol="0" anchor="ctr"/>
                <a:lstStyle/>
                <a:p>
                  <a:endParaRPr lang="ja-JP" altLang="en-US" dirty="0"/>
                </a:p>
              </p:txBody>
            </p:sp>
            <p:sp>
              <p:nvSpPr>
                <p:cNvPr id="1131" name="フリーフォーム: 図形 82"/>
                <p:cNvSpPr/>
                <p:nvPr/>
              </p:nvSpPr>
              <p:spPr>
                <a:xfrm>
                  <a:off x="3341871" y="5888037"/>
                  <a:ext cx="66675" cy="76200"/>
                </a:xfrm>
                <a:custGeom>
                  <a:avLst/>
                  <a:gdLst>
                    <a:gd name="connsiteX0" fmla="*/ 47873 w 66675"/>
                    <a:gd name="connsiteY0" fmla="*/ 58493 h 76200"/>
                    <a:gd name="connsiteX1" fmla="*/ 47597 w 66675"/>
                    <a:gd name="connsiteY1" fmla="*/ 58493 h 76200"/>
                    <a:gd name="connsiteX2" fmla="*/ 24108 w 66675"/>
                    <a:gd name="connsiteY2" fmla="*/ 76019 h 76200"/>
                    <a:gd name="connsiteX3" fmla="*/ 7144 w 66675"/>
                    <a:gd name="connsiteY3" fmla="*/ 56369 h 76200"/>
                    <a:gd name="connsiteX4" fmla="*/ 7144 w 66675"/>
                    <a:gd name="connsiteY4" fmla="*/ 7144 h 76200"/>
                    <a:gd name="connsiteX5" fmla="*/ 21421 w 66675"/>
                    <a:gd name="connsiteY5" fmla="*/ 7144 h 76200"/>
                    <a:gd name="connsiteX6" fmla="*/ 21421 w 66675"/>
                    <a:gd name="connsiteY6" fmla="*/ 49282 h 76200"/>
                    <a:gd name="connsiteX7" fmla="*/ 29918 w 66675"/>
                    <a:gd name="connsiteY7" fmla="*/ 65408 h 76200"/>
                    <a:gd name="connsiteX8" fmla="*/ 48016 w 66675"/>
                    <a:gd name="connsiteY8" fmla="*/ 34995 h 76200"/>
                    <a:gd name="connsiteX9" fmla="*/ 48016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7" y="58493"/>
                      </a:lnTo>
                      <a:cubicBezTo>
                        <a:pt x="45320" y="63446"/>
                        <a:pt x="38967" y="76019"/>
                        <a:pt x="24108" y="76019"/>
                      </a:cubicBezTo>
                      <a:cubicBezTo>
                        <a:pt x="12230" y="76019"/>
                        <a:pt x="7144" y="66122"/>
                        <a:pt x="7144" y="56369"/>
                      </a:cubicBezTo>
                      <a:lnTo>
                        <a:pt x="7144" y="7144"/>
                      </a:lnTo>
                      <a:lnTo>
                        <a:pt x="21421" y="7144"/>
                      </a:lnTo>
                      <a:lnTo>
                        <a:pt x="21421" y="49282"/>
                      </a:lnTo>
                      <a:cubicBezTo>
                        <a:pt x="21421" y="57788"/>
                        <a:pt x="22698" y="65408"/>
                        <a:pt x="29918" y="65408"/>
                      </a:cubicBezTo>
                      <a:cubicBezTo>
                        <a:pt x="44062" y="65408"/>
                        <a:pt x="48016" y="43348"/>
                        <a:pt x="48016" y="34995"/>
                      </a:cubicBezTo>
                      <a:lnTo>
                        <a:pt x="48016" y="7144"/>
                      </a:lnTo>
                      <a:lnTo>
                        <a:pt x="62303" y="7144"/>
                      </a:lnTo>
                      <a:lnTo>
                        <a:pt x="62303" y="74466"/>
                      </a:lnTo>
                      <a:lnTo>
                        <a:pt x="47873" y="74466"/>
                      </a:lnTo>
                      <a:lnTo>
                        <a:pt x="47873" y="58493"/>
                      </a:lnTo>
                      <a:close/>
                    </a:path>
                  </a:pathLst>
                </a:custGeom>
                <a:solidFill>
                  <a:schemeClr val="bg1"/>
                </a:solidFill>
                <a:ln w="9525" cap="flat">
                  <a:noFill/>
                  <a:prstDash val="solid"/>
                  <a:miter/>
                </a:ln>
              </p:spPr>
              <p:txBody>
                <a:bodyPr rtlCol="0" anchor="ctr"/>
                <a:lstStyle/>
                <a:p>
                  <a:endParaRPr lang="ja-JP" altLang="en-US" dirty="0"/>
                </a:p>
              </p:txBody>
            </p:sp>
            <p:sp>
              <p:nvSpPr>
                <p:cNvPr id="1132" name="フリーフォーム: 図形 83"/>
                <p:cNvSpPr/>
                <p:nvPr/>
              </p:nvSpPr>
              <p:spPr>
                <a:xfrm>
                  <a:off x="3417966" y="5886475"/>
                  <a:ext cx="47625" cy="76200"/>
                </a:xfrm>
                <a:custGeom>
                  <a:avLst/>
                  <a:gdLst>
                    <a:gd name="connsiteX0" fmla="*/ 7144 w 47625"/>
                    <a:gd name="connsiteY0" fmla="*/ 8706 h 76200"/>
                    <a:gd name="connsiteX1" fmla="*/ 21421 w 47625"/>
                    <a:gd name="connsiteY1" fmla="*/ 8706 h 76200"/>
                    <a:gd name="connsiteX2" fmla="*/ 2142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21 w 47625"/>
                    <a:gd name="connsiteY6" fmla="*/ 45196 h 76200"/>
                    <a:gd name="connsiteX7" fmla="*/ 2142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21" y="8706"/>
                      </a:lnTo>
                      <a:lnTo>
                        <a:pt x="21421" y="25822"/>
                      </a:lnTo>
                      <a:lnTo>
                        <a:pt x="21707" y="25822"/>
                      </a:lnTo>
                      <a:cubicBezTo>
                        <a:pt x="26232" y="16764"/>
                        <a:pt x="31185" y="8134"/>
                        <a:pt x="43491" y="7144"/>
                      </a:cubicBezTo>
                      <a:lnTo>
                        <a:pt x="43491" y="21993"/>
                      </a:lnTo>
                      <a:cubicBezTo>
                        <a:pt x="29775" y="22422"/>
                        <a:pt x="21421" y="27089"/>
                        <a:pt x="21421" y="45196"/>
                      </a:cubicBezTo>
                      <a:lnTo>
                        <a:pt x="21421" y="76038"/>
                      </a:lnTo>
                      <a:lnTo>
                        <a:pt x="7144" y="76038"/>
                      </a:lnTo>
                      <a:lnTo>
                        <a:pt x="7144" y="8706"/>
                      </a:lnTo>
                      <a:close/>
                    </a:path>
                  </a:pathLst>
                </a:custGeom>
                <a:solidFill>
                  <a:schemeClr val="bg1"/>
                </a:solidFill>
                <a:ln w="9525" cap="flat">
                  <a:noFill/>
                  <a:prstDash val="solid"/>
                  <a:miter/>
                </a:ln>
              </p:spPr>
              <p:txBody>
                <a:bodyPr rtlCol="0" anchor="ctr"/>
                <a:lstStyle/>
                <a:p>
                  <a:endParaRPr lang="ja-JP" altLang="en-US" dirty="0"/>
                </a:p>
              </p:txBody>
            </p:sp>
            <p:sp>
              <p:nvSpPr>
                <p:cNvPr id="1133" name="フリーフォーム: 図形 84"/>
                <p:cNvSpPr/>
                <p:nvPr/>
              </p:nvSpPr>
              <p:spPr>
                <a:xfrm>
                  <a:off x="3467886" y="5857776"/>
                  <a:ext cx="28575" cy="104775"/>
                </a:xfrm>
                <a:custGeom>
                  <a:avLst/>
                  <a:gdLst>
                    <a:gd name="connsiteX0" fmla="*/ 7144 w 28575"/>
                    <a:gd name="connsiteY0" fmla="*/ 7144 h 104775"/>
                    <a:gd name="connsiteX1" fmla="*/ 22565 w 28575"/>
                    <a:gd name="connsiteY1" fmla="*/ 7144 h 104775"/>
                    <a:gd name="connsiteX2" fmla="*/ 22565 w 28575"/>
                    <a:gd name="connsiteY2" fmla="*/ 21279 h 104775"/>
                    <a:gd name="connsiteX3" fmla="*/ 7144 w 28575"/>
                    <a:gd name="connsiteY3" fmla="*/ 21279 h 104775"/>
                    <a:gd name="connsiteX4" fmla="*/ 7144 w 28575"/>
                    <a:gd name="connsiteY4" fmla="*/ 7144 h 104775"/>
                    <a:gd name="connsiteX5" fmla="*/ 7715 w 28575"/>
                    <a:gd name="connsiteY5" fmla="*/ 37405 h 104775"/>
                    <a:gd name="connsiteX6" fmla="*/ 22003 w 28575"/>
                    <a:gd name="connsiteY6" fmla="*/ 37405 h 104775"/>
                    <a:gd name="connsiteX7" fmla="*/ 22003 w 28575"/>
                    <a:gd name="connsiteY7" fmla="*/ 104727 h 104775"/>
                    <a:gd name="connsiteX8" fmla="*/ 7715 w 28575"/>
                    <a:gd name="connsiteY8" fmla="*/ 104727 h 104775"/>
                    <a:gd name="connsiteX9" fmla="*/ 7715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65" y="7144"/>
                      </a:lnTo>
                      <a:lnTo>
                        <a:pt x="22565" y="21279"/>
                      </a:lnTo>
                      <a:lnTo>
                        <a:pt x="7144" y="21279"/>
                      </a:lnTo>
                      <a:lnTo>
                        <a:pt x="7144" y="7144"/>
                      </a:lnTo>
                      <a:close/>
                      <a:moveTo>
                        <a:pt x="7715" y="37405"/>
                      </a:moveTo>
                      <a:lnTo>
                        <a:pt x="22003" y="37405"/>
                      </a:lnTo>
                      <a:lnTo>
                        <a:pt x="22003" y="104727"/>
                      </a:lnTo>
                      <a:lnTo>
                        <a:pt x="7715" y="104727"/>
                      </a:lnTo>
                      <a:lnTo>
                        <a:pt x="7715" y="37405"/>
                      </a:lnTo>
                      <a:close/>
                    </a:path>
                  </a:pathLst>
                </a:custGeom>
                <a:solidFill>
                  <a:schemeClr val="bg1"/>
                </a:solidFill>
                <a:ln w="9525" cap="flat">
                  <a:noFill/>
                  <a:prstDash val="solid"/>
                  <a:miter/>
                </a:ln>
              </p:spPr>
              <p:txBody>
                <a:bodyPr rtlCol="0" anchor="ctr"/>
                <a:lstStyle/>
                <a:p>
                  <a:endParaRPr lang="ja-JP" altLang="en-US" dirty="0"/>
                </a:p>
              </p:txBody>
            </p:sp>
            <p:sp>
              <p:nvSpPr>
                <p:cNvPr id="1134" name="フリーフォーム: 図形 85"/>
                <p:cNvSpPr/>
                <p:nvPr/>
              </p:nvSpPr>
              <p:spPr>
                <a:xfrm>
                  <a:off x="3501548" y="5886465"/>
                  <a:ext cx="57150" cy="76200"/>
                </a:xfrm>
                <a:custGeom>
                  <a:avLst/>
                  <a:gdLst>
                    <a:gd name="connsiteX0" fmla="*/ 46615 w 57150"/>
                    <a:gd name="connsiteY0" fmla="*/ 22003 h 76200"/>
                    <a:gd name="connsiteX1" fmla="*/ 29642 w 57150"/>
                    <a:gd name="connsiteY1" fmla="*/ 15364 h 76200"/>
                    <a:gd name="connsiteX2" fmla="*/ 20021 w 57150"/>
                    <a:gd name="connsiteY2" fmla="*/ 22431 h 76200"/>
                    <a:gd name="connsiteX3" fmla="*/ 50854 w 57150"/>
                    <a:gd name="connsiteY3" fmla="*/ 57236 h 76200"/>
                    <a:gd name="connsiteX4" fmla="*/ 25251 w 57150"/>
                    <a:gd name="connsiteY4" fmla="*/ 77591 h 76200"/>
                    <a:gd name="connsiteX5" fmla="*/ 7287 w 57150"/>
                    <a:gd name="connsiteY5" fmla="*/ 74628 h 76200"/>
                    <a:gd name="connsiteX6" fmla="*/ 7287 w 57150"/>
                    <a:gd name="connsiteY6" fmla="*/ 61474 h 76200"/>
                    <a:gd name="connsiteX7" fmla="*/ 25956 w 57150"/>
                    <a:gd name="connsiteY7" fmla="*/ 68542 h 76200"/>
                    <a:gd name="connsiteX8" fmla="*/ 37557 w 57150"/>
                    <a:gd name="connsiteY8" fmla="*/ 60055 h 76200"/>
                    <a:gd name="connsiteX9" fmla="*/ 7144 w 57150"/>
                    <a:gd name="connsiteY9" fmla="*/ 26527 h 76200"/>
                    <a:gd name="connsiteX10" fmla="*/ 3076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15" y="22003"/>
                      </a:moveTo>
                      <a:cubicBezTo>
                        <a:pt x="41806" y="18745"/>
                        <a:pt x="36433" y="15364"/>
                        <a:pt x="29642" y="15364"/>
                      </a:cubicBezTo>
                      <a:cubicBezTo>
                        <a:pt x="25118" y="15364"/>
                        <a:pt x="20021" y="17336"/>
                        <a:pt x="20021" y="22431"/>
                      </a:cubicBezTo>
                      <a:cubicBezTo>
                        <a:pt x="20021" y="34595"/>
                        <a:pt x="50854" y="35728"/>
                        <a:pt x="50854" y="57236"/>
                      </a:cubicBezTo>
                      <a:cubicBezTo>
                        <a:pt x="50854" y="71656"/>
                        <a:pt x="39538" y="77591"/>
                        <a:pt x="25251" y="77591"/>
                      </a:cubicBezTo>
                      <a:cubicBezTo>
                        <a:pt x="16621" y="77591"/>
                        <a:pt x="10687" y="75771"/>
                        <a:pt x="7287" y="74628"/>
                      </a:cubicBezTo>
                      <a:lnTo>
                        <a:pt x="7287" y="61474"/>
                      </a:lnTo>
                      <a:cubicBezTo>
                        <a:pt x="11392" y="64303"/>
                        <a:pt x="18031" y="68542"/>
                        <a:pt x="25956" y="68542"/>
                      </a:cubicBezTo>
                      <a:cubicBezTo>
                        <a:pt x="34157" y="68542"/>
                        <a:pt x="37557" y="64303"/>
                        <a:pt x="37557" y="60055"/>
                      </a:cubicBezTo>
                      <a:cubicBezTo>
                        <a:pt x="37557" y="48168"/>
                        <a:pt x="7144" y="45768"/>
                        <a:pt x="7144" y="26527"/>
                      </a:cubicBezTo>
                      <a:cubicBezTo>
                        <a:pt x="7144" y="16335"/>
                        <a:pt x="13935" y="7144"/>
                        <a:pt x="30766" y="7144"/>
                      </a:cubicBezTo>
                      <a:cubicBezTo>
                        <a:pt x="37976" y="7144"/>
                        <a:pt x="44196" y="9115"/>
                        <a:pt x="46606" y="9820"/>
                      </a:cubicBezTo>
                      <a:lnTo>
                        <a:pt x="46606" y="22003"/>
                      </a:lnTo>
                      <a:close/>
                    </a:path>
                  </a:pathLst>
                </a:custGeom>
                <a:solidFill>
                  <a:schemeClr val="bg1"/>
                </a:solidFill>
                <a:ln w="9525" cap="flat">
                  <a:noFill/>
                  <a:prstDash val="solid"/>
                  <a:miter/>
                </a:ln>
              </p:spPr>
              <p:txBody>
                <a:bodyPr rtlCol="0" anchor="ctr"/>
                <a:lstStyle/>
                <a:p>
                  <a:endParaRPr lang="ja-JP" altLang="en-US" dirty="0"/>
                </a:p>
              </p:txBody>
            </p:sp>
            <p:sp>
              <p:nvSpPr>
                <p:cNvPr id="1135" name="フリーフォーム: 図形 86"/>
                <p:cNvSpPr/>
                <p:nvPr/>
              </p:nvSpPr>
              <p:spPr>
                <a:xfrm>
                  <a:off x="3561803" y="5886475"/>
                  <a:ext cx="95250" cy="76200"/>
                </a:xfrm>
                <a:custGeom>
                  <a:avLst/>
                  <a:gdLst>
                    <a:gd name="connsiteX0" fmla="*/ 7144 w 95250"/>
                    <a:gd name="connsiteY0" fmla="*/ 8706 h 76200"/>
                    <a:gd name="connsiteX1" fmla="*/ 21431 w 95250"/>
                    <a:gd name="connsiteY1" fmla="*/ 8706 h 76200"/>
                    <a:gd name="connsiteX2" fmla="*/ 21431 w 95250"/>
                    <a:gd name="connsiteY2" fmla="*/ 24689 h 76200"/>
                    <a:gd name="connsiteX3" fmla="*/ 21717 w 95250"/>
                    <a:gd name="connsiteY3" fmla="*/ 24689 h 76200"/>
                    <a:gd name="connsiteX4" fmla="*/ 42082 w 95250"/>
                    <a:gd name="connsiteY4" fmla="*/ 7144 h 76200"/>
                    <a:gd name="connsiteX5" fmla="*/ 58779 w 95250"/>
                    <a:gd name="connsiteY5" fmla="*/ 23831 h 76200"/>
                    <a:gd name="connsiteX6" fmla="*/ 59055 w 95250"/>
                    <a:gd name="connsiteY6" fmla="*/ 23831 h 76200"/>
                    <a:gd name="connsiteX7" fmla="*/ 79429 w 95250"/>
                    <a:gd name="connsiteY7" fmla="*/ 7144 h 76200"/>
                    <a:gd name="connsiteX8" fmla="*/ 96393 w 95250"/>
                    <a:gd name="connsiteY8" fmla="*/ 30346 h 76200"/>
                    <a:gd name="connsiteX9" fmla="*/ 96393 w 95250"/>
                    <a:gd name="connsiteY9" fmla="*/ 76038 h 76200"/>
                    <a:gd name="connsiteX10" fmla="*/ 82115 w 95250"/>
                    <a:gd name="connsiteY10" fmla="*/ 76038 h 76200"/>
                    <a:gd name="connsiteX11" fmla="*/ 82115 w 95250"/>
                    <a:gd name="connsiteY11" fmla="*/ 32613 h 76200"/>
                    <a:gd name="connsiteX12" fmla="*/ 73914 w 95250"/>
                    <a:gd name="connsiteY12" fmla="*/ 17745 h 76200"/>
                    <a:gd name="connsiteX13" fmla="*/ 58922 w 95250"/>
                    <a:gd name="connsiteY13" fmla="*/ 48015 h 76200"/>
                    <a:gd name="connsiteX14" fmla="*/ 58922 w 95250"/>
                    <a:gd name="connsiteY14" fmla="*/ 76029 h 76200"/>
                    <a:gd name="connsiteX15" fmla="*/ 44634 w 95250"/>
                    <a:gd name="connsiteY15" fmla="*/ 76029 h 76200"/>
                    <a:gd name="connsiteX16" fmla="*/ 44634 w 95250"/>
                    <a:gd name="connsiteY16" fmla="*/ 33871 h 76200"/>
                    <a:gd name="connsiteX17" fmla="*/ 36148 w 95250"/>
                    <a:gd name="connsiteY17" fmla="*/ 17745 h 76200"/>
                    <a:gd name="connsiteX18" fmla="*/ 21431 w 95250"/>
                    <a:gd name="connsiteY18" fmla="*/ 48158 h 76200"/>
                    <a:gd name="connsiteX19" fmla="*/ 21431 w 95250"/>
                    <a:gd name="connsiteY19" fmla="*/ 76029 h 76200"/>
                    <a:gd name="connsiteX20" fmla="*/ 7144 w 95250"/>
                    <a:gd name="connsiteY20" fmla="*/ 76029 h 76200"/>
                    <a:gd name="connsiteX21" fmla="*/ 7144 w 95250"/>
                    <a:gd name="connsiteY21"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5250" h="76200">
                      <a:moveTo>
                        <a:pt x="7144" y="8706"/>
                      </a:moveTo>
                      <a:lnTo>
                        <a:pt x="21431" y="8706"/>
                      </a:lnTo>
                      <a:lnTo>
                        <a:pt x="21431" y="24689"/>
                      </a:lnTo>
                      <a:lnTo>
                        <a:pt x="21717" y="24689"/>
                      </a:lnTo>
                      <a:cubicBezTo>
                        <a:pt x="23270" y="19593"/>
                        <a:pt x="29204" y="7144"/>
                        <a:pt x="42082" y="7144"/>
                      </a:cubicBezTo>
                      <a:cubicBezTo>
                        <a:pt x="53969" y="7144"/>
                        <a:pt x="58351" y="16764"/>
                        <a:pt x="58779" y="23831"/>
                      </a:cubicBezTo>
                      <a:lnTo>
                        <a:pt x="59055" y="23831"/>
                      </a:lnTo>
                      <a:cubicBezTo>
                        <a:pt x="61465" y="18602"/>
                        <a:pt x="66123" y="7144"/>
                        <a:pt x="79429" y="7144"/>
                      </a:cubicBezTo>
                      <a:cubicBezTo>
                        <a:pt x="93716" y="7144"/>
                        <a:pt x="96393" y="18878"/>
                        <a:pt x="96393" y="30346"/>
                      </a:cubicBezTo>
                      <a:lnTo>
                        <a:pt x="96393" y="76038"/>
                      </a:lnTo>
                      <a:lnTo>
                        <a:pt x="82115" y="76038"/>
                      </a:lnTo>
                      <a:lnTo>
                        <a:pt x="82115" y="32613"/>
                      </a:lnTo>
                      <a:cubicBezTo>
                        <a:pt x="82115" y="24822"/>
                        <a:pt x="80982" y="17745"/>
                        <a:pt x="73914" y="17745"/>
                      </a:cubicBezTo>
                      <a:cubicBezTo>
                        <a:pt x="61322" y="17745"/>
                        <a:pt x="58922" y="39805"/>
                        <a:pt x="58922" y="48015"/>
                      </a:cubicBezTo>
                      <a:lnTo>
                        <a:pt x="58922" y="76029"/>
                      </a:lnTo>
                      <a:lnTo>
                        <a:pt x="44634" y="76029"/>
                      </a:lnTo>
                      <a:lnTo>
                        <a:pt x="44634" y="33871"/>
                      </a:lnTo>
                      <a:cubicBezTo>
                        <a:pt x="44634" y="25384"/>
                        <a:pt x="43929" y="17745"/>
                        <a:pt x="36148" y="17745"/>
                      </a:cubicBezTo>
                      <a:cubicBezTo>
                        <a:pt x="22984" y="17745"/>
                        <a:pt x="21431" y="40948"/>
                        <a:pt x="21431" y="48158"/>
                      </a:cubicBezTo>
                      <a:lnTo>
                        <a:pt x="21431" y="76029"/>
                      </a:lnTo>
                      <a:lnTo>
                        <a:pt x="7144" y="76029"/>
                      </a:lnTo>
                      <a:lnTo>
                        <a:pt x="7144" y="8706"/>
                      </a:lnTo>
                      <a:close/>
                    </a:path>
                  </a:pathLst>
                </a:custGeom>
                <a:solidFill>
                  <a:schemeClr val="bg1"/>
                </a:solidFill>
                <a:ln w="9525" cap="flat">
                  <a:noFill/>
                  <a:prstDash val="solid"/>
                  <a:miter/>
                </a:ln>
              </p:spPr>
              <p:txBody>
                <a:bodyPr rtlCol="0" anchor="ctr"/>
                <a:lstStyle/>
                <a:p>
                  <a:endParaRPr lang="ja-JP" altLang="en-US" dirty="0"/>
                </a:p>
              </p:txBody>
            </p:sp>
          </p:grpSp>
        </p:grpSp>
      </p:grpSp>
      <p:sp>
        <p:nvSpPr>
          <p:cNvPr id="1136" name="Rectangle 3"/>
          <p:cNvSpPr>
            <a:spLocks noGrp="1" noChangeArrowheads="1"/>
          </p:cNvSpPr>
          <p:nvPr>
            <p:ph type="ctrTitle"/>
          </p:nvPr>
        </p:nvSpPr>
        <p:spPr>
          <a:xfrm>
            <a:off x="1784350" y="2133600"/>
            <a:ext cx="8121650" cy="1470025"/>
          </a:xfrm>
        </p:spPr>
        <p:txBody>
          <a:bodyPr/>
          <a:lstStyle>
            <a:lvl1pPr>
              <a:defRPr sz="4000"/>
            </a:lvl1pPr>
          </a:lstStyle>
          <a:p>
            <a:pPr lvl="0"/>
            <a:r>
              <a:rPr lang="ja-JP" altLang="en-US" noProof="0"/>
              <a:t>マスタ タイトルの書式設定</a:t>
            </a:r>
          </a:p>
        </p:txBody>
      </p:sp>
      <p:sp>
        <p:nvSpPr>
          <p:cNvPr id="1137"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pPr lvl="0"/>
            <a:r>
              <a:rPr lang="ja-JP" altLang="en-US" noProof="0"/>
              <a:t>国土交通省　観光庁</a:t>
            </a:r>
          </a:p>
          <a:p>
            <a:pPr lvl="0"/>
            <a:r>
              <a:rPr lang="ja-JP" altLang="en-US" noProof="0"/>
              <a:t>○○課</a:t>
            </a:r>
          </a:p>
          <a:p>
            <a:pPr lvl="0"/>
            <a:r>
              <a:rPr lang="ja-JP" altLang="en-US" noProof="0"/>
              <a:t>平成○○年○○月</a:t>
            </a:r>
          </a:p>
        </p:txBody>
      </p:sp>
      <p:sp>
        <p:nvSpPr>
          <p:cNvPr id="1138" name="Rectangle 5"/>
          <p:cNvSpPr>
            <a:spLocks noGrp="1" noChangeArrowheads="1"/>
          </p:cNvSpPr>
          <p:nvPr>
            <p:ph type="dt" sz="half" idx="2"/>
          </p:nvPr>
        </p:nvSpPr>
        <p:spPr/>
        <p:txBody>
          <a:bodyPr/>
          <a:lstStyle>
            <a:lvl1pPr>
              <a:defRPr/>
            </a:lvl1pPr>
          </a:lstStyle>
          <a:p>
            <a:endParaRPr kumimoji="1" lang="ja-JP" altLang="en-US" dirty="0"/>
          </a:p>
        </p:txBody>
      </p:sp>
      <p:sp>
        <p:nvSpPr>
          <p:cNvPr id="1139" name="Rectangle 6"/>
          <p:cNvSpPr>
            <a:spLocks noGrp="1" noChangeArrowheads="1"/>
          </p:cNvSpPr>
          <p:nvPr>
            <p:ph type="ftr" sz="quarter" idx="3"/>
          </p:nvPr>
        </p:nvSpPr>
        <p:spPr/>
        <p:txBody>
          <a:bodyPr/>
          <a:lstStyle>
            <a:lvl1pPr>
              <a:defRPr/>
            </a:lvl1pPr>
          </a:lstStyle>
          <a:p>
            <a:endParaRPr kumimoji="1" lang="ja-JP" altLang="en-US" dirty="0"/>
          </a:p>
        </p:txBody>
      </p:sp>
      <p:sp>
        <p:nvSpPr>
          <p:cNvPr id="1140" name="Rectangle 7"/>
          <p:cNvSpPr>
            <a:spLocks noGrp="1" noChangeArrowheads="1"/>
          </p:cNvSpPr>
          <p:nvPr>
            <p:ph type="sldNum" sz="quarter" idx="4"/>
          </p:nvPr>
        </p:nvSpPr>
        <p:spPr>
          <a:xfrm>
            <a:off x="7099300" y="6245225"/>
            <a:ext cx="2311400" cy="476250"/>
          </a:xfrm>
        </p:spPr>
        <p:txBody>
          <a:bodyPr/>
          <a:lstStyle>
            <a:lvl1pPr>
              <a:defRPr/>
            </a:lvl1pPr>
          </a:lstStyle>
          <a:p>
            <a:fld id="{8668F1B4-CD69-4873-A37D-05E3ED60FF33}" type="slidenum">
              <a:rPr lang="en-US" altLang="ja-JP"/>
              <a:pPr/>
              <a:t>‹#›</a:t>
            </a:fld>
            <a:endParaRPr lang="en-US" altLang="ja-JP" dirty="0"/>
          </a:p>
        </p:txBody>
      </p:sp>
      <p:sp>
        <p:nvSpPr>
          <p:cNvPr id="1141" name="Rectangle 14"/>
          <p:cNvSpPr>
            <a:spLocks noChangeArrowheads="1"/>
          </p:cNvSpPr>
          <p:nvPr userDrawn="1"/>
        </p:nvSpPr>
        <p:spPr>
          <a:xfrm>
            <a:off x="1833563" y="3284538"/>
            <a:ext cx="8072437" cy="73025"/>
          </a:xfrm>
          <a:prstGeom prst="rect">
            <a:avLst/>
          </a:prstGeom>
          <a:solidFill>
            <a:srgbClr val="FF0000"/>
          </a:solidFill>
          <a:ln>
            <a:noFill/>
          </a:ln>
          <a:effectLst/>
        </p:spPr>
        <p:txBody>
          <a:bodyPr wrap="none" anchor="ctr"/>
          <a:lstStyle/>
          <a:p>
            <a:endParaRPr lang="ja-JP" altLang="en-US" dirty="0"/>
          </a:p>
        </p:txBody>
      </p:sp>
    </p:spTree>
    <p:extLst>
      <p:ext uri="{BB962C8B-B14F-4D97-AF65-F5344CB8AC3E}">
        <p14:creationId xmlns:p14="http://schemas.microsoft.com/office/powerpoint/2010/main" val="1617682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43" name="タイトル 1"/>
          <p:cNvSpPr>
            <a:spLocks noGrp="1"/>
          </p:cNvSpPr>
          <p:nvPr>
            <p:ph type="title"/>
          </p:nvPr>
        </p:nvSpPr>
        <p:spPr/>
        <p:txBody>
          <a:bodyPr/>
          <a:lstStyle/>
          <a:p>
            <a:r>
              <a:rPr lang="ja-JP" altLang="en-US"/>
              <a:t>マスター タイトルの書式設定</a:t>
            </a:r>
          </a:p>
        </p:txBody>
      </p:sp>
      <p:sp>
        <p:nvSpPr>
          <p:cNvPr id="1144"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45" name="日付プレースホルダー 3"/>
          <p:cNvSpPr>
            <a:spLocks noGrp="1"/>
          </p:cNvSpPr>
          <p:nvPr>
            <p:ph type="dt" sz="half" idx="10"/>
          </p:nvPr>
        </p:nvSpPr>
        <p:spPr/>
        <p:txBody>
          <a:bodyPr/>
          <a:lstStyle>
            <a:lvl1pPr>
              <a:defRPr/>
            </a:lvl1pPr>
          </a:lstStyle>
          <a:p>
            <a:endParaRPr kumimoji="1" lang="ja-JP" altLang="en-US" dirty="0"/>
          </a:p>
        </p:txBody>
      </p:sp>
      <p:sp>
        <p:nvSpPr>
          <p:cNvPr id="1146" name="フッター プレースホルダー 4"/>
          <p:cNvSpPr>
            <a:spLocks noGrp="1"/>
          </p:cNvSpPr>
          <p:nvPr>
            <p:ph type="ftr" sz="quarter" idx="11"/>
          </p:nvPr>
        </p:nvSpPr>
        <p:spPr/>
        <p:txBody>
          <a:bodyPr/>
          <a:lstStyle>
            <a:lvl1pPr>
              <a:defRPr/>
            </a:lvl1pPr>
          </a:lstStyle>
          <a:p>
            <a:endParaRPr kumimoji="1" lang="ja-JP" altLang="en-US" dirty="0"/>
          </a:p>
        </p:txBody>
      </p:sp>
      <p:sp>
        <p:nvSpPr>
          <p:cNvPr id="1147" name="スライド番号プレースホルダー 5"/>
          <p:cNvSpPr>
            <a:spLocks noGrp="1"/>
          </p:cNvSpPr>
          <p:nvPr>
            <p:ph type="sldNum" sz="quarter" idx="12"/>
          </p:nvPr>
        </p:nvSpPr>
        <p:spPr/>
        <p:txBody>
          <a:bodyPr/>
          <a:lstStyle>
            <a:lvl1pPr>
              <a:defRPr/>
            </a:lvl1pPr>
          </a:lstStyle>
          <a:p>
            <a:fld id="{A55D6372-79B3-44A9-9559-35B0E06D676F}" type="slidenum">
              <a:rPr lang="en-US" altLang="ja-JP"/>
              <a:pPr/>
              <a:t>‹#›</a:t>
            </a:fld>
            <a:endParaRPr lang="en-US" altLang="ja-JP" dirty="0"/>
          </a:p>
        </p:txBody>
      </p:sp>
    </p:spTree>
    <p:extLst>
      <p:ext uri="{BB962C8B-B14F-4D97-AF65-F5344CB8AC3E}">
        <p14:creationId xmlns:p14="http://schemas.microsoft.com/office/powerpoint/2010/main" val="20919072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20" descr="ppjtitle"/>
          <p:cNvPicPr>
            <a:picLocks noChangeAspect="1" noChangeArrowheads="1"/>
          </p:cNvPicPr>
          <p:nvPr userDrawn="1"/>
        </p:nvPicPr>
        <p:blipFill>
          <a:blip r:embed="rId2" cstate="print"/>
          <a:srcRect/>
          <a:stretch>
            <a:fillRect/>
          </a:stretch>
        </p:blipFill>
        <p:spPr bwMode="auto">
          <a:xfrm>
            <a:off x="0" y="6076950"/>
            <a:ext cx="9921875" cy="781050"/>
          </a:xfrm>
          <a:prstGeom prst="rect">
            <a:avLst/>
          </a:prstGeom>
          <a:noFill/>
          <a:ln w="9525">
            <a:noFill/>
            <a:miter lim="800000"/>
            <a:headEnd/>
            <a:tailEnd/>
          </a:ln>
        </p:spPr>
      </p:pic>
      <p:sp>
        <p:nvSpPr>
          <p:cNvPr id="5" name="Rectangle 14"/>
          <p:cNvSpPr>
            <a:spLocks noChangeArrowheads="1"/>
          </p:cNvSpPr>
          <p:nvPr userDrawn="1"/>
        </p:nvSpPr>
        <p:spPr bwMode="auto">
          <a:xfrm>
            <a:off x="1833563" y="3284544"/>
            <a:ext cx="8072437" cy="73025"/>
          </a:xfrm>
          <a:prstGeom prst="rect">
            <a:avLst/>
          </a:prstGeom>
          <a:solidFill>
            <a:srgbClr val="FF0000"/>
          </a:solidFill>
          <a:ln w="9525">
            <a:noFill/>
            <a:miter lim="800000"/>
            <a:headEnd/>
            <a:tailEnd/>
          </a:ln>
          <a:effectLst/>
        </p:spPr>
        <p:txBody>
          <a:bodyPr wrap="none" anchor="ctr"/>
          <a:lstStyle/>
          <a:p>
            <a:pPr>
              <a:defRPr/>
            </a:pPr>
            <a:endParaRPr lang="ja-JP" altLang="en-US">
              <a:solidFill>
                <a:srgbClr val="000000"/>
              </a:solidFill>
              <a:latin typeface="Arial"/>
              <a:ea typeface="ＭＳ Ｐゴシック"/>
            </a:endParaRPr>
          </a:p>
        </p:txBody>
      </p:sp>
      <p:sp>
        <p:nvSpPr>
          <p:cNvPr id="31747" name="Rectangle 3"/>
          <p:cNvSpPr>
            <a:spLocks noGrp="1" noChangeArrowheads="1"/>
          </p:cNvSpPr>
          <p:nvPr>
            <p:ph type="ctrTitle"/>
          </p:nvPr>
        </p:nvSpPr>
        <p:spPr>
          <a:xfrm>
            <a:off x="1784350" y="2133606"/>
            <a:ext cx="8121650" cy="1470025"/>
          </a:xfrm>
        </p:spPr>
        <p:txBody>
          <a:bodyPr/>
          <a:lstStyle>
            <a:lvl1pPr>
              <a:defRPr sz="3692"/>
            </a:lvl1pPr>
          </a:lstStyle>
          <a:p>
            <a:r>
              <a:rPr lang="ja-JP" altLang="en-US"/>
              <a:t>マスタ タイトルの書式設定</a:t>
            </a:r>
          </a:p>
        </p:txBody>
      </p:sp>
      <p:sp>
        <p:nvSpPr>
          <p:cNvPr id="31748"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国土交通省　観光庁</a:t>
            </a:r>
          </a:p>
          <a:p>
            <a:r>
              <a:rPr lang="ja-JP" altLang="en-US"/>
              <a:t>○○課</a:t>
            </a:r>
          </a:p>
          <a:p>
            <a:r>
              <a:rPr lang="ja-JP" altLang="en-US"/>
              <a:t>平成○○年○○月</a:t>
            </a:r>
          </a:p>
        </p:txBody>
      </p:sp>
      <p:sp>
        <p:nvSpPr>
          <p:cNvPr id="6" name="Rectangle 5"/>
          <p:cNvSpPr>
            <a:spLocks noGrp="1" noChangeArrowheads="1"/>
          </p:cNvSpPr>
          <p:nvPr>
            <p:ph type="dt" sz="half" idx="10"/>
          </p:nvPr>
        </p:nvSpPr>
        <p:spPr/>
        <p:txBody>
          <a:bodyPr/>
          <a:lstStyle>
            <a:lvl1pPr>
              <a:defRPr/>
            </a:lvl1pPr>
          </a:lstStyle>
          <a:p>
            <a:pPr>
              <a:defRPr/>
            </a:pPr>
            <a:fld id="{D9491FB1-B308-48F5-BA73-BB5C0DE5AE1D}" type="datetime1">
              <a:rPr lang="ja-JP" altLang="en-US" smtClean="0">
                <a:solidFill>
                  <a:srgbClr val="000000"/>
                </a:solidFill>
              </a:rPr>
              <a:t>2025/3/11</a:t>
            </a:fld>
            <a:endParaRPr lang="en-US" altLang="ja-JP">
              <a:solidFill>
                <a:srgbClr val="000000"/>
              </a:solidFill>
            </a:endParaRPr>
          </a:p>
        </p:txBody>
      </p:sp>
      <p:sp>
        <p:nvSpPr>
          <p:cNvPr id="7" name="Rectangle 6"/>
          <p:cNvSpPr>
            <a:spLocks noGrp="1" noChangeArrowheads="1"/>
          </p:cNvSpPr>
          <p:nvPr>
            <p:ph type="ftr" sz="quarter" idx="11"/>
          </p:nvPr>
        </p:nvSpPr>
        <p:spPr/>
        <p:txBody>
          <a:bodyPr/>
          <a:lstStyle>
            <a:lvl1pPr>
              <a:defRPr/>
            </a:lvl1pPr>
          </a:lstStyle>
          <a:p>
            <a:pPr>
              <a:defRPr/>
            </a:pPr>
            <a:endParaRPr lang="en-US" altLang="ja-JP">
              <a:solidFill>
                <a:srgbClr val="000000"/>
              </a:solidFill>
            </a:endParaRPr>
          </a:p>
        </p:txBody>
      </p:sp>
      <p:sp>
        <p:nvSpPr>
          <p:cNvPr id="8" name="Rectangle 7"/>
          <p:cNvSpPr>
            <a:spLocks noGrp="1" noChangeArrowheads="1"/>
          </p:cNvSpPr>
          <p:nvPr>
            <p:ph type="sldNum" sz="quarter" idx="12"/>
          </p:nvPr>
        </p:nvSpPr>
        <p:spPr>
          <a:xfrm>
            <a:off x="7099300" y="6245225"/>
            <a:ext cx="2311400" cy="476250"/>
          </a:xfrm>
        </p:spPr>
        <p:txBody>
          <a:bodyPr/>
          <a:lstStyle>
            <a:lvl1pPr>
              <a:defRPr/>
            </a:lvl1pPr>
          </a:lstStyle>
          <a:p>
            <a:pPr>
              <a:defRPr/>
            </a:pPr>
            <a:fld id="{B1BC983B-4A3C-4011-B48F-4B1A95B6BB23}"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3821810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a:ln/>
        </p:spPr>
        <p:txBody>
          <a:bodyPr/>
          <a:lstStyle>
            <a:lvl1pPr>
              <a:defRPr/>
            </a:lvl1pPr>
          </a:lstStyle>
          <a:p>
            <a:pPr>
              <a:defRPr/>
            </a:pPr>
            <a:fld id="{B7CC6B0C-8CDA-4E96-807C-53071EAC6D8B}" type="datetime1">
              <a:rPr lang="ja-JP" altLang="en-US" smtClean="0">
                <a:solidFill>
                  <a:srgbClr val="000000"/>
                </a:solidFill>
              </a:rPr>
              <a:t>2025/3/11</a:t>
            </a:fld>
            <a:endParaRPr lang="en-US" altLang="ja-JP">
              <a:solidFill>
                <a:srgbClr val="000000"/>
              </a:solidFill>
            </a:endParaRPr>
          </a:p>
        </p:txBody>
      </p:sp>
      <p:sp>
        <p:nvSpPr>
          <p:cNvPr id="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6" name="Rectangle 5"/>
          <p:cNvSpPr>
            <a:spLocks noGrp="1" noChangeArrowheads="1"/>
          </p:cNvSpPr>
          <p:nvPr>
            <p:ph type="sldNum" sz="quarter" idx="12"/>
          </p:nvPr>
        </p:nvSpPr>
        <p:spPr>
          <a:ln/>
        </p:spPr>
        <p:txBody>
          <a:bodyPr/>
          <a:lstStyle>
            <a:lvl1pPr>
              <a:defRPr/>
            </a:lvl1pPr>
          </a:lstStyle>
          <a:p>
            <a:pPr>
              <a:defRPr/>
            </a:pPr>
            <a:fld id="{91D24F9B-1059-4270-837C-682AF1019EFE}"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7732949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638" y="4406906"/>
            <a:ext cx="8420100" cy="1362075"/>
          </a:xfrm>
        </p:spPr>
        <p:txBody>
          <a:bodyPr anchor="t"/>
          <a:lstStyle>
            <a:lvl1pPr algn="l">
              <a:defRPr sz="3692" b="1" cap="all"/>
            </a:lvl1pPr>
          </a:lstStyle>
          <a:p>
            <a:r>
              <a:rPr lang="ja-JP" altLang="en-US"/>
              <a:t>マスタ タイトルの書式設定</a:t>
            </a:r>
          </a:p>
        </p:txBody>
      </p:sp>
      <p:sp>
        <p:nvSpPr>
          <p:cNvPr id="3" name="テキスト プレースホルダ 2"/>
          <p:cNvSpPr>
            <a:spLocks noGrp="1"/>
          </p:cNvSpPr>
          <p:nvPr>
            <p:ph type="body" idx="1"/>
          </p:nvPr>
        </p:nvSpPr>
        <p:spPr>
          <a:xfrm>
            <a:off x="782638" y="2906713"/>
            <a:ext cx="8420100" cy="1500187"/>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ja-JP" altLang="en-US"/>
              <a:t>マスタ テキストの書式設定</a:t>
            </a:r>
          </a:p>
        </p:txBody>
      </p:sp>
      <p:sp>
        <p:nvSpPr>
          <p:cNvPr id="4" name="Rectangle 3"/>
          <p:cNvSpPr>
            <a:spLocks noGrp="1" noChangeArrowheads="1"/>
          </p:cNvSpPr>
          <p:nvPr>
            <p:ph type="dt" sz="half" idx="10"/>
          </p:nvPr>
        </p:nvSpPr>
        <p:spPr>
          <a:ln/>
        </p:spPr>
        <p:txBody>
          <a:bodyPr/>
          <a:lstStyle>
            <a:lvl1pPr>
              <a:defRPr/>
            </a:lvl1pPr>
          </a:lstStyle>
          <a:p>
            <a:pPr>
              <a:defRPr/>
            </a:pPr>
            <a:fld id="{B473F188-603B-460A-9379-72E62FC368D6}" type="datetime1">
              <a:rPr lang="ja-JP" altLang="en-US" smtClean="0">
                <a:solidFill>
                  <a:srgbClr val="000000"/>
                </a:solidFill>
              </a:rPr>
              <a:t>2025/3/11</a:t>
            </a:fld>
            <a:endParaRPr lang="en-US" altLang="ja-JP">
              <a:solidFill>
                <a:srgbClr val="000000"/>
              </a:solidFill>
            </a:endParaRPr>
          </a:p>
        </p:txBody>
      </p:sp>
      <p:sp>
        <p:nvSpPr>
          <p:cNvPr id="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6" name="Rectangle 5"/>
          <p:cNvSpPr>
            <a:spLocks noGrp="1" noChangeArrowheads="1"/>
          </p:cNvSpPr>
          <p:nvPr>
            <p:ph type="sldNum" sz="quarter" idx="12"/>
          </p:nvPr>
        </p:nvSpPr>
        <p:spPr>
          <a:ln/>
        </p:spPr>
        <p:txBody>
          <a:bodyPr/>
          <a:lstStyle>
            <a:lvl1pPr>
              <a:defRPr/>
            </a:lvl1pPr>
          </a:lstStyle>
          <a:p>
            <a:pPr>
              <a:defRPr/>
            </a:pPr>
            <a:fld id="{94A6FC1E-97FB-47E8-8A15-62CBE3A8CCDF}"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3129940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95302" y="1600204"/>
            <a:ext cx="4381501"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029199" y="1600204"/>
            <a:ext cx="4381501"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3"/>
          <p:cNvSpPr>
            <a:spLocks noGrp="1" noChangeArrowheads="1"/>
          </p:cNvSpPr>
          <p:nvPr>
            <p:ph type="dt" sz="half" idx="10"/>
          </p:nvPr>
        </p:nvSpPr>
        <p:spPr>
          <a:ln/>
        </p:spPr>
        <p:txBody>
          <a:bodyPr/>
          <a:lstStyle>
            <a:lvl1pPr>
              <a:defRPr/>
            </a:lvl1pPr>
          </a:lstStyle>
          <a:p>
            <a:pPr>
              <a:defRPr/>
            </a:pPr>
            <a:fld id="{3ABC0813-FB6B-4A98-8DD0-345F388131AC}" type="datetime1">
              <a:rPr lang="ja-JP" altLang="en-US" smtClean="0">
                <a:solidFill>
                  <a:srgbClr val="000000"/>
                </a:solidFill>
              </a:rPr>
              <a:t>2025/3/11</a:t>
            </a:fld>
            <a:endParaRPr lang="en-US" altLang="ja-JP">
              <a:solidFill>
                <a:srgbClr val="000000"/>
              </a:solidFill>
            </a:endParaRPr>
          </a:p>
        </p:txBody>
      </p:sp>
      <p:sp>
        <p:nvSpPr>
          <p:cNvPr id="6"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7" name="Rectangle 5"/>
          <p:cNvSpPr>
            <a:spLocks noGrp="1" noChangeArrowheads="1"/>
          </p:cNvSpPr>
          <p:nvPr>
            <p:ph type="sldNum" sz="quarter" idx="12"/>
          </p:nvPr>
        </p:nvSpPr>
        <p:spPr>
          <a:ln/>
        </p:spPr>
        <p:txBody>
          <a:bodyPr/>
          <a:lstStyle>
            <a:lvl1pPr>
              <a:defRPr/>
            </a:lvl1pPr>
          </a:lstStyle>
          <a:p>
            <a:pPr>
              <a:defRPr/>
            </a:pPr>
            <a:fld id="{A60E6122-BD14-4142-9E60-93220B4E82C1}"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057139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a:p>
        </p:txBody>
      </p:sp>
    </p:spTree>
    <p:extLst>
      <p:ext uri="{BB962C8B-B14F-4D97-AF65-F5344CB8AC3E}">
        <p14:creationId xmlns:p14="http://schemas.microsoft.com/office/powerpoint/2010/main" val="10093738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4638"/>
            <a:ext cx="8915400" cy="1143000"/>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95300" y="1535113"/>
            <a:ext cx="437673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95300" y="2174875"/>
            <a:ext cx="437673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032379" y="1535113"/>
            <a:ext cx="4378325"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032379" y="2174875"/>
            <a:ext cx="437832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3"/>
          <p:cNvSpPr>
            <a:spLocks noGrp="1" noChangeArrowheads="1"/>
          </p:cNvSpPr>
          <p:nvPr>
            <p:ph type="dt" sz="half" idx="10"/>
          </p:nvPr>
        </p:nvSpPr>
        <p:spPr>
          <a:ln/>
        </p:spPr>
        <p:txBody>
          <a:bodyPr/>
          <a:lstStyle>
            <a:lvl1pPr>
              <a:defRPr/>
            </a:lvl1pPr>
          </a:lstStyle>
          <a:p>
            <a:pPr>
              <a:defRPr/>
            </a:pPr>
            <a:fld id="{3875DC2E-F022-4E4E-93C1-EB77C21DA8D3}" type="datetime1">
              <a:rPr lang="ja-JP" altLang="en-US" smtClean="0">
                <a:solidFill>
                  <a:srgbClr val="000000"/>
                </a:solidFill>
              </a:rPr>
              <a:t>2025/3/11</a:t>
            </a:fld>
            <a:endParaRPr lang="en-US" altLang="ja-JP">
              <a:solidFill>
                <a:srgbClr val="000000"/>
              </a:solidFill>
            </a:endParaRPr>
          </a:p>
        </p:txBody>
      </p:sp>
      <p:sp>
        <p:nvSpPr>
          <p:cNvPr id="8"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9" name="Rectangle 5"/>
          <p:cNvSpPr>
            <a:spLocks noGrp="1" noChangeArrowheads="1"/>
          </p:cNvSpPr>
          <p:nvPr>
            <p:ph type="sldNum" sz="quarter" idx="12"/>
          </p:nvPr>
        </p:nvSpPr>
        <p:spPr>
          <a:ln/>
        </p:spPr>
        <p:txBody>
          <a:bodyPr/>
          <a:lstStyle>
            <a:lvl1pPr>
              <a:defRPr/>
            </a:lvl1pPr>
          </a:lstStyle>
          <a:p>
            <a:pPr>
              <a:defRPr/>
            </a:pPr>
            <a:fld id="{00E6070F-1EA7-49A7-BE4B-955743FF1353}"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7265465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3"/>
          <p:cNvSpPr>
            <a:spLocks noGrp="1" noChangeArrowheads="1"/>
          </p:cNvSpPr>
          <p:nvPr>
            <p:ph type="dt" sz="half" idx="10"/>
          </p:nvPr>
        </p:nvSpPr>
        <p:spPr>
          <a:ln/>
        </p:spPr>
        <p:txBody>
          <a:bodyPr/>
          <a:lstStyle>
            <a:lvl1pPr>
              <a:defRPr/>
            </a:lvl1pPr>
          </a:lstStyle>
          <a:p>
            <a:pPr>
              <a:defRPr/>
            </a:pPr>
            <a:fld id="{A0CC8226-1D47-4516-9A42-86CE62CC0543}" type="datetime1">
              <a:rPr lang="ja-JP" altLang="en-US" smtClean="0">
                <a:solidFill>
                  <a:srgbClr val="000000"/>
                </a:solidFill>
              </a:rPr>
              <a:t>2025/3/11</a:t>
            </a:fld>
            <a:endParaRPr lang="en-US" altLang="ja-JP">
              <a:solidFill>
                <a:srgbClr val="000000"/>
              </a:solidFill>
            </a:endParaRPr>
          </a:p>
        </p:txBody>
      </p:sp>
      <p:sp>
        <p:nvSpPr>
          <p:cNvPr id="4"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5" name="Rectangle 5"/>
          <p:cNvSpPr>
            <a:spLocks noGrp="1" noChangeArrowheads="1"/>
          </p:cNvSpPr>
          <p:nvPr>
            <p:ph type="sldNum" sz="quarter" idx="12"/>
          </p:nvPr>
        </p:nvSpPr>
        <p:spPr>
          <a:ln/>
        </p:spPr>
        <p:txBody>
          <a:bodyPr/>
          <a:lstStyle>
            <a:lvl1pPr>
              <a:defRPr/>
            </a:lvl1pPr>
          </a:lstStyle>
          <a:p>
            <a:pPr>
              <a:defRPr/>
            </a:pPr>
            <a:fld id="{6FEF3B0B-B1E1-4C03-891B-B254E7649D48}"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2602084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3"/>
          <p:cNvSpPr>
            <a:spLocks noGrp="1" noChangeArrowheads="1"/>
          </p:cNvSpPr>
          <p:nvPr>
            <p:ph type="dt" sz="half" idx="10"/>
          </p:nvPr>
        </p:nvSpPr>
        <p:spPr>
          <a:ln/>
        </p:spPr>
        <p:txBody>
          <a:bodyPr/>
          <a:lstStyle>
            <a:lvl1pPr>
              <a:defRPr/>
            </a:lvl1pPr>
          </a:lstStyle>
          <a:p>
            <a:pPr>
              <a:defRPr/>
            </a:pPr>
            <a:fld id="{D5966013-2892-4395-A78A-F6894F36518C}" type="datetime1">
              <a:rPr lang="ja-JP" altLang="en-US" smtClean="0">
                <a:solidFill>
                  <a:srgbClr val="000000"/>
                </a:solidFill>
              </a:rPr>
              <a:t>2025/3/11</a:t>
            </a:fld>
            <a:endParaRPr lang="en-US" altLang="ja-JP">
              <a:solidFill>
                <a:srgbClr val="000000"/>
              </a:solidFill>
            </a:endParaRPr>
          </a:p>
        </p:txBody>
      </p:sp>
      <p:sp>
        <p:nvSpPr>
          <p:cNvPr id="3"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4" name="Rectangle 5"/>
          <p:cNvSpPr>
            <a:spLocks noGrp="1" noChangeArrowheads="1"/>
          </p:cNvSpPr>
          <p:nvPr>
            <p:ph type="sldNum" sz="quarter" idx="12"/>
          </p:nvPr>
        </p:nvSpPr>
        <p:spPr>
          <a:ln/>
        </p:spPr>
        <p:txBody>
          <a:bodyPr/>
          <a:lstStyle>
            <a:lvl1pPr>
              <a:defRPr/>
            </a:lvl1pPr>
          </a:lstStyle>
          <a:p>
            <a:pPr>
              <a:defRPr/>
            </a:pPr>
            <a:fld id="{6A8F643B-1E2A-4F03-8182-047C0680F225}"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7715339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138" cy="1162050"/>
          </a:xfrm>
        </p:spPr>
        <p:txBody>
          <a:bodyPr anchor="b"/>
          <a:lstStyle>
            <a:lvl1pPr algn="l">
              <a:defRPr sz="1846" b="1"/>
            </a:lvl1pPr>
          </a:lstStyle>
          <a:p>
            <a:r>
              <a:rPr lang="ja-JP" altLang="en-US"/>
              <a:t>マスタ タイトルの書式設定</a:t>
            </a:r>
          </a:p>
        </p:txBody>
      </p:sp>
      <p:sp>
        <p:nvSpPr>
          <p:cNvPr id="3" name="コンテンツ プレースホルダ 2"/>
          <p:cNvSpPr>
            <a:spLocks noGrp="1"/>
          </p:cNvSpPr>
          <p:nvPr>
            <p:ph idx="1"/>
          </p:nvPr>
        </p:nvSpPr>
        <p:spPr>
          <a:xfrm>
            <a:off x="3873499" y="273053"/>
            <a:ext cx="5537201"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95300" y="1435103"/>
            <a:ext cx="3259138"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ja-JP" altLang="en-US"/>
              <a:t>マスタ テキストの書式設定</a:t>
            </a:r>
          </a:p>
        </p:txBody>
      </p:sp>
      <p:sp>
        <p:nvSpPr>
          <p:cNvPr id="5" name="Rectangle 3"/>
          <p:cNvSpPr>
            <a:spLocks noGrp="1" noChangeArrowheads="1"/>
          </p:cNvSpPr>
          <p:nvPr>
            <p:ph type="dt" sz="half" idx="10"/>
          </p:nvPr>
        </p:nvSpPr>
        <p:spPr>
          <a:ln/>
        </p:spPr>
        <p:txBody>
          <a:bodyPr/>
          <a:lstStyle>
            <a:lvl1pPr>
              <a:defRPr/>
            </a:lvl1pPr>
          </a:lstStyle>
          <a:p>
            <a:pPr>
              <a:defRPr/>
            </a:pPr>
            <a:fld id="{1C3036B0-6B19-470A-8CB6-2F145917FD28}" type="datetime1">
              <a:rPr lang="ja-JP" altLang="en-US" smtClean="0">
                <a:solidFill>
                  <a:srgbClr val="000000"/>
                </a:solidFill>
              </a:rPr>
              <a:t>2025/3/11</a:t>
            </a:fld>
            <a:endParaRPr lang="en-US" altLang="ja-JP">
              <a:solidFill>
                <a:srgbClr val="000000"/>
              </a:solidFill>
            </a:endParaRPr>
          </a:p>
        </p:txBody>
      </p:sp>
      <p:sp>
        <p:nvSpPr>
          <p:cNvPr id="6"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7" name="Rectangle 5"/>
          <p:cNvSpPr>
            <a:spLocks noGrp="1" noChangeArrowheads="1"/>
          </p:cNvSpPr>
          <p:nvPr>
            <p:ph type="sldNum" sz="quarter" idx="12"/>
          </p:nvPr>
        </p:nvSpPr>
        <p:spPr>
          <a:ln/>
        </p:spPr>
        <p:txBody>
          <a:bodyPr/>
          <a:lstStyle>
            <a:lvl1pPr>
              <a:defRPr/>
            </a:lvl1pPr>
          </a:lstStyle>
          <a:p>
            <a:pPr>
              <a:defRPr/>
            </a:pPr>
            <a:fld id="{CD240BB9-DC62-40AE-AFEB-DEDC9D7564AC}"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6567977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513" y="4800600"/>
            <a:ext cx="5943600" cy="566738"/>
          </a:xfrm>
        </p:spPr>
        <p:txBody>
          <a:bodyPr anchor="b"/>
          <a:lstStyle>
            <a:lvl1pPr algn="l">
              <a:defRPr sz="1846" b="1"/>
            </a:lvl1pPr>
          </a:lstStyle>
          <a:p>
            <a:r>
              <a:rPr lang="ja-JP" altLang="en-US"/>
              <a:t>マスタ タイトルの書式設定</a:t>
            </a:r>
          </a:p>
        </p:txBody>
      </p:sp>
      <p:sp>
        <p:nvSpPr>
          <p:cNvPr id="3" name="図プレースホルダ 2"/>
          <p:cNvSpPr>
            <a:spLocks noGrp="1"/>
          </p:cNvSpPr>
          <p:nvPr>
            <p:ph type="pic" idx="1"/>
          </p:nvPr>
        </p:nvSpPr>
        <p:spPr>
          <a:xfrm>
            <a:off x="1941513" y="612775"/>
            <a:ext cx="5943600" cy="4114800"/>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ja-JP" altLang="en-US" noProof="0"/>
          </a:p>
        </p:txBody>
      </p:sp>
      <p:sp>
        <p:nvSpPr>
          <p:cNvPr id="4" name="テキスト プレースホルダ 3"/>
          <p:cNvSpPr>
            <a:spLocks noGrp="1"/>
          </p:cNvSpPr>
          <p:nvPr>
            <p:ph type="body" sz="half" idx="2"/>
          </p:nvPr>
        </p:nvSpPr>
        <p:spPr>
          <a:xfrm>
            <a:off x="1941513" y="5367338"/>
            <a:ext cx="59436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ja-JP" altLang="en-US"/>
              <a:t>マスタ テキストの書式設定</a:t>
            </a:r>
          </a:p>
        </p:txBody>
      </p:sp>
      <p:sp>
        <p:nvSpPr>
          <p:cNvPr id="5" name="Rectangle 3"/>
          <p:cNvSpPr>
            <a:spLocks noGrp="1" noChangeArrowheads="1"/>
          </p:cNvSpPr>
          <p:nvPr>
            <p:ph type="dt" sz="half" idx="10"/>
          </p:nvPr>
        </p:nvSpPr>
        <p:spPr>
          <a:ln/>
        </p:spPr>
        <p:txBody>
          <a:bodyPr/>
          <a:lstStyle>
            <a:lvl1pPr>
              <a:defRPr/>
            </a:lvl1pPr>
          </a:lstStyle>
          <a:p>
            <a:pPr>
              <a:defRPr/>
            </a:pPr>
            <a:fld id="{C693FF90-E347-4128-808B-1879E4ACA55B}" type="datetime1">
              <a:rPr lang="ja-JP" altLang="en-US" smtClean="0">
                <a:solidFill>
                  <a:srgbClr val="000000"/>
                </a:solidFill>
              </a:rPr>
              <a:t>2025/3/11</a:t>
            </a:fld>
            <a:endParaRPr lang="en-US" altLang="ja-JP">
              <a:solidFill>
                <a:srgbClr val="000000"/>
              </a:solidFill>
            </a:endParaRPr>
          </a:p>
        </p:txBody>
      </p:sp>
      <p:sp>
        <p:nvSpPr>
          <p:cNvPr id="6"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7" name="Rectangle 5"/>
          <p:cNvSpPr>
            <a:spLocks noGrp="1" noChangeArrowheads="1"/>
          </p:cNvSpPr>
          <p:nvPr>
            <p:ph type="sldNum" sz="quarter" idx="12"/>
          </p:nvPr>
        </p:nvSpPr>
        <p:spPr>
          <a:ln/>
        </p:spPr>
        <p:txBody>
          <a:bodyPr/>
          <a:lstStyle>
            <a:lvl1pPr>
              <a:defRPr/>
            </a:lvl1pPr>
          </a:lstStyle>
          <a:p>
            <a:pPr>
              <a:defRPr/>
            </a:pPr>
            <a:fld id="{ECD109A3-A064-4A10-ADA6-4A4FD1722D1A}"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5088709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a:ln/>
        </p:spPr>
        <p:txBody>
          <a:bodyPr/>
          <a:lstStyle>
            <a:lvl1pPr>
              <a:defRPr/>
            </a:lvl1pPr>
          </a:lstStyle>
          <a:p>
            <a:pPr>
              <a:defRPr/>
            </a:pPr>
            <a:fld id="{E1A2DECB-ADD5-4563-8191-A8976055E2F1}" type="datetime1">
              <a:rPr lang="ja-JP" altLang="en-US" smtClean="0">
                <a:solidFill>
                  <a:srgbClr val="000000"/>
                </a:solidFill>
              </a:rPr>
              <a:t>2025/3/11</a:t>
            </a:fld>
            <a:endParaRPr lang="en-US" altLang="ja-JP">
              <a:solidFill>
                <a:srgbClr val="000000"/>
              </a:solidFill>
            </a:endParaRPr>
          </a:p>
        </p:txBody>
      </p:sp>
      <p:sp>
        <p:nvSpPr>
          <p:cNvPr id="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6" name="Rectangle 5"/>
          <p:cNvSpPr>
            <a:spLocks noGrp="1" noChangeArrowheads="1"/>
          </p:cNvSpPr>
          <p:nvPr>
            <p:ph type="sldNum" sz="quarter" idx="12"/>
          </p:nvPr>
        </p:nvSpPr>
        <p:spPr>
          <a:ln/>
        </p:spPr>
        <p:txBody>
          <a:bodyPr/>
          <a:lstStyle>
            <a:lvl1pPr>
              <a:defRPr/>
            </a:lvl1pPr>
          </a:lstStyle>
          <a:p>
            <a:pPr>
              <a:defRPr/>
            </a:pPr>
            <a:fld id="{F5D7051E-5270-4375-A243-9E4BFF7661A6}"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5479046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58025" y="1"/>
            <a:ext cx="2352675" cy="6126163"/>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4" y="1"/>
            <a:ext cx="6905625" cy="6126163"/>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a:ln/>
        </p:spPr>
        <p:txBody>
          <a:bodyPr/>
          <a:lstStyle>
            <a:lvl1pPr>
              <a:defRPr/>
            </a:lvl1pPr>
          </a:lstStyle>
          <a:p>
            <a:pPr>
              <a:defRPr/>
            </a:pPr>
            <a:fld id="{2F361AD2-F33C-40F4-840A-87A4FEF9BFDC}" type="datetime1">
              <a:rPr lang="ja-JP" altLang="en-US" smtClean="0">
                <a:solidFill>
                  <a:srgbClr val="000000"/>
                </a:solidFill>
              </a:rPr>
              <a:t>2025/3/11</a:t>
            </a:fld>
            <a:endParaRPr lang="en-US" altLang="ja-JP">
              <a:solidFill>
                <a:srgbClr val="000000"/>
              </a:solidFill>
            </a:endParaRPr>
          </a:p>
        </p:txBody>
      </p:sp>
      <p:sp>
        <p:nvSpPr>
          <p:cNvPr id="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6" name="Rectangle 5"/>
          <p:cNvSpPr>
            <a:spLocks noGrp="1" noChangeArrowheads="1"/>
          </p:cNvSpPr>
          <p:nvPr>
            <p:ph type="sldNum" sz="quarter" idx="12"/>
          </p:nvPr>
        </p:nvSpPr>
        <p:spPr>
          <a:ln/>
        </p:spPr>
        <p:txBody>
          <a:bodyPr/>
          <a:lstStyle>
            <a:lvl1pPr>
              <a:defRPr/>
            </a:lvl1pPr>
          </a:lstStyle>
          <a:p>
            <a:pPr>
              <a:defRPr/>
            </a:pPr>
            <a:fld id="{BFC0FED5-3084-467F-AEC8-2182149A5A45}"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8508978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0" y="1"/>
            <a:ext cx="9410700" cy="61261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 name="Rectangle 3"/>
          <p:cNvSpPr>
            <a:spLocks noGrp="1" noChangeArrowheads="1"/>
          </p:cNvSpPr>
          <p:nvPr>
            <p:ph type="dt" sz="half" idx="10"/>
          </p:nvPr>
        </p:nvSpPr>
        <p:spPr>
          <a:ln/>
        </p:spPr>
        <p:txBody>
          <a:bodyPr/>
          <a:lstStyle>
            <a:lvl1pPr>
              <a:defRPr/>
            </a:lvl1pPr>
          </a:lstStyle>
          <a:p>
            <a:pPr>
              <a:defRPr/>
            </a:pPr>
            <a:fld id="{AFBCB06D-14F6-47E7-A092-052F9BDC0FA9}" type="datetime1">
              <a:rPr lang="ja-JP" altLang="en-US" smtClean="0">
                <a:solidFill>
                  <a:srgbClr val="000000"/>
                </a:solidFill>
              </a:rPr>
              <a:t>2025/3/11</a:t>
            </a:fld>
            <a:endParaRPr lang="en-US" altLang="ja-JP">
              <a:solidFill>
                <a:srgbClr val="000000"/>
              </a:solidFill>
            </a:endParaRPr>
          </a:p>
        </p:txBody>
      </p:sp>
      <p:sp>
        <p:nvSpPr>
          <p:cNvPr id="4"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5" name="Rectangle 5"/>
          <p:cNvSpPr>
            <a:spLocks noGrp="1" noChangeArrowheads="1"/>
          </p:cNvSpPr>
          <p:nvPr>
            <p:ph type="sldNum" sz="quarter" idx="12"/>
          </p:nvPr>
        </p:nvSpPr>
        <p:spPr>
          <a:ln/>
        </p:spPr>
        <p:txBody>
          <a:bodyPr/>
          <a:lstStyle>
            <a:lvl1pPr>
              <a:defRPr/>
            </a:lvl1pPr>
          </a:lstStyle>
          <a:p>
            <a:pPr>
              <a:defRPr/>
            </a:pPr>
            <a:fld id="{A1127FF6-0507-47A6-B209-AE7E6A074F38}"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2357786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wo Columns">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9543E7D3-2872-FE4B-8657-6517BAB224B2}"/>
              </a:ext>
            </a:extLst>
          </p:cNvPr>
          <p:cNvSpPr>
            <a:spLocks noGrp="1"/>
          </p:cNvSpPr>
          <p:nvPr>
            <p:ph type="title" hasCustomPrompt="1"/>
          </p:nvPr>
        </p:nvSpPr>
        <p:spPr>
          <a:xfrm>
            <a:off x="495300" y="457200"/>
            <a:ext cx="8915400" cy="822960"/>
          </a:xfrm>
        </p:spPr>
        <p:txBody>
          <a:bodyPr/>
          <a:lstStyle>
            <a:lvl1pPr>
              <a:defRPr/>
            </a:lvl1pPr>
          </a:lstStyle>
          <a:p>
            <a:r>
              <a:rPr lang="en-US"/>
              <a:t>[Slide title]</a:t>
            </a:r>
          </a:p>
        </p:txBody>
      </p:sp>
      <p:sp>
        <p:nvSpPr>
          <p:cNvPr id="8" name="Subtitle">
            <a:extLst>
              <a:ext uri="{FF2B5EF4-FFF2-40B4-BE49-F238E27FC236}">
                <a16:creationId xmlns:a16="http://schemas.microsoft.com/office/drawing/2014/main" id="{417EBE95-CD22-944F-9CE5-6B58F40DED7A}"/>
              </a:ext>
            </a:extLst>
          </p:cNvPr>
          <p:cNvSpPr>
            <a:spLocks noGrp="1"/>
          </p:cNvSpPr>
          <p:nvPr>
            <p:ph type="subTitle" idx="13" hasCustomPrompt="1"/>
          </p:nvPr>
        </p:nvSpPr>
        <p:spPr>
          <a:xfrm>
            <a:off x="495300" y="1325881"/>
            <a:ext cx="8915400" cy="320177"/>
          </a:xfrm>
        </p:spPr>
        <p:txBody>
          <a:bodyPr tIns="0">
            <a:noAutofit/>
          </a:bodyPr>
          <a:lstStyle>
            <a:lvl1pPr marL="0" indent="0" algn="l">
              <a:lnSpc>
                <a:spcPct val="100000"/>
              </a:lnSpc>
              <a:spcBef>
                <a:spcPts val="0"/>
              </a:spcBef>
              <a:spcAft>
                <a:spcPts val="0"/>
              </a:spcAft>
              <a:buNone/>
              <a:defRPr sz="1400" b="1">
                <a:solidFill>
                  <a:schemeClr val="tx1"/>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9" name="Footer Placeholder">
            <a:extLst>
              <a:ext uri="{FF2B5EF4-FFF2-40B4-BE49-F238E27FC236}">
                <a16:creationId xmlns:a16="http://schemas.microsoft.com/office/drawing/2014/main" id="{6CBFAA4A-4BAE-B84D-BD9A-91B54570DF1E}"/>
              </a:ext>
            </a:extLst>
          </p:cNvPr>
          <p:cNvSpPr>
            <a:spLocks noGrp="1"/>
          </p:cNvSpPr>
          <p:nvPr>
            <p:ph type="ftr" sz="quarter" idx="11"/>
          </p:nvPr>
        </p:nvSpPr>
        <p:spPr/>
        <p:txBody>
          <a:bodyPr/>
          <a:lstStyle/>
          <a:p>
            <a:endParaRPr lang="en-US"/>
          </a:p>
        </p:txBody>
      </p:sp>
      <p:sp>
        <p:nvSpPr>
          <p:cNvPr id="12" name="Footnotes">
            <a:extLst>
              <a:ext uri="{FF2B5EF4-FFF2-40B4-BE49-F238E27FC236}">
                <a16:creationId xmlns:a16="http://schemas.microsoft.com/office/drawing/2014/main" id="{DB21F35D-5956-4D01-BAEF-45C35CDC72BE}"/>
              </a:ext>
            </a:extLst>
          </p:cNvPr>
          <p:cNvSpPr>
            <a:spLocks noGrp="1"/>
          </p:cNvSpPr>
          <p:nvPr>
            <p:ph type="body" sz="quarter" idx="17" hasCustomPrompt="1"/>
          </p:nvPr>
        </p:nvSpPr>
        <p:spPr>
          <a:xfrm>
            <a:off x="2476500" y="6355077"/>
            <a:ext cx="4953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t>[Optional footnotes/references]</a:t>
            </a:r>
          </a:p>
        </p:txBody>
      </p:sp>
      <p:sp>
        <p:nvSpPr>
          <p:cNvPr id="6" name="Date Placeholder">
            <a:extLst>
              <a:ext uri="{FF2B5EF4-FFF2-40B4-BE49-F238E27FC236}">
                <a16:creationId xmlns:a16="http://schemas.microsoft.com/office/drawing/2014/main" id="{48FFBCCC-86E9-7F42-828A-FB95454399E5}"/>
              </a:ext>
            </a:extLst>
          </p:cNvPr>
          <p:cNvSpPr>
            <a:spLocks noGrp="1"/>
          </p:cNvSpPr>
          <p:nvPr>
            <p:ph type="dt" sz="half" idx="10"/>
          </p:nvPr>
        </p:nvSpPr>
        <p:spPr/>
        <p:txBody>
          <a:bodyPr/>
          <a:lstStyle/>
          <a:p>
            <a:endParaRPr lang="en-US"/>
          </a:p>
        </p:txBody>
      </p:sp>
      <p:sp>
        <p:nvSpPr>
          <p:cNvPr id="10" name="Slide Number Placeholder">
            <a:extLst>
              <a:ext uri="{FF2B5EF4-FFF2-40B4-BE49-F238E27FC236}">
                <a16:creationId xmlns:a16="http://schemas.microsoft.com/office/drawing/2014/main" id="{7690CCDB-9368-FF4C-A00C-C580BC33D0EE}"/>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2302759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1037" name="Picture 20" descr="ppjtitle"/>
          <p:cNvPicPr>
            <a:picLocks noChangeAspect="1" noChangeArrowheads="1"/>
          </p:cNvPicPr>
          <p:nvPr userDrawn="1"/>
        </p:nvPicPr>
        <p:blipFill>
          <a:blip r:embed="rId2"/>
          <a:stretch>
            <a:fillRect/>
          </a:stretch>
        </p:blipFill>
        <p:spPr>
          <a:xfrm>
            <a:off x="0" y="6076950"/>
            <a:ext cx="9921875" cy="781050"/>
          </a:xfrm>
          <a:prstGeom prst="rect">
            <a:avLst/>
          </a:prstGeom>
          <a:noFill/>
          <a:ln>
            <a:noFill/>
          </a:ln>
        </p:spPr>
      </p:pic>
      <p:sp>
        <p:nvSpPr>
          <p:cNvPr id="1038" name="Rectangle 14"/>
          <p:cNvSpPr>
            <a:spLocks noChangeArrowheads="1"/>
          </p:cNvSpPr>
          <p:nvPr userDrawn="1"/>
        </p:nvSpPr>
        <p:spPr>
          <a:xfrm>
            <a:off x="1833563" y="3284538"/>
            <a:ext cx="8072437" cy="73025"/>
          </a:xfrm>
          <a:prstGeom prst="rect">
            <a:avLst/>
          </a:prstGeom>
          <a:solidFill>
            <a:srgbClr val="FF0000"/>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9" name="Rectangle 3"/>
          <p:cNvSpPr>
            <a:spLocks noGrp="1" noChangeArrowheads="1"/>
          </p:cNvSpPr>
          <p:nvPr>
            <p:ph type="ctrTitle"/>
          </p:nvPr>
        </p:nvSpPr>
        <p:spPr>
          <a:xfrm>
            <a:off x="1784350" y="2133600"/>
            <a:ext cx="8121650" cy="1470025"/>
          </a:xfrm>
        </p:spPr>
        <p:txBody>
          <a:bodyPr/>
          <a:lstStyle>
            <a:lvl1pPr>
              <a:defRPr sz="4000"/>
            </a:lvl1pPr>
          </a:lstStyle>
          <a:p>
            <a:pPr lvl="0"/>
            <a:r>
              <a:rPr lang="ja-JP" altLang="en-US" noProof="0"/>
              <a:t>マスタ タイトルの書式設定</a:t>
            </a:r>
          </a:p>
        </p:txBody>
      </p:sp>
      <p:sp>
        <p:nvSpPr>
          <p:cNvPr id="1040"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pPr lvl="0"/>
            <a:r>
              <a:rPr lang="ja-JP" altLang="en-US" noProof="0"/>
              <a:t>国土交通省　観光庁</a:t>
            </a:r>
          </a:p>
          <a:p>
            <a:pPr lvl="0"/>
            <a:r>
              <a:rPr lang="ja-JP" altLang="en-US" noProof="0"/>
              <a:t>○○課</a:t>
            </a:r>
          </a:p>
          <a:p>
            <a:pPr lvl="0"/>
            <a:r>
              <a:rPr lang="ja-JP" altLang="en-US" noProof="0"/>
              <a:t>平成○○年○○月</a:t>
            </a:r>
          </a:p>
        </p:txBody>
      </p:sp>
      <p:sp>
        <p:nvSpPr>
          <p:cNvPr id="1041" name="Rectangle 5"/>
          <p:cNvSpPr>
            <a:spLocks noGrp="1" noChangeArrowheads="1"/>
          </p:cNvSpPr>
          <p:nvPr>
            <p:ph type="dt" sz="half" idx="10"/>
          </p:nvPr>
        </p:nvSpPr>
        <p:spPr/>
        <p:txBody>
          <a:bodyPr/>
          <a:lstStyle>
            <a:lvl1pPr>
              <a:defRPr/>
            </a:lvl1pPr>
          </a:lstStyle>
          <a:p>
            <a:pPr>
              <a:defRPr/>
            </a:pPr>
            <a:endParaRPr lang="en-US" altLang="ja-JP"/>
          </a:p>
        </p:txBody>
      </p:sp>
      <p:sp>
        <p:nvSpPr>
          <p:cNvPr id="1042" name="Rectangle 6"/>
          <p:cNvSpPr>
            <a:spLocks noGrp="1" noChangeArrowheads="1"/>
          </p:cNvSpPr>
          <p:nvPr>
            <p:ph type="ftr" sz="quarter" idx="11"/>
          </p:nvPr>
        </p:nvSpPr>
        <p:spPr/>
        <p:txBody>
          <a:bodyPr/>
          <a:lstStyle>
            <a:lvl1pPr>
              <a:defRPr/>
            </a:lvl1pPr>
          </a:lstStyle>
          <a:p>
            <a:pPr>
              <a:defRPr/>
            </a:pPr>
            <a:endParaRPr lang="en-US" altLang="ja-JP"/>
          </a:p>
        </p:txBody>
      </p:sp>
    </p:spTree>
    <p:extLst>
      <p:ext uri="{BB962C8B-B14F-4D97-AF65-F5344CB8AC3E}">
        <p14:creationId xmlns:p14="http://schemas.microsoft.com/office/powerpoint/2010/main" val="33418762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a:p>
        </p:txBody>
      </p:sp>
      <p:grpSp>
        <p:nvGrpSpPr>
          <p:cNvPr id="7" name="Group 27"/>
          <p:cNvGrpSpPr>
            <a:grpSpLocks/>
          </p:cNvGrpSpPr>
          <p:nvPr userDrawn="1"/>
        </p:nvGrpSpPr>
        <p:grpSpPr bwMode="auto">
          <a:xfrm>
            <a:off x="0" y="6599065"/>
            <a:ext cx="9906000" cy="214314"/>
            <a:chOff x="0" y="255"/>
            <a:chExt cx="6240" cy="135"/>
          </a:xfrm>
        </p:grpSpPr>
        <p:sp>
          <p:nvSpPr>
            <p:cNvPr id="8"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9"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Tree>
    <p:extLst>
      <p:ext uri="{BB962C8B-B14F-4D97-AF65-F5344CB8AC3E}">
        <p14:creationId xmlns:p14="http://schemas.microsoft.com/office/powerpoint/2010/main" val="26668106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5" name="タイトル 1"/>
          <p:cNvSpPr>
            <a:spLocks noGrp="1"/>
          </p:cNvSpPr>
          <p:nvPr>
            <p:ph type="title"/>
          </p:nvPr>
        </p:nvSpPr>
        <p:spPr/>
        <p:txBody>
          <a:bodyPr/>
          <a:lstStyle/>
          <a:p>
            <a:r>
              <a:rPr lang="ja-JP" altLang="en-US"/>
              <a:t>マスター タイトルの書式設定</a:t>
            </a:r>
          </a:p>
        </p:txBody>
      </p:sp>
      <p:sp>
        <p:nvSpPr>
          <p:cNvPr id="1046"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47"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48"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49" name="Rectangle 5"/>
          <p:cNvSpPr>
            <a:spLocks noGrp="1" noChangeArrowheads="1"/>
          </p:cNvSpPr>
          <p:nvPr>
            <p:ph type="sldNum" sz="quarter" idx="12"/>
          </p:nvPr>
        </p:nvSpPr>
        <p:spPr>
          <a:ln/>
        </p:spPr>
        <p:txBody>
          <a:bodyPr/>
          <a:lstStyle>
            <a:lvl1pPr>
              <a:defRPr/>
            </a:lvl1pPr>
          </a:lstStyle>
          <a:p>
            <a:pPr>
              <a:defRPr/>
            </a:pPr>
            <a:fld id="{6C407DE2-65C0-4056-926A-44C6A308E87C}" type="slidenum">
              <a:rPr lang="en-US" altLang="ja-JP"/>
              <a:pPr>
                <a:defRPr/>
              </a:pPr>
              <a:t>‹#›</a:t>
            </a:fld>
            <a:endParaRPr lang="en-US" altLang="ja-JP"/>
          </a:p>
        </p:txBody>
      </p:sp>
    </p:spTree>
    <p:extLst>
      <p:ext uri="{BB962C8B-B14F-4D97-AF65-F5344CB8AC3E}">
        <p14:creationId xmlns:p14="http://schemas.microsoft.com/office/powerpoint/2010/main" val="5757411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51" name="タイトル 1"/>
          <p:cNvSpPr>
            <a:spLocks noGrp="1"/>
          </p:cNvSpPr>
          <p:nvPr>
            <p:ph type="title"/>
          </p:nvPr>
        </p:nvSpPr>
        <p:spPr>
          <a:xfrm>
            <a:off x="676275" y="1709738"/>
            <a:ext cx="8543925" cy="2852737"/>
          </a:xfrm>
        </p:spPr>
        <p:txBody>
          <a:bodyPr anchor="b"/>
          <a:lstStyle>
            <a:lvl1pPr>
              <a:defRPr sz="6000"/>
            </a:lvl1pPr>
          </a:lstStyle>
          <a:p>
            <a:r>
              <a:rPr lang="ja-JP" altLang="en-US"/>
              <a:t>マスター タイトルの書式設定</a:t>
            </a:r>
          </a:p>
        </p:txBody>
      </p:sp>
      <p:sp>
        <p:nvSpPr>
          <p:cNvPr id="1052" name="テキスト プレースホルダー 2"/>
          <p:cNvSpPr>
            <a:spLocks noGrp="1"/>
          </p:cNvSpPr>
          <p:nvPr>
            <p:ph type="body" idx="1"/>
          </p:nvPr>
        </p:nvSpPr>
        <p:spPr>
          <a:xfrm>
            <a:off x="676275" y="4589463"/>
            <a:ext cx="8543925"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ja-JP" altLang="en-US"/>
              <a:t>マスター テキストの書式設定</a:t>
            </a:r>
          </a:p>
        </p:txBody>
      </p:sp>
      <p:sp>
        <p:nvSpPr>
          <p:cNvPr id="1053"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54"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55" name="Rectangle 5"/>
          <p:cNvSpPr>
            <a:spLocks noGrp="1" noChangeArrowheads="1"/>
          </p:cNvSpPr>
          <p:nvPr>
            <p:ph type="sldNum" sz="quarter" idx="12"/>
          </p:nvPr>
        </p:nvSpPr>
        <p:spPr>
          <a:ln/>
        </p:spPr>
        <p:txBody>
          <a:bodyPr/>
          <a:lstStyle>
            <a:lvl1pPr>
              <a:defRPr/>
            </a:lvl1pPr>
          </a:lstStyle>
          <a:p>
            <a:pPr>
              <a:defRPr/>
            </a:pPr>
            <a:fld id="{7F6E7C9C-9C42-4686-B2D5-7931EFDFFDE6}" type="slidenum">
              <a:rPr lang="en-US" altLang="ja-JP"/>
              <a:pPr>
                <a:defRPr/>
              </a:pPr>
              <a:t>‹#›</a:t>
            </a:fld>
            <a:endParaRPr lang="en-US" altLang="ja-JP"/>
          </a:p>
        </p:txBody>
      </p:sp>
    </p:spTree>
    <p:extLst>
      <p:ext uri="{BB962C8B-B14F-4D97-AF65-F5344CB8AC3E}">
        <p14:creationId xmlns:p14="http://schemas.microsoft.com/office/powerpoint/2010/main" val="2089198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57" name="タイトル 1"/>
          <p:cNvSpPr>
            <a:spLocks noGrp="1"/>
          </p:cNvSpPr>
          <p:nvPr>
            <p:ph type="title"/>
          </p:nvPr>
        </p:nvSpPr>
        <p:spPr/>
        <p:txBody>
          <a:bodyPr/>
          <a:lstStyle/>
          <a:p>
            <a:r>
              <a:rPr lang="ja-JP" altLang="en-US"/>
              <a:t>マスター タイトルの書式設定</a:t>
            </a:r>
          </a:p>
        </p:txBody>
      </p:sp>
      <p:sp>
        <p:nvSpPr>
          <p:cNvPr id="1058" name="コンテンツ プレースホルダー 2"/>
          <p:cNvSpPr>
            <a:spLocks noGrp="1"/>
          </p:cNvSpPr>
          <p:nvPr>
            <p:ph sz="half" idx="1"/>
          </p:nvPr>
        </p:nvSpPr>
        <p:spPr>
          <a:xfrm>
            <a:off x="495300" y="1600200"/>
            <a:ext cx="4381500" cy="452596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コンテンツ プレースホルダー 3"/>
          <p:cNvSpPr>
            <a:spLocks noGrp="1"/>
          </p:cNvSpPr>
          <p:nvPr>
            <p:ph sz="half" idx="2"/>
          </p:nvPr>
        </p:nvSpPr>
        <p:spPr>
          <a:xfrm>
            <a:off x="5029200" y="1600200"/>
            <a:ext cx="4381500" cy="452596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0"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61"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62" name="Rectangle 5"/>
          <p:cNvSpPr>
            <a:spLocks noGrp="1" noChangeArrowheads="1"/>
          </p:cNvSpPr>
          <p:nvPr>
            <p:ph type="sldNum" sz="quarter" idx="12"/>
          </p:nvPr>
        </p:nvSpPr>
        <p:spPr>
          <a:ln/>
        </p:spPr>
        <p:txBody>
          <a:bodyPr/>
          <a:lstStyle>
            <a:lvl1pPr>
              <a:defRPr/>
            </a:lvl1pPr>
          </a:lstStyle>
          <a:p>
            <a:pPr>
              <a:defRPr/>
            </a:pPr>
            <a:fld id="{EC03907C-9601-47C5-A52D-44457116B190}" type="slidenum">
              <a:rPr lang="en-US" altLang="ja-JP"/>
              <a:pPr>
                <a:defRPr/>
              </a:pPr>
              <a:t>‹#›</a:t>
            </a:fld>
            <a:endParaRPr lang="en-US" altLang="ja-JP"/>
          </a:p>
        </p:txBody>
      </p:sp>
    </p:spTree>
    <p:extLst>
      <p:ext uri="{BB962C8B-B14F-4D97-AF65-F5344CB8AC3E}">
        <p14:creationId xmlns:p14="http://schemas.microsoft.com/office/powerpoint/2010/main" val="21852672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64" name="タイトル 1"/>
          <p:cNvSpPr>
            <a:spLocks noGrp="1"/>
          </p:cNvSpPr>
          <p:nvPr>
            <p:ph type="title"/>
          </p:nvPr>
        </p:nvSpPr>
        <p:spPr>
          <a:xfrm>
            <a:off x="682625" y="365125"/>
            <a:ext cx="8543925" cy="1325563"/>
          </a:xfrm>
        </p:spPr>
        <p:txBody>
          <a:bodyPr/>
          <a:lstStyle/>
          <a:p>
            <a:r>
              <a:rPr lang="ja-JP" altLang="en-US"/>
              <a:t>マスター タイトルの書式設定</a:t>
            </a:r>
          </a:p>
        </p:txBody>
      </p:sp>
      <p:sp>
        <p:nvSpPr>
          <p:cNvPr id="1065" name="テキスト プレースホルダー 2"/>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1066" name="コンテンツ プレースホルダー 3"/>
          <p:cNvSpPr>
            <a:spLocks noGrp="1"/>
          </p:cNvSpPr>
          <p:nvPr>
            <p:ph sz="half" idx="2"/>
          </p:nvPr>
        </p:nvSpPr>
        <p:spPr>
          <a:xfrm>
            <a:off x="682625" y="2505075"/>
            <a:ext cx="4191000"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7" name="テキスト プレースホルダー 4"/>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1068" name="コンテンツ プレースホルダー 5"/>
          <p:cNvSpPr>
            <a:spLocks noGrp="1"/>
          </p:cNvSpPr>
          <p:nvPr>
            <p:ph sz="quarter" idx="4"/>
          </p:nvPr>
        </p:nvSpPr>
        <p:spPr>
          <a:xfrm>
            <a:off x="5014913" y="2505075"/>
            <a:ext cx="4211637"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9" name="Rectangle 3"/>
          <p:cNvSpPr>
            <a:spLocks noGrp="1" noChangeArrowheads="1"/>
          </p:cNvSpPr>
          <p:nvPr>
            <p:ph type="dt" sz="half" idx="10"/>
          </p:nvPr>
        </p:nvSpPr>
        <p:spPr>
          <a:xfrm>
            <a:off x="0" y="6566833"/>
            <a:ext cx="2311400" cy="288000"/>
          </a:xfrm>
          <a:ln/>
        </p:spPr>
        <p:txBody>
          <a:bodyPr/>
          <a:lstStyle>
            <a:lvl1pPr>
              <a:defRPr/>
            </a:lvl1pPr>
          </a:lstStyle>
          <a:p>
            <a:pPr>
              <a:defRPr/>
            </a:pPr>
            <a:endParaRPr lang="en-US" altLang="ja-JP" dirty="0"/>
          </a:p>
        </p:txBody>
      </p:sp>
      <p:sp>
        <p:nvSpPr>
          <p:cNvPr id="1070"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71" name="Rectangle 5"/>
          <p:cNvSpPr>
            <a:spLocks noGrp="1" noChangeArrowheads="1"/>
          </p:cNvSpPr>
          <p:nvPr>
            <p:ph type="sldNum" sz="quarter" idx="12"/>
          </p:nvPr>
        </p:nvSpPr>
        <p:spPr>
          <a:ln/>
        </p:spPr>
        <p:txBody>
          <a:bodyPr/>
          <a:lstStyle>
            <a:lvl1pPr>
              <a:defRPr/>
            </a:lvl1pPr>
          </a:lstStyle>
          <a:p>
            <a:pPr>
              <a:defRPr/>
            </a:pPr>
            <a:fld id="{9A430409-6486-477D-AE44-C92CDC16A5B0}" type="slidenum">
              <a:rPr lang="en-US" altLang="ja-JP"/>
              <a:pPr>
                <a:defRPr/>
              </a:pPr>
              <a:t>‹#›</a:t>
            </a:fld>
            <a:endParaRPr lang="en-US" altLang="ja-JP"/>
          </a:p>
        </p:txBody>
      </p:sp>
    </p:spTree>
    <p:extLst>
      <p:ext uri="{BB962C8B-B14F-4D97-AF65-F5344CB8AC3E}">
        <p14:creationId xmlns:p14="http://schemas.microsoft.com/office/powerpoint/2010/main" val="39013959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73" name="タイトル 1"/>
          <p:cNvSpPr>
            <a:spLocks noGrp="1"/>
          </p:cNvSpPr>
          <p:nvPr>
            <p:ph type="title"/>
          </p:nvPr>
        </p:nvSpPr>
        <p:spPr/>
        <p:txBody>
          <a:bodyPr/>
          <a:lstStyle/>
          <a:p>
            <a:r>
              <a:rPr lang="ja-JP" altLang="en-US"/>
              <a:t>マスター タイトルの書式設定</a:t>
            </a:r>
          </a:p>
        </p:txBody>
      </p:sp>
      <p:sp>
        <p:nvSpPr>
          <p:cNvPr id="1074"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75"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76" name="Rectangle 5"/>
          <p:cNvSpPr>
            <a:spLocks noGrp="1" noChangeArrowheads="1"/>
          </p:cNvSpPr>
          <p:nvPr>
            <p:ph type="sldNum" sz="quarter" idx="12"/>
          </p:nvPr>
        </p:nvSpPr>
        <p:spPr>
          <a:ln/>
        </p:spPr>
        <p:txBody>
          <a:bodyPr/>
          <a:lstStyle>
            <a:lvl1pPr>
              <a:defRPr/>
            </a:lvl1pPr>
          </a:lstStyle>
          <a:p>
            <a:pPr>
              <a:defRPr/>
            </a:pPr>
            <a:fld id="{F6C2E01A-B428-4AA5-B116-BB9AC8521681}" type="slidenum">
              <a:rPr lang="en-US" altLang="ja-JP"/>
              <a:pPr>
                <a:defRPr/>
              </a:pPr>
              <a:t>‹#›</a:t>
            </a:fld>
            <a:endParaRPr lang="en-US" altLang="ja-JP"/>
          </a:p>
        </p:txBody>
      </p:sp>
    </p:spTree>
    <p:extLst>
      <p:ext uri="{BB962C8B-B14F-4D97-AF65-F5344CB8AC3E}">
        <p14:creationId xmlns:p14="http://schemas.microsoft.com/office/powerpoint/2010/main" val="22017151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8"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79"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80" name="Rectangle 5"/>
          <p:cNvSpPr>
            <a:spLocks noGrp="1" noChangeArrowheads="1"/>
          </p:cNvSpPr>
          <p:nvPr>
            <p:ph type="sldNum" sz="quarter" idx="12"/>
          </p:nvPr>
        </p:nvSpPr>
        <p:spPr>
          <a:ln/>
        </p:spPr>
        <p:txBody>
          <a:bodyPr/>
          <a:lstStyle>
            <a:lvl1pPr>
              <a:defRPr/>
            </a:lvl1pPr>
          </a:lstStyle>
          <a:p>
            <a:pPr>
              <a:defRPr/>
            </a:pPr>
            <a:fld id="{3F26A0EA-52F8-4B67-9332-506AB79E6894}" type="slidenum">
              <a:rPr lang="en-US" altLang="ja-JP"/>
              <a:pPr>
                <a:defRPr/>
              </a:pPr>
              <a:t>‹#›</a:t>
            </a:fld>
            <a:endParaRPr lang="en-US" altLang="ja-JP"/>
          </a:p>
        </p:txBody>
      </p:sp>
    </p:spTree>
    <p:extLst>
      <p:ext uri="{BB962C8B-B14F-4D97-AF65-F5344CB8AC3E}">
        <p14:creationId xmlns:p14="http://schemas.microsoft.com/office/powerpoint/2010/main" val="38610780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1082" name="タイトル 1"/>
          <p:cNvSpPr>
            <a:spLocks noGrp="1"/>
          </p:cNvSpPr>
          <p:nvPr>
            <p:ph type="title"/>
          </p:nvPr>
        </p:nvSpPr>
        <p:spPr>
          <a:xfrm>
            <a:off x="682625" y="457200"/>
            <a:ext cx="3194050" cy="1600200"/>
          </a:xfrm>
        </p:spPr>
        <p:txBody>
          <a:bodyPr anchor="b"/>
          <a:lstStyle>
            <a:lvl1pPr>
              <a:defRPr sz="3200"/>
            </a:lvl1pPr>
          </a:lstStyle>
          <a:p>
            <a:r>
              <a:rPr lang="ja-JP" altLang="en-US"/>
              <a:t>マスター タイトルの書式設定</a:t>
            </a:r>
          </a:p>
        </p:txBody>
      </p:sp>
      <p:sp>
        <p:nvSpPr>
          <p:cNvPr id="1083" name="コンテンツ プレースホルダー 2"/>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84" name="テキスト プレースホルダー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1085"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86"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87" name="Rectangle 5"/>
          <p:cNvSpPr>
            <a:spLocks noGrp="1" noChangeArrowheads="1"/>
          </p:cNvSpPr>
          <p:nvPr>
            <p:ph type="sldNum" sz="quarter" idx="12"/>
          </p:nvPr>
        </p:nvSpPr>
        <p:spPr>
          <a:ln/>
        </p:spPr>
        <p:txBody>
          <a:bodyPr/>
          <a:lstStyle>
            <a:lvl1pPr>
              <a:defRPr/>
            </a:lvl1pPr>
          </a:lstStyle>
          <a:p>
            <a:pPr>
              <a:defRPr/>
            </a:pPr>
            <a:fld id="{8E3FD13D-E40C-4C83-ACEF-8C7D56ACC936}" type="slidenum">
              <a:rPr lang="en-US" altLang="ja-JP"/>
              <a:pPr>
                <a:defRPr/>
              </a:pPr>
              <a:t>‹#›</a:t>
            </a:fld>
            <a:endParaRPr lang="en-US" altLang="ja-JP"/>
          </a:p>
        </p:txBody>
      </p:sp>
    </p:spTree>
    <p:extLst>
      <p:ext uri="{BB962C8B-B14F-4D97-AF65-F5344CB8AC3E}">
        <p14:creationId xmlns:p14="http://schemas.microsoft.com/office/powerpoint/2010/main" val="25785763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9" name="タイトル 1"/>
          <p:cNvSpPr>
            <a:spLocks noGrp="1"/>
          </p:cNvSpPr>
          <p:nvPr>
            <p:ph type="title"/>
          </p:nvPr>
        </p:nvSpPr>
        <p:spPr>
          <a:xfrm>
            <a:off x="682625" y="457200"/>
            <a:ext cx="3194050" cy="1600200"/>
          </a:xfrm>
        </p:spPr>
        <p:txBody>
          <a:bodyPr anchor="b"/>
          <a:lstStyle>
            <a:lvl1pPr>
              <a:defRPr sz="3200"/>
            </a:lvl1pPr>
          </a:lstStyle>
          <a:p>
            <a:r>
              <a:rPr lang="ja-JP" altLang="en-US"/>
              <a:t>マスター タイトルの書式設定</a:t>
            </a:r>
          </a:p>
        </p:txBody>
      </p:sp>
      <p:sp>
        <p:nvSpPr>
          <p:cNvPr id="1090" name="図プレースホルダー 2"/>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091" name="テキスト プレースホルダー 3"/>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1092"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93"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94" name="Rectangle 5"/>
          <p:cNvSpPr>
            <a:spLocks noGrp="1" noChangeArrowheads="1"/>
          </p:cNvSpPr>
          <p:nvPr>
            <p:ph type="sldNum" sz="quarter" idx="12"/>
          </p:nvPr>
        </p:nvSpPr>
        <p:spPr>
          <a:ln/>
        </p:spPr>
        <p:txBody>
          <a:bodyPr/>
          <a:lstStyle>
            <a:lvl1pPr>
              <a:defRPr/>
            </a:lvl1pPr>
          </a:lstStyle>
          <a:p>
            <a:pPr>
              <a:defRPr/>
            </a:pPr>
            <a:fld id="{32B92E0A-97F9-46D4-A552-0B961BD1A87D}" type="slidenum">
              <a:rPr lang="en-US" altLang="ja-JP"/>
              <a:pPr>
                <a:defRPr/>
              </a:pPr>
              <a:t>‹#›</a:t>
            </a:fld>
            <a:endParaRPr lang="en-US" altLang="ja-JP"/>
          </a:p>
        </p:txBody>
      </p:sp>
    </p:spTree>
    <p:extLst>
      <p:ext uri="{BB962C8B-B14F-4D97-AF65-F5344CB8AC3E}">
        <p14:creationId xmlns:p14="http://schemas.microsoft.com/office/powerpoint/2010/main" val="40967488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1096" name="タイトル 1"/>
          <p:cNvSpPr>
            <a:spLocks noGrp="1"/>
          </p:cNvSpPr>
          <p:nvPr>
            <p:ph type="title"/>
          </p:nvPr>
        </p:nvSpPr>
        <p:spPr/>
        <p:txBody>
          <a:bodyPr/>
          <a:lstStyle/>
          <a:p>
            <a:r>
              <a:rPr lang="ja-JP" altLang="en-US"/>
              <a:t>マスター タイトルの書式設定</a:t>
            </a:r>
          </a:p>
        </p:txBody>
      </p:sp>
      <p:sp>
        <p:nvSpPr>
          <p:cNvPr id="1097"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8"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99"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100" name="Rectangle 5"/>
          <p:cNvSpPr>
            <a:spLocks noGrp="1" noChangeArrowheads="1"/>
          </p:cNvSpPr>
          <p:nvPr>
            <p:ph type="sldNum" sz="quarter" idx="12"/>
          </p:nvPr>
        </p:nvSpPr>
        <p:spPr>
          <a:ln/>
        </p:spPr>
        <p:txBody>
          <a:bodyPr/>
          <a:lstStyle>
            <a:lvl1pPr>
              <a:defRPr/>
            </a:lvl1pPr>
          </a:lstStyle>
          <a:p>
            <a:pPr>
              <a:defRPr/>
            </a:pPr>
            <a:fld id="{55B8A2A7-B093-4F45-8929-7D30C67E6EB9}" type="slidenum">
              <a:rPr lang="en-US" altLang="ja-JP"/>
              <a:pPr>
                <a:defRPr/>
              </a:pPr>
              <a:t>‹#›</a:t>
            </a:fld>
            <a:endParaRPr lang="en-US" altLang="ja-JP"/>
          </a:p>
        </p:txBody>
      </p:sp>
    </p:spTree>
    <p:extLst>
      <p:ext uri="{BB962C8B-B14F-4D97-AF65-F5344CB8AC3E}">
        <p14:creationId xmlns:p14="http://schemas.microsoft.com/office/powerpoint/2010/main" val="35163598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1102" name="縦書きタイトル 1"/>
          <p:cNvSpPr>
            <a:spLocks noGrp="1"/>
          </p:cNvSpPr>
          <p:nvPr>
            <p:ph type="title" orient="vert"/>
          </p:nvPr>
        </p:nvSpPr>
        <p:spPr>
          <a:xfrm>
            <a:off x="7058025" y="0"/>
            <a:ext cx="2352675" cy="6126163"/>
          </a:xfrm>
        </p:spPr>
        <p:txBody>
          <a:bodyPr vert="eaVert"/>
          <a:lstStyle/>
          <a:p>
            <a:r>
              <a:rPr lang="ja-JP" altLang="en-US"/>
              <a:t>マスター タイトルの書式設定</a:t>
            </a:r>
          </a:p>
        </p:txBody>
      </p:sp>
      <p:sp>
        <p:nvSpPr>
          <p:cNvPr id="1103" name="縦書きテキスト プレースホルダー 2"/>
          <p:cNvSpPr>
            <a:spLocks noGrp="1"/>
          </p:cNvSpPr>
          <p:nvPr>
            <p:ph type="body" orient="vert" idx="1"/>
          </p:nvPr>
        </p:nvSpPr>
        <p:spPr>
          <a:xfrm>
            <a:off x="0" y="0"/>
            <a:ext cx="6905625" cy="612616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4"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105"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106" name="Rectangle 5"/>
          <p:cNvSpPr>
            <a:spLocks noGrp="1" noChangeArrowheads="1"/>
          </p:cNvSpPr>
          <p:nvPr>
            <p:ph type="sldNum" sz="quarter" idx="12"/>
          </p:nvPr>
        </p:nvSpPr>
        <p:spPr>
          <a:ln/>
        </p:spPr>
        <p:txBody>
          <a:bodyPr/>
          <a:lstStyle>
            <a:lvl1pPr>
              <a:defRPr/>
            </a:lvl1pPr>
          </a:lstStyle>
          <a:p>
            <a:pPr>
              <a:defRPr/>
            </a:pPr>
            <a:fld id="{5C44569B-EA50-424D-B6AB-ECBBD093D8DE}" type="slidenum">
              <a:rPr lang="en-US" altLang="ja-JP"/>
              <a:pPr>
                <a:defRPr/>
              </a:pPr>
              <a:t>‹#›</a:t>
            </a:fld>
            <a:endParaRPr lang="en-US" altLang="ja-JP"/>
          </a:p>
        </p:txBody>
      </p:sp>
    </p:spTree>
    <p:extLst>
      <p:ext uri="{BB962C8B-B14F-4D97-AF65-F5344CB8AC3E}">
        <p14:creationId xmlns:p14="http://schemas.microsoft.com/office/powerpoint/2010/main" val="20194697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4" name="Picture 20" descr="ppjtit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6076950"/>
            <a:ext cx="992187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4"/>
          <p:cNvSpPr>
            <a:spLocks noChangeArrowheads="1"/>
          </p:cNvSpPr>
          <p:nvPr userDrawn="1"/>
        </p:nvSpPr>
        <p:spPr bwMode="auto">
          <a:xfrm>
            <a:off x="1833563" y="3284544"/>
            <a:ext cx="8072437" cy="7302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31747" name="Rectangle 3"/>
          <p:cNvSpPr>
            <a:spLocks noGrp="1" noChangeArrowheads="1"/>
          </p:cNvSpPr>
          <p:nvPr>
            <p:ph type="ctrTitle"/>
          </p:nvPr>
        </p:nvSpPr>
        <p:spPr>
          <a:xfrm>
            <a:off x="1784351" y="2133608"/>
            <a:ext cx="8121650" cy="1470025"/>
          </a:xfrm>
        </p:spPr>
        <p:txBody>
          <a:bodyPr/>
          <a:lstStyle>
            <a:lvl1pPr>
              <a:defRPr sz="3408"/>
            </a:lvl1pPr>
          </a:lstStyle>
          <a:p>
            <a:r>
              <a:rPr lang="ja-JP" altLang="en-US"/>
              <a:t>マスタ タイトルの書式設定</a:t>
            </a:r>
          </a:p>
        </p:txBody>
      </p:sp>
      <p:sp>
        <p:nvSpPr>
          <p:cNvPr id="31748"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国土交通省　観光庁</a:t>
            </a:r>
          </a:p>
          <a:p>
            <a:r>
              <a:rPr lang="ja-JP" altLang="en-US"/>
              <a:t>○○課</a:t>
            </a:r>
          </a:p>
          <a:p>
            <a:r>
              <a:rPr lang="ja-JP" altLang="en-US"/>
              <a:t>平成○○年○○月</a:t>
            </a:r>
          </a:p>
        </p:txBody>
      </p:sp>
      <p:sp>
        <p:nvSpPr>
          <p:cNvPr id="6" name="Rectangle 5"/>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7" name="Rectangle 6"/>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8" name="Rectangle 7"/>
          <p:cNvSpPr>
            <a:spLocks noGrp="1" noChangeArrowheads="1"/>
          </p:cNvSpPr>
          <p:nvPr>
            <p:ph type="sldNum" sz="quarter" idx="12"/>
          </p:nvPr>
        </p:nvSpPr>
        <p:spPr>
          <a:xfrm>
            <a:off x="7099300" y="6245225"/>
            <a:ext cx="2311400" cy="476250"/>
          </a:xfrm>
        </p:spPr>
        <p:txBody>
          <a:bodyPr/>
          <a:lstStyle>
            <a:lvl1pPr fontAlgn="auto">
              <a:spcBef>
                <a:spcPts val="0"/>
              </a:spcBef>
              <a:spcAft>
                <a:spcPts val="0"/>
              </a:spcAft>
              <a:defRPr/>
            </a:lvl1pPr>
          </a:lstStyle>
          <a:p>
            <a:pPr>
              <a:defRPr/>
            </a:pPr>
            <a:fld id="{2EEA7C7B-6C38-4BDA-B6DD-FAA96FBB8521}" type="slidenum">
              <a:rPr lang="en-US" altLang="ja-JP"/>
              <a:pPr>
                <a:defRPr/>
              </a:pPr>
              <a:t>‹#›</a:t>
            </a:fld>
            <a:endParaRPr lang="en-US" altLang="ja-JP"/>
          </a:p>
        </p:txBody>
      </p:sp>
    </p:spTree>
    <p:extLst>
      <p:ext uri="{BB962C8B-B14F-4D97-AF65-F5344CB8AC3E}">
        <p14:creationId xmlns:p14="http://schemas.microsoft.com/office/powerpoint/2010/main" val="4469285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Only">
  <p:cSld name="コンテンツ">
    <p:spTree>
      <p:nvGrpSpPr>
        <p:cNvPr id="1" name=""/>
        <p:cNvGrpSpPr/>
        <p:nvPr/>
      </p:nvGrpSpPr>
      <p:grpSpPr>
        <a:xfrm>
          <a:off x="0" y="0"/>
          <a:ext cx="0" cy="0"/>
          <a:chOff x="0" y="0"/>
          <a:chExt cx="0" cy="0"/>
        </a:xfrm>
      </p:grpSpPr>
      <p:sp>
        <p:nvSpPr>
          <p:cNvPr id="1108" name="コンテンツ プレースホルダ 1"/>
          <p:cNvSpPr>
            <a:spLocks noGrp="1"/>
          </p:cNvSpPr>
          <p:nvPr>
            <p:ph/>
          </p:nvPr>
        </p:nvSpPr>
        <p:spPr>
          <a:xfrm>
            <a:off x="0" y="0"/>
            <a:ext cx="9410700" cy="61261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9" name="Rectangle 3"/>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1110" name="Rectangle 4"/>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
        <p:nvSpPr>
          <p:cNvPr id="1111" name="Rectangle 5"/>
          <p:cNvSpPr>
            <a:spLocks noGrp="1" noChangeArrowheads="1"/>
          </p:cNvSpPr>
          <p:nvPr>
            <p:ph type="sldNum" sz="quarter" idx="12"/>
          </p:nvPr>
        </p:nvSpPr>
        <p:spPr>
          <a:ln/>
        </p:spPr>
        <p:txBody>
          <a:bodyPr/>
          <a:lstStyle>
            <a:lvl1pPr>
              <a:defRPr/>
            </a:lvl1pPr>
          </a:lstStyle>
          <a:p>
            <a:pPr>
              <a:defRPr/>
            </a:pPr>
            <a:fld id="{1BA8CAD9-690C-40AC-9E33-3FBFEFA4CAE5}" type="slidenum">
              <a:rPr lang="en-US" altLang="ja-JP">
                <a:solidFill>
                  <a:prstClr val="black"/>
                </a:solidFill>
              </a:rPr>
              <a:pPr>
                <a:defRPr/>
              </a:pPr>
              <a:t>‹#›</a:t>
            </a:fld>
            <a:endParaRPr lang="en-US" altLang="ja-JP">
              <a:solidFill>
                <a:prstClr val="black"/>
              </a:solidFill>
            </a:endParaRPr>
          </a:p>
        </p:txBody>
      </p:sp>
    </p:spTree>
    <p:extLst>
      <p:ext uri="{BB962C8B-B14F-4D97-AF65-F5344CB8AC3E}">
        <p14:creationId xmlns:p14="http://schemas.microsoft.com/office/powerpoint/2010/main" val="23967582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4" name="Picture 20" descr="ppjtitle"/>
          <p:cNvPicPr>
            <a:picLocks noChangeAspect="1" noChangeArrowheads="1"/>
          </p:cNvPicPr>
          <p:nvPr userDrawn="1"/>
        </p:nvPicPr>
        <p:blipFill>
          <a:blip r:embed="rId2" cstate="print"/>
          <a:srcRect/>
          <a:stretch>
            <a:fillRect/>
          </a:stretch>
        </p:blipFill>
        <p:spPr bwMode="auto">
          <a:xfrm>
            <a:off x="1" y="6076950"/>
            <a:ext cx="9921875" cy="781050"/>
          </a:xfrm>
          <a:prstGeom prst="rect">
            <a:avLst/>
          </a:prstGeom>
          <a:noFill/>
          <a:ln w="9525">
            <a:noFill/>
            <a:miter lim="800000"/>
            <a:headEnd/>
            <a:tailEnd/>
          </a:ln>
        </p:spPr>
      </p:pic>
      <p:sp>
        <p:nvSpPr>
          <p:cNvPr id="5" name="Rectangle 14"/>
          <p:cNvSpPr>
            <a:spLocks noChangeArrowheads="1"/>
          </p:cNvSpPr>
          <p:nvPr userDrawn="1"/>
        </p:nvSpPr>
        <p:spPr bwMode="auto">
          <a:xfrm>
            <a:off x="1833563" y="3284548"/>
            <a:ext cx="8072437" cy="73025"/>
          </a:xfrm>
          <a:prstGeom prst="rect">
            <a:avLst/>
          </a:prstGeom>
          <a:solidFill>
            <a:srgbClr val="FF0000"/>
          </a:solidFill>
          <a:ln w="9525">
            <a:noFill/>
            <a:miter lim="800000"/>
            <a:headEnd/>
            <a:tailEnd/>
          </a:ln>
          <a:effectLst/>
        </p:spPr>
        <p:txBody>
          <a:bodyPr wrap="none" anchor="ctr"/>
          <a:lstStyle/>
          <a:p>
            <a:pPr algn="ctr" fontAlgn="base">
              <a:spcBef>
                <a:spcPct val="0"/>
              </a:spcBef>
              <a:spcAft>
                <a:spcPct val="0"/>
              </a:spcAft>
              <a:defRPr/>
            </a:pPr>
            <a:endParaRPr lang="ja-JP" altLang="en-US" sz="1662">
              <a:solidFill>
                <a:srgbClr val="000000"/>
              </a:solidFill>
            </a:endParaRPr>
          </a:p>
        </p:txBody>
      </p:sp>
      <p:sp>
        <p:nvSpPr>
          <p:cNvPr id="31747" name="Rectangle 3"/>
          <p:cNvSpPr>
            <a:spLocks noGrp="1" noChangeArrowheads="1"/>
          </p:cNvSpPr>
          <p:nvPr>
            <p:ph type="ctrTitle"/>
          </p:nvPr>
        </p:nvSpPr>
        <p:spPr>
          <a:xfrm>
            <a:off x="1784351" y="2133610"/>
            <a:ext cx="8121650" cy="1470025"/>
          </a:xfrm>
        </p:spPr>
        <p:txBody>
          <a:bodyPr/>
          <a:lstStyle>
            <a:lvl1pPr>
              <a:defRPr sz="3692"/>
            </a:lvl1pPr>
          </a:lstStyle>
          <a:p>
            <a:r>
              <a:rPr lang="ja-JP" altLang="en-US"/>
              <a:t>マスタ タイトルの書式設定</a:t>
            </a:r>
          </a:p>
        </p:txBody>
      </p:sp>
      <p:sp>
        <p:nvSpPr>
          <p:cNvPr id="31748"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国土交通省　観光庁</a:t>
            </a:r>
          </a:p>
          <a:p>
            <a:r>
              <a:rPr lang="ja-JP" altLang="en-US"/>
              <a:t>○○課</a:t>
            </a:r>
          </a:p>
          <a:p>
            <a:r>
              <a:rPr lang="ja-JP" altLang="en-US"/>
              <a:t>平成○○年○○月</a:t>
            </a:r>
          </a:p>
        </p:txBody>
      </p:sp>
      <p:sp>
        <p:nvSpPr>
          <p:cNvPr id="6" name="Rectangle 5"/>
          <p:cNvSpPr>
            <a:spLocks noGrp="1" noChangeArrowheads="1"/>
          </p:cNvSpPr>
          <p:nvPr>
            <p:ph type="dt" sz="half" idx="10"/>
          </p:nvPr>
        </p:nvSpPr>
        <p:spPr/>
        <p:txBody>
          <a:bodyPr/>
          <a:lstStyle>
            <a:lvl1pPr>
              <a:defRPr/>
            </a:lvl1pPr>
          </a:lstStyle>
          <a:p>
            <a:pPr>
              <a:defRPr/>
            </a:pPr>
            <a:endParaRPr lang="en-US" altLang="ja-JP">
              <a:solidFill>
                <a:srgbClr val="000000"/>
              </a:solidFill>
            </a:endParaRPr>
          </a:p>
        </p:txBody>
      </p:sp>
      <p:sp>
        <p:nvSpPr>
          <p:cNvPr id="7" name="Rectangle 6"/>
          <p:cNvSpPr>
            <a:spLocks noGrp="1" noChangeArrowheads="1"/>
          </p:cNvSpPr>
          <p:nvPr>
            <p:ph type="ftr" sz="quarter" idx="11"/>
          </p:nvPr>
        </p:nvSpPr>
        <p:spPr/>
        <p:txBody>
          <a:bodyPr/>
          <a:lstStyle>
            <a:lvl1pPr>
              <a:defRPr/>
            </a:lvl1pPr>
          </a:lstStyle>
          <a:p>
            <a:pPr>
              <a:defRPr/>
            </a:pPr>
            <a:endParaRPr lang="en-US" altLang="ja-JP">
              <a:solidFill>
                <a:srgbClr val="000000"/>
              </a:solidFill>
            </a:endParaRPr>
          </a:p>
        </p:txBody>
      </p:sp>
      <p:sp>
        <p:nvSpPr>
          <p:cNvPr id="8" name="Rectangle 7"/>
          <p:cNvSpPr>
            <a:spLocks noGrp="1" noChangeArrowheads="1"/>
          </p:cNvSpPr>
          <p:nvPr>
            <p:ph type="sldNum" sz="quarter" idx="12"/>
          </p:nvPr>
        </p:nvSpPr>
        <p:spPr>
          <a:xfrm>
            <a:off x="7099300" y="6245225"/>
            <a:ext cx="2311400" cy="476250"/>
          </a:xfrm>
        </p:spPr>
        <p:txBody>
          <a:bodyPr/>
          <a:lstStyle>
            <a:lvl1pPr>
              <a:defRPr/>
            </a:lvl1pPr>
          </a:lstStyle>
          <a:p>
            <a:pPr>
              <a:defRPr/>
            </a:pPr>
            <a:fld id="{B1BC983B-4A3C-4011-B48F-4B1A95B6BB23}"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2797941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6" name="Rectangle 5"/>
          <p:cNvSpPr>
            <a:spLocks noGrp="1" noChangeArrowheads="1"/>
          </p:cNvSpPr>
          <p:nvPr>
            <p:ph type="sldNum" sz="quarter" idx="12"/>
          </p:nvPr>
        </p:nvSpPr>
        <p:spPr>
          <a:ln/>
        </p:spPr>
        <p:txBody>
          <a:bodyPr/>
          <a:lstStyle>
            <a:lvl1pPr>
              <a:defRPr/>
            </a:lvl1pPr>
          </a:lstStyle>
          <a:p>
            <a:pPr>
              <a:defRPr/>
            </a:pPr>
            <a:fld id="{91D24F9B-1059-4270-837C-682AF1019EFE}"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139642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638" y="4406910"/>
            <a:ext cx="8420100" cy="1362075"/>
          </a:xfrm>
        </p:spPr>
        <p:txBody>
          <a:bodyPr anchor="t"/>
          <a:lstStyle>
            <a:lvl1pPr algn="l">
              <a:defRPr sz="3692" b="1" cap="all"/>
            </a:lvl1pPr>
          </a:lstStyle>
          <a:p>
            <a:r>
              <a:rPr lang="ja-JP" altLang="en-US"/>
              <a:t>マスタ タイトルの書式設定</a:t>
            </a:r>
          </a:p>
        </p:txBody>
      </p:sp>
      <p:sp>
        <p:nvSpPr>
          <p:cNvPr id="3" name="テキスト プレースホルダ 2"/>
          <p:cNvSpPr>
            <a:spLocks noGrp="1"/>
          </p:cNvSpPr>
          <p:nvPr>
            <p:ph type="body" idx="1"/>
          </p:nvPr>
        </p:nvSpPr>
        <p:spPr>
          <a:xfrm>
            <a:off x="782638" y="2906713"/>
            <a:ext cx="8420100" cy="1500187"/>
          </a:xfrm>
        </p:spPr>
        <p:txBody>
          <a:bodyPr anchor="b"/>
          <a:lstStyle>
            <a:lvl1pPr marL="0" indent="0">
              <a:buNone/>
              <a:defRPr sz="1846"/>
            </a:lvl1pPr>
            <a:lvl2pPr marL="422041" indent="0">
              <a:buNone/>
              <a:defRPr sz="1662"/>
            </a:lvl2pPr>
            <a:lvl3pPr marL="844083" indent="0">
              <a:buNone/>
              <a:defRPr sz="1477"/>
            </a:lvl3pPr>
            <a:lvl4pPr marL="1266124" indent="0">
              <a:buNone/>
              <a:defRPr sz="1292"/>
            </a:lvl4pPr>
            <a:lvl5pPr marL="1688165" indent="0">
              <a:buNone/>
              <a:defRPr sz="1292"/>
            </a:lvl5pPr>
            <a:lvl6pPr marL="2110207" indent="0">
              <a:buNone/>
              <a:defRPr sz="1292"/>
            </a:lvl6pPr>
            <a:lvl7pPr marL="2532248" indent="0">
              <a:buNone/>
              <a:defRPr sz="1292"/>
            </a:lvl7pPr>
            <a:lvl8pPr marL="2954289" indent="0">
              <a:buNone/>
              <a:defRPr sz="1292"/>
            </a:lvl8pPr>
            <a:lvl9pPr marL="3376331" indent="0">
              <a:buNone/>
              <a:defRPr sz="1292"/>
            </a:lvl9pPr>
          </a:lstStyle>
          <a:p>
            <a:pPr lvl="0"/>
            <a:r>
              <a:rPr lang="ja-JP" altLang="en-US"/>
              <a:t>マスタ テキストの書式設定</a:t>
            </a:r>
          </a:p>
        </p:txBody>
      </p:sp>
      <p:sp>
        <p:nvSpPr>
          <p:cNvPr id="4"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6" name="Rectangle 5"/>
          <p:cNvSpPr>
            <a:spLocks noGrp="1" noChangeArrowheads="1"/>
          </p:cNvSpPr>
          <p:nvPr>
            <p:ph type="sldNum" sz="quarter" idx="12"/>
          </p:nvPr>
        </p:nvSpPr>
        <p:spPr>
          <a:ln/>
        </p:spPr>
        <p:txBody>
          <a:bodyPr/>
          <a:lstStyle>
            <a:lvl1pPr>
              <a:defRPr/>
            </a:lvl1pPr>
          </a:lstStyle>
          <a:p>
            <a:pPr>
              <a:defRPr/>
            </a:pPr>
            <a:fld id="{94A6FC1E-97FB-47E8-8A15-62CBE3A8CCDF}"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0683883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95303" y="1600206"/>
            <a:ext cx="4381501"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029199" y="1600206"/>
            <a:ext cx="4381501" cy="4525963"/>
          </a:xfrm>
        </p:spPr>
        <p:txBody>
          <a:bodyPr/>
          <a:lstStyle>
            <a:lvl1pPr>
              <a:defRPr sz="2585"/>
            </a:lvl1pPr>
            <a:lvl2pPr>
              <a:defRPr sz="2215"/>
            </a:lvl2pPr>
            <a:lvl3pPr>
              <a:defRPr sz="1846"/>
            </a:lvl3pPr>
            <a:lvl4pPr>
              <a:defRPr sz="1662"/>
            </a:lvl4pPr>
            <a:lvl5pPr>
              <a:defRPr sz="1662"/>
            </a:lvl5pPr>
            <a:lvl6pPr>
              <a:defRPr sz="1662"/>
            </a:lvl6pPr>
            <a:lvl7pPr>
              <a:defRPr sz="1662"/>
            </a:lvl7pPr>
            <a:lvl8pPr>
              <a:defRPr sz="1662"/>
            </a:lvl8pPr>
            <a:lvl9pPr>
              <a:defRPr sz="1662"/>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6"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7" name="Rectangle 5"/>
          <p:cNvSpPr>
            <a:spLocks noGrp="1" noChangeArrowheads="1"/>
          </p:cNvSpPr>
          <p:nvPr>
            <p:ph type="sldNum" sz="quarter" idx="12"/>
          </p:nvPr>
        </p:nvSpPr>
        <p:spPr>
          <a:ln/>
        </p:spPr>
        <p:txBody>
          <a:bodyPr/>
          <a:lstStyle>
            <a:lvl1pPr>
              <a:defRPr/>
            </a:lvl1pPr>
          </a:lstStyle>
          <a:p>
            <a:pPr>
              <a:defRPr/>
            </a:pPr>
            <a:fld id="{A60E6122-BD14-4142-9E60-93220B4E82C1}"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68796387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4638"/>
            <a:ext cx="8915400" cy="1143000"/>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95301" y="1535113"/>
            <a:ext cx="4376738"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95301" y="2174875"/>
            <a:ext cx="4376738"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032380" y="1535113"/>
            <a:ext cx="4378325" cy="639762"/>
          </a:xfrm>
        </p:spPr>
        <p:txBody>
          <a:bodyPr anchor="b"/>
          <a:lstStyle>
            <a:lvl1pPr marL="0" indent="0">
              <a:buNone/>
              <a:defRPr sz="2215" b="1"/>
            </a:lvl1pPr>
            <a:lvl2pPr marL="422041" indent="0">
              <a:buNone/>
              <a:defRPr sz="1846" b="1"/>
            </a:lvl2pPr>
            <a:lvl3pPr marL="844083" indent="0">
              <a:buNone/>
              <a:defRPr sz="1662" b="1"/>
            </a:lvl3pPr>
            <a:lvl4pPr marL="1266124" indent="0">
              <a:buNone/>
              <a:defRPr sz="1477" b="1"/>
            </a:lvl4pPr>
            <a:lvl5pPr marL="1688165" indent="0">
              <a:buNone/>
              <a:defRPr sz="1477" b="1"/>
            </a:lvl5pPr>
            <a:lvl6pPr marL="2110207" indent="0">
              <a:buNone/>
              <a:defRPr sz="1477" b="1"/>
            </a:lvl6pPr>
            <a:lvl7pPr marL="2532248" indent="0">
              <a:buNone/>
              <a:defRPr sz="1477" b="1"/>
            </a:lvl7pPr>
            <a:lvl8pPr marL="2954289" indent="0">
              <a:buNone/>
              <a:defRPr sz="1477" b="1"/>
            </a:lvl8pPr>
            <a:lvl9pPr marL="3376331" indent="0">
              <a:buNone/>
              <a:defRPr sz="1477"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032380" y="2174875"/>
            <a:ext cx="4378325" cy="3951288"/>
          </a:xfrm>
        </p:spPr>
        <p:txBody>
          <a:bodyPr/>
          <a:lstStyle>
            <a:lvl1pPr>
              <a:defRPr sz="2215"/>
            </a:lvl1pPr>
            <a:lvl2pPr>
              <a:defRPr sz="1846"/>
            </a:lvl2pPr>
            <a:lvl3pPr>
              <a:defRPr sz="1662"/>
            </a:lvl3pPr>
            <a:lvl4pPr>
              <a:defRPr sz="1477"/>
            </a:lvl4pPr>
            <a:lvl5pPr>
              <a:defRPr sz="1477"/>
            </a:lvl5pPr>
            <a:lvl6pPr>
              <a:defRPr sz="1477"/>
            </a:lvl6pPr>
            <a:lvl7pPr>
              <a:defRPr sz="1477"/>
            </a:lvl7pPr>
            <a:lvl8pPr>
              <a:defRPr sz="1477"/>
            </a:lvl8pPr>
            <a:lvl9pPr>
              <a:defRPr sz="1477"/>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8"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9" name="Rectangle 5"/>
          <p:cNvSpPr>
            <a:spLocks noGrp="1" noChangeArrowheads="1"/>
          </p:cNvSpPr>
          <p:nvPr>
            <p:ph type="sldNum" sz="quarter" idx="12"/>
          </p:nvPr>
        </p:nvSpPr>
        <p:spPr>
          <a:ln/>
        </p:spPr>
        <p:txBody>
          <a:bodyPr/>
          <a:lstStyle>
            <a:lvl1pPr>
              <a:defRPr/>
            </a:lvl1pPr>
          </a:lstStyle>
          <a:p>
            <a:pPr>
              <a:defRPr/>
            </a:pPr>
            <a:fld id="{00E6070F-1EA7-49A7-BE4B-955743FF1353}"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61432509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4"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5" name="Rectangle 5"/>
          <p:cNvSpPr>
            <a:spLocks noGrp="1" noChangeArrowheads="1"/>
          </p:cNvSpPr>
          <p:nvPr>
            <p:ph type="sldNum" sz="quarter" idx="12"/>
          </p:nvPr>
        </p:nvSpPr>
        <p:spPr>
          <a:ln/>
        </p:spPr>
        <p:txBody>
          <a:bodyPr/>
          <a:lstStyle>
            <a:lvl1pPr>
              <a:defRPr/>
            </a:lvl1pPr>
          </a:lstStyle>
          <a:p>
            <a:pPr>
              <a:defRPr/>
            </a:pPr>
            <a:fld id="{6FEF3B0B-B1E1-4C03-891B-B254E7649D48}"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5092290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3"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4" name="Rectangle 5"/>
          <p:cNvSpPr>
            <a:spLocks noGrp="1" noChangeArrowheads="1"/>
          </p:cNvSpPr>
          <p:nvPr>
            <p:ph type="sldNum" sz="quarter" idx="12"/>
          </p:nvPr>
        </p:nvSpPr>
        <p:spPr>
          <a:ln/>
        </p:spPr>
        <p:txBody>
          <a:bodyPr/>
          <a:lstStyle>
            <a:lvl1pPr>
              <a:defRPr/>
            </a:lvl1pPr>
          </a:lstStyle>
          <a:p>
            <a:pPr>
              <a:defRPr/>
            </a:pPr>
            <a:fld id="{6A8F643B-1E2A-4F03-8182-047C0680F225}"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8071172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2" y="273050"/>
            <a:ext cx="3259138" cy="1162050"/>
          </a:xfrm>
        </p:spPr>
        <p:txBody>
          <a:bodyPr anchor="b"/>
          <a:lstStyle>
            <a:lvl1pPr algn="l">
              <a:defRPr sz="1846" b="1"/>
            </a:lvl1pPr>
          </a:lstStyle>
          <a:p>
            <a:r>
              <a:rPr lang="ja-JP" altLang="en-US"/>
              <a:t>マスタ タイトルの書式設定</a:t>
            </a:r>
          </a:p>
        </p:txBody>
      </p:sp>
      <p:sp>
        <p:nvSpPr>
          <p:cNvPr id="3" name="コンテンツ プレースホルダ 2"/>
          <p:cNvSpPr>
            <a:spLocks noGrp="1"/>
          </p:cNvSpPr>
          <p:nvPr>
            <p:ph idx="1"/>
          </p:nvPr>
        </p:nvSpPr>
        <p:spPr>
          <a:xfrm>
            <a:off x="3873499" y="273056"/>
            <a:ext cx="5537201" cy="5853113"/>
          </a:xfrm>
        </p:spPr>
        <p:txBody>
          <a:bodyPr/>
          <a:lstStyle>
            <a:lvl1pPr>
              <a:defRPr sz="2954"/>
            </a:lvl1pPr>
            <a:lvl2pPr>
              <a:defRPr sz="2585"/>
            </a:lvl2pPr>
            <a:lvl3pPr>
              <a:defRPr sz="2215"/>
            </a:lvl3pPr>
            <a:lvl4pPr>
              <a:defRPr sz="1846"/>
            </a:lvl4pPr>
            <a:lvl5pPr>
              <a:defRPr sz="1846"/>
            </a:lvl5pPr>
            <a:lvl6pPr>
              <a:defRPr sz="1846"/>
            </a:lvl6pPr>
            <a:lvl7pPr>
              <a:defRPr sz="1846"/>
            </a:lvl7pPr>
            <a:lvl8pPr>
              <a:defRPr sz="1846"/>
            </a:lvl8pPr>
            <a:lvl9pPr>
              <a:defRPr sz="1846"/>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95302" y="1435103"/>
            <a:ext cx="3259138" cy="4691063"/>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ja-JP" altLang="en-US"/>
              <a:t>マスタ テキストの書式設定</a:t>
            </a:r>
          </a:p>
        </p:txBody>
      </p:sp>
      <p:sp>
        <p:nvSpPr>
          <p:cNvPr id="5"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6"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7" name="Rectangle 5"/>
          <p:cNvSpPr>
            <a:spLocks noGrp="1" noChangeArrowheads="1"/>
          </p:cNvSpPr>
          <p:nvPr>
            <p:ph type="sldNum" sz="quarter" idx="12"/>
          </p:nvPr>
        </p:nvSpPr>
        <p:spPr>
          <a:ln/>
        </p:spPr>
        <p:txBody>
          <a:bodyPr/>
          <a:lstStyle>
            <a:lvl1pPr>
              <a:defRPr/>
            </a:lvl1pPr>
          </a:lstStyle>
          <a:p>
            <a:pPr>
              <a:defRPr/>
            </a:pPr>
            <a:fld id="{CD240BB9-DC62-40AE-AFEB-DEDC9D7564AC}"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2174968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513" y="4800600"/>
            <a:ext cx="5943600" cy="566738"/>
          </a:xfrm>
        </p:spPr>
        <p:txBody>
          <a:bodyPr anchor="b"/>
          <a:lstStyle>
            <a:lvl1pPr algn="l">
              <a:defRPr sz="1846" b="1"/>
            </a:lvl1pPr>
          </a:lstStyle>
          <a:p>
            <a:r>
              <a:rPr lang="ja-JP" altLang="en-US"/>
              <a:t>マスタ タイトルの書式設定</a:t>
            </a:r>
          </a:p>
        </p:txBody>
      </p:sp>
      <p:sp>
        <p:nvSpPr>
          <p:cNvPr id="3" name="図プレースホルダ 2"/>
          <p:cNvSpPr>
            <a:spLocks noGrp="1"/>
          </p:cNvSpPr>
          <p:nvPr>
            <p:ph type="pic" idx="1"/>
          </p:nvPr>
        </p:nvSpPr>
        <p:spPr>
          <a:xfrm>
            <a:off x="1941513" y="612775"/>
            <a:ext cx="5943600" cy="4114800"/>
          </a:xfrm>
        </p:spPr>
        <p:txBody>
          <a:bodyPr/>
          <a:lstStyle>
            <a:lvl1pPr marL="0" indent="0">
              <a:buNone/>
              <a:defRPr sz="2954"/>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endParaRPr lang="ja-JP" altLang="en-US" noProof="0"/>
          </a:p>
        </p:txBody>
      </p:sp>
      <p:sp>
        <p:nvSpPr>
          <p:cNvPr id="4" name="テキスト プレースホルダ 3"/>
          <p:cNvSpPr>
            <a:spLocks noGrp="1"/>
          </p:cNvSpPr>
          <p:nvPr>
            <p:ph type="body" sz="half" idx="2"/>
          </p:nvPr>
        </p:nvSpPr>
        <p:spPr>
          <a:xfrm>
            <a:off x="1941513" y="5367338"/>
            <a:ext cx="5943600" cy="804862"/>
          </a:xfrm>
        </p:spPr>
        <p:txBody>
          <a:bodyPr/>
          <a:lstStyle>
            <a:lvl1pPr marL="0" indent="0">
              <a:buNone/>
              <a:defRPr sz="1292"/>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ja-JP" altLang="en-US"/>
              <a:t>マスタ テキストの書式設定</a:t>
            </a:r>
          </a:p>
        </p:txBody>
      </p:sp>
      <p:sp>
        <p:nvSpPr>
          <p:cNvPr id="5"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6"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7" name="Rectangle 5"/>
          <p:cNvSpPr>
            <a:spLocks noGrp="1" noChangeArrowheads="1"/>
          </p:cNvSpPr>
          <p:nvPr>
            <p:ph type="sldNum" sz="quarter" idx="12"/>
          </p:nvPr>
        </p:nvSpPr>
        <p:spPr>
          <a:ln/>
        </p:spPr>
        <p:txBody>
          <a:bodyPr/>
          <a:lstStyle>
            <a:lvl1pPr>
              <a:defRPr/>
            </a:lvl1pPr>
          </a:lstStyle>
          <a:p>
            <a:pPr>
              <a:defRPr/>
            </a:pPr>
            <a:fld id="{ECD109A3-A064-4A10-ADA6-4A4FD1722D1A}"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409770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a:p>
        </p:txBody>
      </p:sp>
    </p:spTree>
    <p:extLst>
      <p:ext uri="{BB962C8B-B14F-4D97-AF65-F5344CB8AC3E}">
        <p14:creationId xmlns:p14="http://schemas.microsoft.com/office/powerpoint/2010/main" val="8741526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6" name="Rectangle 5"/>
          <p:cNvSpPr>
            <a:spLocks noGrp="1" noChangeArrowheads="1"/>
          </p:cNvSpPr>
          <p:nvPr>
            <p:ph type="sldNum" sz="quarter" idx="12"/>
          </p:nvPr>
        </p:nvSpPr>
        <p:spPr>
          <a:ln/>
        </p:spPr>
        <p:txBody>
          <a:bodyPr/>
          <a:lstStyle>
            <a:lvl1pPr>
              <a:defRPr/>
            </a:lvl1pPr>
          </a:lstStyle>
          <a:p>
            <a:pPr>
              <a:defRPr/>
            </a:pPr>
            <a:fld id="{F5D7051E-5270-4375-A243-9E4BFF7661A6}"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4168002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058025" y="4"/>
            <a:ext cx="2352675" cy="6126163"/>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6" y="4"/>
            <a:ext cx="6905625" cy="6126163"/>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6" name="Rectangle 5"/>
          <p:cNvSpPr>
            <a:spLocks noGrp="1" noChangeArrowheads="1"/>
          </p:cNvSpPr>
          <p:nvPr>
            <p:ph type="sldNum" sz="quarter" idx="12"/>
          </p:nvPr>
        </p:nvSpPr>
        <p:spPr>
          <a:ln/>
        </p:spPr>
        <p:txBody>
          <a:bodyPr/>
          <a:lstStyle>
            <a:lvl1pPr>
              <a:defRPr/>
            </a:lvl1pPr>
          </a:lstStyle>
          <a:p>
            <a:pPr>
              <a:defRPr/>
            </a:pPr>
            <a:fld id="{BFC0FED5-3084-467F-AEC8-2182149A5A45}"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7595748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0" y="4"/>
            <a:ext cx="9410700" cy="6126163"/>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4"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5" name="Rectangle 5"/>
          <p:cNvSpPr>
            <a:spLocks noGrp="1" noChangeArrowheads="1"/>
          </p:cNvSpPr>
          <p:nvPr>
            <p:ph type="sldNum" sz="quarter" idx="12"/>
          </p:nvPr>
        </p:nvSpPr>
        <p:spPr>
          <a:ln/>
        </p:spPr>
        <p:txBody>
          <a:bodyPr/>
          <a:lstStyle>
            <a:lvl1pPr>
              <a:defRPr/>
            </a:lvl1pPr>
          </a:lstStyle>
          <a:p>
            <a:pPr>
              <a:defRPr/>
            </a:pPr>
            <a:fld id="{A1127FF6-0507-47A6-B209-AE7E6A074F38}"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5918102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1038" name="Rectangle 14"/>
          <p:cNvSpPr>
            <a:spLocks noChangeArrowheads="1"/>
          </p:cNvSpPr>
          <p:nvPr userDrawn="1"/>
        </p:nvSpPr>
        <p:spPr>
          <a:xfrm>
            <a:off x="1833563" y="3284538"/>
            <a:ext cx="8072437" cy="73025"/>
          </a:xfrm>
          <a:prstGeom prst="rect">
            <a:avLst/>
          </a:prstGeom>
          <a:solidFill>
            <a:srgbClr val="FF0000"/>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9" name="Rectangle 3"/>
          <p:cNvSpPr>
            <a:spLocks noGrp="1" noChangeArrowheads="1"/>
          </p:cNvSpPr>
          <p:nvPr>
            <p:ph type="ctrTitle"/>
          </p:nvPr>
        </p:nvSpPr>
        <p:spPr>
          <a:xfrm>
            <a:off x="1784350" y="2133600"/>
            <a:ext cx="8121650" cy="1470025"/>
          </a:xfrm>
        </p:spPr>
        <p:txBody>
          <a:bodyPr/>
          <a:lstStyle>
            <a:lvl1pPr>
              <a:defRPr sz="4000">
                <a:latin typeface="メイリオ" panose="020B0604030504040204" pitchFamily="50" charset="-128"/>
                <a:ea typeface="メイリオ" panose="020B0604030504040204" pitchFamily="50" charset="-128"/>
              </a:defRPr>
            </a:lvl1pPr>
          </a:lstStyle>
          <a:p>
            <a:pPr lvl="0"/>
            <a:r>
              <a:rPr lang="ja-JP" altLang="en-US" noProof="0" dirty="0"/>
              <a:t>マスタ タイトルの書式設定</a:t>
            </a:r>
          </a:p>
        </p:txBody>
      </p:sp>
      <p:sp>
        <p:nvSpPr>
          <p:cNvPr id="1040"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atin typeface="メイリオ" panose="020B0604030504040204" pitchFamily="50" charset="-128"/>
                <a:ea typeface="メイリオ" panose="020B0604030504040204" pitchFamily="50" charset="-128"/>
              </a:defRPr>
            </a:lvl1pPr>
          </a:lstStyle>
          <a:p>
            <a:pPr lvl="0"/>
            <a:r>
              <a:rPr lang="ja-JP" altLang="en-US" noProof="0"/>
              <a:t>国土交通省　観光庁</a:t>
            </a:r>
          </a:p>
          <a:p>
            <a:pPr lvl="0"/>
            <a:r>
              <a:rPr lang="ja-JP" altLang="en-US" noProof="0"/>
              <a:t>○○課</a:t>
            </a:r>
          </a:p>
          <a:p>
            <a:pPr lvl="0"/>
            <a:r>
              <a:rPr lang="ja-JP" altLang="en-US" noProof="0"/>
              <a:t>平成○○年○○月</a:t>
            </a:r>
          </a:p>
        </p:txBody>
      </p:sp>
      <p:sp>
        <p:nvSpPr>
          <p:cNvPr id="1041" name="Rectangle 5"/>
          <p:cNvSpPr>
            <a:spLocks noGrp="1" noChangeArrowheads="1"/>
          </p:cNvSpPr>
          <p:nvPr>
            <p:ph type="dt" sz="half" idx="10"/>
          </p:nvPr>
        </p:nvSpPr>
        <p:spPr/>
        <p:txBody>
          <a:bodyPr/>
          <a:lstStyle>
            <a:lvl1pPr>
              <a:defRPr/>
            </a:lvl1pPr>
          </a:lstStyle>
          <a:p>
            <a:pPr>
              <a:defRPr/>
            </a:pPr>
            <a:endParaRPr lang="en-US" altLang="ja-JP"/>
          </a:p>
        </p:txBody>
      </p:sp>
      <p:sp>
        <p:nvSpPr>
          <p:cNvPr id="1042" name="Rectangle 6"/>
          <p:cNvSpPr>
            <a:spLocks noGrp="1" noChangeArrowheads="1"/>
          </p:cNvSpPr>
          <p:nvPr>
            <p:ph type="ftr" sz="quarter" idx="11"/>
          </p:nvPr>
        </p:nvSpPr>
        <p:spPr/>
        <p:txBody>
          <a:bodyPr/>
          <a:lstStyle>
            <a:lvl1pPr>
              <a:defRPr/>
            </a:lvl1pPr>
          </a:lstStyle>
          <a:p>
            <a:pPr>
              <a:defRPr/>
            </a:pPr>
            <a:endParaRPr lang="en-US" altLang="ja-JP"/>
          </a:p>
        </p:txBody>
      </p:sp>
      <p:pic>
        <p:nvPicPr>
          <p:cNvPr id="1037" name="Picture 20" descr="ppjtitle"/>
          <p:cNvPicPr>
            <a:picLocks noChangeAspect="1" noChangeArrowheads="1"/>
          </p:cNvPicPr>
          <p:nvPr userDrawn="1"/>
        </p:nvPicPr>
        <p:blipFill>
          <a:blip r:embed="rId2"/>
          <a:stretch>
            <a:fillRect/>
          </a:stretch>
        </p:blipFill>
        <p:spPr>
          <a:xfrm>
            <a:off x="0" y="6076950"/>
            <a:ext cx="9921875" cy="781050"/>
          </a:xfrm>
          <a:prstGeom prst="rect">
            <a:avLst/>
          </a:prstGeom>
          <a:noFill/>
          <a:ln>
            <a:noFill/>
          </a:ln>
        </p:spPr>
      </p:pic>
    </p:spTree>
    <p:extLst>
      <p:ext uri="{BB962C8B-B14F-4D97-AF65-F5344CB8AC3E}">
        <p14:creationId xmlns:p14="http://schemas.microsoft.com/office/powerpoint/2010/main" val="29326755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項目タイトル">
    <p:spTree>
      <p:nvGrpSpPr>
        <p:cNvPr id="1" name=""/>
        <p:cNvGrpSpPr/>
        <p:nvPr/>
      </p:nvGrpSpPr>
      <p:grpSpPr>
        <a:xfrm>
          <a:off x="0" y="0"/>
          <a:ext cx="0" cy="0"/>
          <a:chOff x="0" y="0"/>
          <a:chExt cx="0" cy="0"/>
        </a:xfrm>
      </p:grpSpPr>
      <p:sp>
        <p:nvSpPr>
          <p:cNvPr id="2" name="タイトル 1"/>
          <p:cNvSpPr>
            <a:spLocks noGrp="1"/>
          </p:cNvSpPr>
          <p:nvPr>
            <p:ph type="title"/>
          </p:nvPr>
        </p:nvSpPr>
        <p:spPr>
          <a:xfrm>
            <a:off x="0" y="548680"/>
            <a:ext cx="9906000" cy="6029257"/>
          </a:xfrm>
        </p:spPr>
        <p:txBody>
          <a:bodyPr/>
          <a:lstStyle>
            <a:lvl1pPr algn="ctr">
              <a:defRPr sz="4000">
                <a:effectLst>
                  <a:outerShdw blurRad="38100" dist="38100" dir="2700000" algn="tl">
                    <a:srgbClr val="000000">
                      <a:alpha val="43137"/>
                    </a:srgbClr>
                  </a:outerShdw>
                </a:effectLst>
              </a:defRPr>
            </a:lvl1pPr>
          </a:lstStyle>
          <a:p>
            <a:r>
              <a:rPr kumimoji="1" lang="ja-JP" altLang="en-US" dirty="0"/>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Tree>
    <p:extLst>
      <p:ext uri="{BB962C8B-B14F-4D97-AF65-F5344CB8AC3E}">
        <p14:creationId xmlns:p14="http://schemas.microsoft.com/office/powerpoint/2010/main" val="29014127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5" name="タイトル 1"/>
          <p:cNvSpPr>
            <a:spLocks noGrp="1"/>
          </p:cNvSpPr>
          <p:nvPr>
            <p:ph type="title"/>
          </p:nvPr>
        </p:nvSpPr>
        <p:spPr/>
        <p:txBody>
          <a:bodyPr/>
          <a:lstStyle/>
          <a:p>
            <a:r>
              <a:rPr lang="ja-JP" altLang="en-US"/>
              <a:t>マスター タイトルの書式設定</a:t>
            </a:r>
          </a:p>
        </p:txBody>
      </p:sp>
      <p:sp>
        <p:nvSpPr>
          <p:cNvPr id="1046"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47"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48"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49" name="Rectangle 5"/>
          <p:cNvSpPr>
            <a:spLocks noGrp="1" noChangeArrowheads="1"/>
          </p:cNvSpPr>
          <p:nvPr>
            <p:ph type="sldNum" sz="quarter" idx="12"/>
          </p:nvPr>
        </p:nvSpPr>
        <p:spPr>
          <a:ln/>
        </p:spPr>
        <p:txBody>
          <a:bodyPr/>
          <a:lstStyle>
            <a:lvl1pPr>
              <a:defRPr/>
            </a:lvl1pPr>
          </a:lstStyle>
          <a:p>
            <a:pPr>
              <a:defRPr/>
            </a:pPr>
            <a:fld id="{6C407DE2-65C0-4056-926A-44C6A308E87C}" type="slidenum">
              <a:rPr lang="en-US" altLang="ja-JP"/>
              <a:pPr>
                <a:defRPr/>
              </a:pPr>
              <a:t>‹#›</a:t>
            </a:fld>
            <a:endParaRPr lang="en-US" altLang="ja-JP"/>
          </a:p>
        </p:txBody>
      </p:sp>
    </p:spTree>
    <p:extLst>
      <p:ext uri="{BB962C8B-B14F-4D97-AF65-F5344CB8AC3E}">
        <p14:creationId xmlns:p14="http://schemas.microsoft.com/office/powerpoint/2010/main" val="5576655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日本全土">
    <p:spTree>
      <p:nvGrpSpPr>
        <p:cNvPr id="1" name=""/>
        <p:cNvGrpSpPr/>
        <p:nvPr/>
      </p:nvGrpSpPr>
      <p:grpSpPr>
        <a:xfrm>
          <a:off x="0" y="0"/>
          <a:ext cx="0" cy="0"/>
          <a:chOff x="0" y="0"/>
          <a:chExt cx="0" cy="0"/>
        </a:xfrm>
      </p:grpSpPr>
      <p:pic>
        <p:nvPicPr>
          <p:cNvPr id="7" name="図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68624" y="811451"/>
            <a:ext cx="5832649" cy="5688632"/>
          </a:xfrm>
          <a:prstGeom prst="rect">
            <a:avLst/>
          </a:prstGeom>
        </p:spPr>
      </p:pic>
      <p:pic>
        <p:nvPicPr>
          <p:cNvPr id="8" name="図 7"/>
          <p:cNvPicPr>
            <a:picLocks noChangeAspect="1"/>
          </p:cNvPicPr>
          <p:nvPr userDrawn="1"/>
        </p:nvPicPr>
        <p:blipFill>
          <a:blip r:embed="rId3"/>
          <a:stretch>
            <a:fillRect/>
          </a:stretch>
        </p:blipFill>
        <p:spPr>
          <a:xfrm>
            <a:off x="234660" y="846225"/>
            <a:ext cx="4153480" cy="2676899"/>
          </a:xfrm>
          <a:prstGeom prst="rect">
            <a:avLst/>
          </a:prstGeom>
        </p:spPr>
      </p:pic>
      <p:pic>
        <p:nvPicPr>
          <p:cNvPr id="9" name="図 8"/>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6130457" y="3892467"/>
            <a:ext cx="3783914" cy="3007786"/>
          </a:xfrm>
          <a:prstGeom prst="snipRoundRect">
            <a:avLst>
              <a:gd name="adj1" fmla="val 49999"/>
              <a:gd name="adj2" fmla="val 16667"/>
            </a:avLst>
          </a:prstGeom>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cxnSp>
        <p:nvCxnSpPr>
          <p:cNvPr id="11" name="直線コネクタ 10"/>
          <p:cNvCxnSpPr/>
          <p:nvPr userDrawn="1"/>
        </p:nvCxnSpPr>
        <p:spPr>
          <a:xfrm flipV="1">
            <a:off x="2055658" y="1840467"/>
            <a:ext cx="2619293" cy="1948573"/>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4" name="直線コネクタ 13"/>
          <p:cNvCxnSpPr/>
          <p:nvPr userDrawn="1"/>
        </p:nvCxnSpPr>
        <p:spPr>
          <a:xfrm flipV="1">
            <a:off x="5889104" y="3513858"/>
            <a:ext cx="2449017" cy="2570347"/>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7" name="直線コネクタ 16"/>
          <p:cNvCxnSpPr/>
          <p:nvPr userDrawn="1"/>
        </p:nvCxnSpPr>
        <p:spPr>
          <a:xfrm flipV="1">
            <a:off x="111658" y="3789040"/>
            <a:ext cx="1944000" cy="0"/>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8" name="直線コネクタ 17"/>
          <p:cNvCxnSpPr/>
          <p:nvPr userDrawn="1"/>
        </p:nvCxnSpPr>
        <p:spPr>
          <a:xfrm flipV="1">
            <a:off x="8337536" y="3513858"/>
            <a:ext cx="1476000" cy="0"/>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9" name="直線コネクタ 18"/>
          <p:cNvCxnSpPr/>
          <p:nvPr userDrawn="1"/>
        </p:nvCxnSpPr>
        <p:spPr>
          <a:xfrm flipV="1">
            <a:off x="4664968" y="620688"/>
            <a:ext cx="0" cy="1224000"/>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20" name="直線コネクタ 19"/>
          <p:cNvCxnSpPr/>
          <p:nvPr userDrawn="1"/>
        </p:nvCxnSpPr>
        <p:spPr>
          <a:xfrm flipV="1">
            <a:off x="4808984" y="7893496"/>
            <a:ext cx="0" cy="1800000"/>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796147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空港分布図">
    <p:spTree>
      <p:nvGrpSpPr>
        <p:cNvPr id="1" name=""/>
        <p:cNvGrpSpPr/>
        <p:nvPr/>
      </p:nvGrpSpPr>
      <p:grpSpPr>
        <a:xfrm>
          <a:off x="0" y="0"/>
          <a:ext cx="0" cy="0"/>
          <a:chOff x="0" y="0"/>
          <a:chExt cx="0" cy="0"/>
        </a:xfrm>
      </p:grpSpPr>
      <p:grpSp>
        <p:nvGrpSpPr>
          <p:cNvPr id="6" name="グループ化 5"/>
          <p:cNvGrpSpPr>
            <a:grpSpLocks noChangeAspect="1"/>
          </p:cNvGrpSpPr>
          <p:nvPr userDrawn="1"/>
        </p:nvGrpSpPr>
        <p:grpSpPr>
          <a:xfrm>
            <a:off x="550884" y="620688"/>
            <a:ext cx="8820000" cy="6131642"/>
            <a:chOff x="-1570275" y="65198"/>
            <a:chExt cx="11882011" cy="8260346"/>
          </a:xfrm>
        </p:grpSpPr>
        <p:pic>
          <p:nvPicPr>
            <p:cNvPr id="7" name="図 6"/>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570275" y="3501008"/>
              <a:ext cx="11809312" cy="4824536"/>
            </a:xfrm>
            <a:prstGeom prst="rect">
              <a:avLst/>
            </a:prstGeom>
          </p:spPr>
        </p:pic>
        <p:pic>
          <p:nvPicPr>
            <p:cNvPr id="8" name="図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532926" y="65198"/>
              <a:ext cx="11844662" cy="5019986"/>
            </a:xfrm>
            <a:prstGeom prst="rect">
              <a:avLst/>
            </a:prstGeom>
          </p:spPr>
        </p:pic>
      </p:gr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
        <p:nvSpPr>
          <p:cNvPr id="9" name="正方形/長方形 8"/>
          <p:cNvSpPr/>
          <p:nvPr userDrawn="1"/>
        </p:nvSpPr>
        <p:spPr>
          <a:xfrm>
            <a:off x="578559" y="620688"/>
            <a:ext cx="3294321" cy="2736304"/>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Tree>
    <p:extLst>
      <p:ext uri="{BB962C8B-B14F-4D97-AF65-F5344CB8AC3E}">
        <p14:creationId xmlns:p14="http://schemas.microsoft.com/office/powerpoint/2010/main" val="36986248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北海道局管内鉄道図">
    <p:spTree>
      <p:nvGrpSpPr>
        <p:cNvPr id="1" name=""/>
        <p:cNvGrpSpPr/>
        <p:nvPr/>
      </p:nvGrpSpPr>
      <p:grpSpPr>
        <a:xfrm>
          <a:off x="0" y="0"/>
          <a:ext cx="0" cy="0"/>
          <a:chOff x="0" y="0"/>
          <a:chExt cx="0" cy="0"/>
        </a:xfrm>
      </p:grpSpPr>
      <p:pic>
        <p:nvPicPr>
          <p:cNvPr id="6" name="図 45"/>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1155700" y="624528"/>
            <a:ext cx="7594600" cy="6089472"/>
          </a:xfrm>
          <a:prstGeom prst="rect">
            <a:avLst/>
          </a:prstGeom>
        </p:spPr>
      </p:pic>
      <p:sp>
        <p:nvSpPr>
          <p:cNvPr id="7" name="正方形/長方形 6"/>
          <p:cNvSpPr/>
          <p:nvPr userDrawn="1"/>
        </p:nvSpPr>
        <p:spPr>
          <a:xfrm>
            <a:off x="578559" y="620688"/>
            <a:ext cx="3294321" cy="936104"/>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Tree>
    <p:extLst>
      <p:ext uri="{BB962C8B-B14F-4D97-AF65-F5344CB8AC3E}">
        <p14:creationId xmlns:p14="http://schemas.microsoft.com/office/powerpoint/2010/main" val="27796102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東北局管内鉄道図">
    <p:spTree>
      <p:nvGrpSpPr>
        <p:cNvPr id="1" name=""/>
        <p:cNvGrpSpPr/>
        <p:nvPr/>
      </p:nvGrpSpPr>
      <p:grpSpPr>
        <a:xfrm>
          <a:off x="0" y="0"/>
          <a:ext cx="0" cy="0"/>
          <a:chOff x="0" y="0"/>
          <a:chExt cx="0" cy="0"/>
        </a:xfrm>
      </p:grpSpPr>
      <p:pic>
        <p:nvPicPr>
          <p:cNvPr id="8" name="図 1"/>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3512840" y="627906"/>
            <a:ext cx="2880320" cy="6103584"/>
          </a:xfrm>
          <a:prstGeom prst="rect">
            <a:avLst/>
          </a:prstGeom>
          <a:solidFill>
            <a:schemeClr val="bg1"/>
          </a:solidFill>
        </p:spPr>
      </p:pic>
      <p:sp>
        <p:nvSpPr>
          <p:cNvPr id="7" name="正方形/長方形 6"/>
          <p:cNvSpPr/>
          <p:nvPr userDrawn="1"/>
        </p:nvSpPr>
        <p:spPr>
          <a:xfrm>
            <a:off x="3384550" y="627906"/>
            <a:ext cx="938471" cy="928886"/>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Tree>
    <p:extLst>
      <p:ext uri="{BB962C8B-B14F-4D97-AF65-F5344CB8AC3E}">
        <p14:creationId xmlns:p14="http://schemas.microsoft.com/office/powerpoint/2010/main" val="678069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a:p>
        </p:txBody>
      </p:sp>
      <p:grpSp>
        <p:nvGrpSpPr>
          <p:cNvPr id="7" name="Group 27"/>
          <p:cNvGrpSpPr>
            <a:grpSpLocks/>
          </p:cNvGrpSpPr>
          <p:nvPr userDrawn="1"/>
        </p:nvGrpSpPr>
        <p:grpSpPr bwMode="auto">
          <a:xfrm>
            <a:off x="0" y="6599065"/>
            <a:ext cx="9906000" cy="214314"/>
            <a:chOff x="0" y="255"/>
            <a:chExt cx="6240" cy="135"/>
          </a:xfrm>
        </p:grpSpPr>
        <p:sp>
          <p:nvSpPr>
            <p:cNvPr id="8"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9"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Tree>
    <p:extLst>
      <p:ext uri="{BB962C8B-B14F-4D97-AF65-F5344CB8AC3E}">
        <p14:creationId xmlns:p14="http://schemas.microsoft.com/office/powerpoint/2010/main" val="42244366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関東局管内鉄道図">
    <p:spTree>
      <p:nvGrpSpPr>
        <p:cNvPr id="1" name=""/>
        <p:cNvGrpSpPr/>
        <p:nvPr/>
      </p:nvGrpSpPr>
      <p:grpSpPr>
        <a:xfrm>
          <a:off x="0" y="0"/>
          <a:ext cx="0" cy="0"/>
          <a:chOff x="0" y="0"/>
          <a:chExt cx="0" cy="0"/>
        </a:xfrm>
      </p:grpSpPr>
      <p:pic>
        <p:nvPicPr>
          <p:cNvPr id="8" name="図 2"/>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1999754" y="589806"/>
            <a:ext cx="5906492" cy="6160721"/>
          </a:xfrm>
          <a:prstGeom prst="rect">
            <a:avLst/>
          </a:prstGeom>
          <a:solidFill>
            <a:schemeClr val="accent3"/>
          </a:solidFill>
          <a:ln>
            <a:noFill/>
            <a:prstDash val="solid"/>
          </a:ln>
        </p:spPr>
      </p:pic>
      <p:sp>
        <p:nvSpPr>
          <p:cNvPr id="7" name="正方形/長方形 6"/>
          <p:cNvSpPr/>
          <p:nvPr userDrawn="1"/>
        </p:nvSpPr>
        <p:spPr>
          <a:xfrm>
            <a:off x="2432720" y="6093296"/>
            <a:ext cx="2047811" cy="772640"/>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Tree>
    <p:extLst>
      <p:ext uri="{BB962C8B-B14F-4D97-AF65-F5344CB8AC3E}">
        <p14:creationId xmlns:p14="http://schemas.microsoft.com/office/powerpoint/2010/main" val="21116287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北信局管内鉄道図">
    <p:spTree>
      <p:nvGrpSpPr>
        <p:cNvPr id="1" name=""/>
        <p:cNvGrpSpPr/>
        <p:nvPr/>
      </p:nvGrpSpPr>
      <p:grpSpPr>
        <a:xfrm>
          <a:off x="0" y="0"/>
          <a:ext cx="0" cy="0"/>
          <a:chOff x="0" y="0"/>
          <a:chExt cx="0" cy="0"/>
        </a:xfrm>
      </p:grpSpPr>
      <p:pic>
        <p:nvPicPr>
          <p:cNvPr id="8" name="図 1"/>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1833089" y="548680"/>
            <a:ext cx="6239821" cy="6282766"/>
          </a:xfrm>
          <a:prstGeom prst="rect">
            <a:avLst/>
          </a:prstGeom>
          <a:solidFill>
            <a:sysClr val="window" lastClr="FFFFFF"/>
          </a:solidFill>
          <a:ln>
            <a:noFill/>
          </a:ln>
        </p:spPr>
      </p:pic>
      <p:sp>
        <p:nvSpPr>
          <p:cNvPr id="7" name="正方形/長方形 6"/>
          <p:cNvSpPr/>
          <p:nvPr userDrawn="1"/>
        </p:nvSpPr>
        <p:spPr>
          <a:xfrm>
            <a:off x="2144687" y="548680"/>
            <a:ext cx="1239863" cy="1098190"/>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Tree>
    <p:extLst>
      <p:ext uri="{BB962C8B-B14F-4D97-AF65-F5344CB8AC3E}">
        <p14:creationId xmlns:p14="http://schemas.microsoft.com/office/powerpoint/2010/main" val="9648569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中部局管内鉄道図">
    <p:spTree>
      <p:nvGrpSpPr>
        <p:cNvPr id="1" name=""/>
        <p:cNvGrpSpPr/>
        <p:nvPr/>
      </p:nvGrpSpPr>
      <p:grpSpPr>
        <a:xfrm>
          <a:off x="0" y="0"/>
          <a:ext cx="0" cy="0"/>
          <a:chOff x="0" y="0"/>
          <a:chExt cx="0" cy="0"/>
        </a:xfrm>
      </p:grpSpPr>
      <p:pic>
        <p:nvPicPr>
          <p:cNvPr id="76" name="図 2"/>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1868956" y="594000"/>
            <a:ext cx="6168087" cy="6264000"/>
          </a:xfrm>
          <a:prstGeom prst="rect">
            <a:avLst/>
          </a:prstGeom>
          <a:solidFill>
            <a:srgbClr val="FF2D2D"/>
          </a:solidFill>
          <a:ln>
            <a:noFill/>
          </a:ln>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
        <p:nvSpPr>
          <p:cNvPr id="78" name="正方形/長方形 77"/>
          <p:cNvSpPr/>
          <p:nvPr userDrawn="1"/>
        </p:nvSpPr>
        <p:spPr>
          <a:xfrm>
            <a:off x="5457056" y="594000"/>
            <a:ext cx="823541" cy="665213"/>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Tree>
    <p:extLst>
      <p:ext uri="{BB962C8B-B14F-4D97-AF65-F5344CB8AC3E}">
        <p14:creationId xmlns:p14="http://schemas.microsoft.com/office/powerpoint/2010/main" val="15073180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近畿局管内鉄道図">
    <p:spTree>
      <p:nvGrpSpPr>
        <p:cNvPr id="1" name=""/>
        <p:cNvGrpSpPr/>
        <p:nvPr/>
      </p:nvGrpSpPr>
      <p:grpSpPr>
        <a:xfrm>
          <a:off x="0" y="0"/>
          <a:ext cx="0" cy="0"/>
          <a:chOff x="0" y="0"/>
          <a:chExt cx="0" cy="0"/>
        </a:xfrm>
      </p:grpSpPr>
      <p:pic>
        <p:nvPicPr>
          <p:cNvPr id="8" name="図 2"/>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2356161" y="616065"/>
            <a:ext cx="5193677" cy="6241935"/>
          </a:xfrm>
          <a:prstGeom prst="rect">
            <a:avLst/>
          </a:prstGeom>
          <a:solidFill>
            <a:schemeClr val="bg1"/>
          </a:solidFill>
          <a:ln>
            <a:noFill/>
          </a:ln>
        </p:spPr>
      </p:pic>
      <p:sp>
        <p:nvSpPr>
          <p:cNvPr id="7" name="正方形/長方形 6"/>
          <p:cNvSpPr/>
          <p:nvPr userDrawn="1"/>
        </p:nvSpPr>
        <p:spPr>
          <a:xfrm>
            <a:off x="2576736" y="4005064"/>
            <a:ext cx="1381824" cy="576064"/>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10" name="正方形/長方形 9"/>
          <p:cNvSpPr/>
          <p:nvPr userDrawn="1"/>
        </p:nvSpPr>
        <p:spPr>
          <a:xfrm>
            <a:off x="2576736" y="4581128"/>
            <a:ext cx="936104" cy="2276872"/>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11" name="正方形/長方形 10"/>
          <p:cNvSpPr/>
          <p:nvPr userDrawn="1"/>
        </p:nvSpPr>
        <p:spPr>
          <a:xfrm>
            <a:off x="3507166" y="6309319"/>
            <a:ext cx="1229809" cy="540743"/>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
        <p:nvSpPr>
          <p:cNvPr id="9" name="正方形/長方形 8"/>
          <p:cNvSpPr/>
          <p:nvPr userDrawn="1"/>
        </p:nvSpPr>
        <p:spPr>
          <a:xfrm>
            <a:off x="2000672" y="607947"/>
            <a:ext cx="3294321" cy="45719"/>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Tree>
    <p:extLst>
      <p:ext uri="{BB962C8B-B14F-4D97-AF65-F5344CB8AC3E}">
        <p14:creationId xmlns:p14="http://schemas.microsoft.com/office/powerpoint/2010/main" val="377264135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中国局管内鉄道図">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pic>
        <p:nvPicPr>
          <p:cNvPr id="6" name="図 2"/>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376008" y="1700808"/>
            <a:ext cx="9153984" cy="4101318"/>
          </a:xfrm>
          <a:prstGeom prst="rect">
            <a:avLst/>
          </a:prstGeom>
          <a:solidFill>
            <a:sysClr val="windowText" lastClr="000000"/>
          </a:solidFill>
          <a:ln>
            <a:noFill/>
          </a:ln>
        </p:spPr>
      </p:pic>
    </p:spTree>
    <p:extLst>
      <p:ext uri="{BB962C8B-B14F-4D97-AF65-F5344CB8AC3E}">
        <p14:creationId xmlns:p14="http://schemas.microsoft.com/office/powerpoint/2010/main" val="9191496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四国局管内鉄道図">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pic>
        <p:nvPicPr>
          <p:cNvPr id="6" name="図 1"/>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813122" y="1215086"/>
            <a:ext cx="8279755" cy="4687803"/>
          </a:xfrm>
          <a:prstGeom prst="rect">
            <a:avLst/>
          </a:prstGeom>
        </p:spPr>
      </p:pic>
    </p:spTree>
    <p:extLst>
      <p:ext uri="{BB962C8B-B14F-4D97-AF65-F5344CB8AC3E}">
        <p14:creationId xmlns:p14="http://schemas.microsoft.com/office/powerpoint/2010/main" val="35203227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九州局管内鉄道図">
    <p:spTree>
      <p:nvGrpSpPr>
        <p:cNvPr id="1" name=""/>
        <p:cNvGrpSpPr/>
        <p:nvPr/>
      </p:nvGrpSpPr>
      <p:grpSpPr>
        <a:xfrm>
          <a:off x="0" y="0"/>
          <a:ext cx="0" cy="0"/>
          <a:chOff x="0" y="0"/>
          <a:chExt cx="0" cy="0"/>
        </a:xfrm>
      </p:grpSpPr>
      <p:pic>
        <p:nvPicPr>
          <p:cNvPr id="15" name="図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7401272" y="3330293"/>
            <a:ext cx="1961228" cy="3238305"/>
          </a:xfrm>
          <a:prstGeom prst="rect">
            <a:avLst/>
          </a:prstGeom>
          <a:noFill/>
          <a:ln>
            <a:noFill/>
            <a:prstDash val="solid"/>
          </a:ln>
        </p:spPr>
      </p:pic>
      <p:pic>
        <p:nvPicPr>
          <p:cNvPr id="7" name="図 2"/>
          <p:cNvPicPr>
            <a:picLocks noChangeAspect="1"/>
          </p:cNvPicPr>
          <p:nvPr userDrawn="1"/>
        </p:nvPicPr>
        <p:blipFill>
          <a:blip r:embed="rId3" cstate="hqprint">
            <a:extLst>
              <a:ext uri="{28A0092B-C50C-407E-A947-70E740481C1C}">
                <a14:useLocalDpi xmlns:a14="http://schemas.microsoft.com/office/drawing/2010/main"/>
              </a:ext>
            </a:extLst>
          </a:blip>
          <a:srcRect/>
          <a:stretch>
            <a:fillRect/>
          </a:stretch>
        </p:blipFill>
        <p:spPr>
          <a:xfrm>
            <a:off x="2504728" y="609382"/>
            <a:ext cx="4724391" cy="6256555"/>
          </a:xfrm>
          <a:prstGeom prst="rect">
            <a:avLst/>
          </a:prstGeom>
          <a:noFill/>
          <a:ln>
            <a:noFill/>
            <a:prstDash val="solid"/>
          </a:ln>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pic>
        <p:nvPicPr>
          <p:cNvPr id="17" name="図 8"/>
          <p:cNvPicPr>
            <a:picLocks noChangeAspect="1"/>
          </p:cNvPicPr>
          <p:nvPr userDrawn="1"/>
        </p:nvPicPr>
        <p:blipFill>
          <a:blip r:embed="rId4"/>
          <a:stretch>
            <a:fillRect/>
          </a:stretch>
        </p:blipFill>
        <p:spPr>
          <a:xfrm>
            <a:off x="9931617" y="8419306"/>
            <a:ext cx="1823498" cy="859978"/>
          </a:xfrm>
          <a:prstGeom prst="rect">
            <a:avLst/>
          </a:prstGeom>
        </p:spPr>
      </p:pic>
      <p:sp>
        <p:nvSpPr>
          <p:cNvPr id="19" name="正方形/長方形 18"/>
          <p:cNvSpPr/>
          <p:nvPr userDrawn="1"/>
        </p:nvSpPr>
        <p:spPr>
          <a:xfrm>
            <a:off x="5460713" y="609382"/>
            <a:ext cx="1494444" cy="443354"/>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1" name="平行四辺形 20"/>
          <p:cNvSpPr/>
          <p:nvPr userDrawn="1"/>
        </p:nvSpPr>
        <p:spPr>
          <a:xfrm>
            <a:off x="5425958" y="3330292"/>
            <a:ext cx="2682983" cy="3527707"/>
          </a:xfrm>
          <a:prstGeom prst="parallelogram">
            <a:avLst>
              <a:gd name="adj" fmla="val 43397"/>
            </a:avLst>
          </a:prstGeom>
          <a:solidFill>
            <a:schemeClr val="bg1"/>
          </a:solidFill>
          <a:ln>
            <a:no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3" name="平行四辺形 22"/>
          <p:cNvSpPr/>
          <p:nvPr userDrawn="1"/>
        </p:nvSpPr>
        <p:spPr>
          <a:xfrm>
            <a:off x="5737874" y="4149080"/>
            <a:ext cx="940122" cy="1681113"/>
          </a:xfrm>
          <a:prstGeom prst="parallelogram">
            <a:avLst>
              <a:gd name="adj" fmla="val 50292"/>
            </a:avLst>
          </a:prstGeom>
          <a:solidFill>
            <a:schemeClr val="bg1"/>
          </a:solidFill>
          <a:ln>
            <a:no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4" name="正方形/長方形 23"/>
          <p:cNvSpPr/>
          <p:nvPr userDrawn="1"/>
        </p:nvSpPr>
        <p:spPr>
          <a:xfrm>
            <a:off x="2426402" y="6414645"/>
            <a:ext cx="250479" cy="443354"/>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5" name="正方形/長方形 24"/>
          <p:cNvSpPr/>
          <p:nvPr userDrawn="1"/>
        </p:nvSpPr>
        <p:spPr>
          <a:xfrm>
            <a:off x="8194670" y="4293096"/>
            <a:ext cx="862786" cy="72008"/>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Tree>
    <p:extLst>
      <p:ext uri="{BB962C8B-B14F-4D97-AF65-F5344CB8AC3E}">
        <p14:creationId xmlns:p14="http://schemas.microsoft.com/office/powerpoint/2010/main" val="175584429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a:ln/>
        </p:spPr>
        <p:txBody>
          <a:bodyPr/>
          <a:lstStyle>
            <a:lvl1pPr>
              <a:defRPr/>
            </a:lvl1pPr>
          </a:lstStyle>
          <a:p>
            <a:pPr>
              <a:defRPr/>
            </a:pPr>
            <a:fld id="{B7CC6B0C-8CDA-4E96-807C-53071EAC6D8B}" type="datetime1">
              <a:rPr lang="ja-JP" altLang="en-US" smtClean="0">
                <a:solidFill>
                  <a:srgbClr val="000000"/>
                </a:solidFill>
              </a:rPr>
              <a:t>2025/3/11</a:t>
            </a:fld>
            <a:endParaRPr lang="en-US" altLang="ja-JP">
              <a:solidFill>
                <a:srgbClr val="000000"/>
              </a:solidFill>
            </a:endParaRPr>
          </a:p>
        </p:txBody>
      </p:sp>
      <p:sp>
        <p:nvSpPr>
          <p:cNvPr id="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6" name="Rectangle 5"/>
          <p:cNvSpPr>
            <a:spLocks noGrp="1" noChangeArrowheads="1"/>
          </p:cNvSpPr>
          <p:nvPr>
            <p:ph type="sldNum" sz="quarter" idx="12"/>
          </p:nvPr>
        </p:nvSpPr>
        <p:spPr>
          <a:ln/>
        </p:spPr>
        <p:txBody>
          <a:bodyPr/>
          <a:lstStyle>
            <a:lvl1pPr>
              <a:defRPr/>
            </a:lvl1pPr>
          </a:lstStyle>
          <a:p>
            <a:pPr>
              <a:defRPr/>
            </a:pPr>
            <a:fld id="{91D24F9B-1059-4270-837C-682AF1019EFE}"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43563468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One Column">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173791054"/>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name="think-cell スライド" r:id="rId3" imgW="592" imgH="591" progId="TCLayout.ActiveDocument.1">
                  <p:embed/>
                </p:oleObj>
              </mc:Choice>
              <mc:Fallback>
                <p:oleObj name="think-cell スライド" r:id="rId3" imgW="592" imgH="591" progId="TCLayout.ActiveDocument.1">
                  <p:embed/>
                  <p:pic>
                    <p:nvPicPr>
                      <p:cNvPr id="2" name="オブジェクト 1" hidden="1"/>
                      <p:cNvPicPr/>
                      <p:nvPr/>
                    </p:nvPicPr>
                    <p:blipFill>
                      <a:blip/>
                      <a:stretch>
                        <a:fillRect/>
                      </a:stretch>
                    </p:blipFill>
                    <p:spPr>
                      <a:xfrm>
                        <a:off x="1721" y="1589"/>
                        <a:ext cx="1719" cy="1587"/>
                      </a:xfrm>
                      <a:prstGeom prst="rect">
                        <a:avLst/>
                      </a:prstGeom>
                    </p:spPr>
                  </p:pic>
                </p:oleObj>
              </mc:Fallback>
            </mc:AlternateContent>
          </a:graphicData>
        </a:graphic>
      </p:graphicFrame>
      <p:sp>
        <p:nvSpPr>
          <p:cNvPr id="7" name="Title">
            <a:extLst>
              <a:ext uri="{FF2B5EF4-FFF2-40B4-BE49-F238E27FC236}">
                <a16:creationId xmlns:a16="http://schemas.microsoft.com/office/drawing/2014/main" id="{5127389A-C3DF-3347-BE4D-69D534F0B90C}"/>
              </a:ext>
            </a:extLst>
          </p:cNvPr>
          <p:cNvSpPr>
            <a:spLocks noGrp="1"/>
          </p:cNvSpPr>
          <p:nvPr>
            <p:ph type="title" hasCustomPrompt="1"/>
          </p:nvPr>
        </p:nvSpPr>
        <p:spPr/>
        <p:txBody>
          <a:bodyPr vert="horz"/>
          <a:lstStyle>
            <a:lvl1pPr>
              <a:defRPr/>
            </a:lvl1pPr>
          </a:lstStyle>
          <a:p>
            <a:r>
              <a:rPr lang="en-US"/>
              <a:t>[Slide title]</a:t>
            </a:r>
          </a:p>
        </p:txBody>
      </p:sp>
      <p:sp>
        <p:nvSpPr>
          <p:cNvPr id="10" name="Subtitle">
            <a:extLst>
              <a:ext uri="{FF2B5EF4-FFF2-40B4-BE49-F238E27FC236}">
                <a16:creationId xmlns:a16="http://schemas.microsoft.com/office/drawing/2014/main" id="{D99FC200-8318-B648-A0D5-0D72DB4D6533}"/>
              </a:ext>
            </a:extLst>
          </p:cNvPr>
          <p:cNvSpPr>
            <a:spLocks noGrp="1"/>
          </p:cNvSpPr>
          <p:nvPr>
            <p:ph type="subTitle" idx="13" hasCustomPrompt="1"/>
          </p:nvPr>
        </p:nvSpPr>
        <p:spPr>
          <a:xfrm>
            <a:off x="495300" y="1325881"/>
            <a:ext cx="8915401" cy="320177"/>
          </a:xfrm>
        </p:spPr>
        <p:txBody>
          <a:bodyPr tIns="0">
            <a:noAutofit/>
          </a:bodyPr>
          <a:lstStyle>
            <a:lvl1pPr marL="0" indent="0" algn="l">
              <a:lnSpc>
                <a:spcPct val="100000"/>
              </a:lnSpc>
              <a:spcBef>
                <a:spcPts val="0"/>
              </a:spcBef>
              <a:spcAft>
                <a:spcPts val="0"/>
              </a:spcAft>
              <a:buNone/>
              <a:defRPr sz="1400" b="1">
                <a:solidFill>
                  <a:schemeClr val="tx2"/>
                </a:solidFill>
              </a:defRPr>
            </a:lvl1pPr>
            <a:lvl2pPr marL="0" indent="0" algn="l">
              <a:lnSpc>
                <a:spcPct val="100000"/>
              </a:lnSpc>
              <a:spcBef>
                <a:spcPts val="0"/>
              </a:spcBef>
              <a:spcAft>
                <a:spcPts val="0"/>
              </a:spcAft>
              <a:buNone/>
              <a:defRPr sz="1400" b="1">
                <a:solidFill>
                  <a:schemeClr val="tx2"/>
                </a:solidFill>
              </a:defRPr>
            </a:lvl2pPr>
            <a:lvl3pPr marL="0" indent="0" algn="l">
              <a:lnSpc>
                <a:spcPct val="100000"/>
              </a:lnSpc>
              <a:spcBef>
                <a:spcPts val="0"/>
              </a:spcBef>
              <a:spcAft>
                <a:spcPts val="0"/>
              </a:spcAft>
              <a:buNone/>
              <a:defRPr sz="1400" b="1">
                <a:solidFill>
                  <a:schemeClr val="tx2"/>
                </a:solidFill>
              </a:defRPr>
            </a:lvl3pPr>
            <a:lvl4pPr marL="0" indent="0" algn="l">
              <a:lnSpc>
                <a:spcPct val="100000"/>
              </a:lnSpc>
              <a:spcBef>
                <a:spcPts val="0"/>
              </a:spcBef>
              <a:spcAft>
                <a:spcPts val="0"/>
              </a:spcAft>
              <a:buNone/>
              <a:defRPr sz="1400" b="1">
                <a:solidFill>
                  <a:schemeClr val="tx2"/>
                </a:solidFill>
              </a:defRPr>
            </a:lvl4pPr>
            <a:lvl5pPr marL="0" indent="0" algn="l">
              <a:lnSpc>
                <a:spcPct val="100000"/>
              </a:lnSpc>
              <a:spcBef>
                <a:spcPts val="0"/>
              </a:spcBef>
              <a:spcAft>
                <a:spcPts val="0"/>
              </a:spcAft>
              <a:buNone/>
              <a:defRPr sz="1400" b="1">
                <a:solidFill>
                  <a:schemeClr val="tx2"/>
                </a:solidFill>
              </a:defRPr>
            </a:lvl5pPr>
            <a:lvl6pPr marL="0" indent="0" algn="l">
              <a:lnSpc>
                <a:spcPct val="100000"/>
              </a:lnSpc>
              <a:spcBef>
                <a:spcPts val="0"/>
              </a:spcBef>
              <a:spcAft>
                <a:spcPts val="0"/>
              </a:spcAft>
              <a:buNone/>
              <a:defRPr sz="1400" b="1">
                <a:solidFill>
                  <a:schemeClr val="tx2"/>
                </a:solidFill>
              </a:defRPr>
            </a:lvl6pPr>
            <a:lvl7pPr marL="0" indent="0" algn="l">
              <a:lnSpc>
                <a:spcPct val="100000"/>
              </a:lnSpc>
              <a:spcBef>
                <a:spcPts val="0"/>
              </a:spcBef>
              <a:spcAft>
                <a:spcPts val="0"/>
              </a:spcAft>
              <a:buNone/>
              <a:defRPr sz="1400" b="1">
                <a:solidFill>
                  <a:schemeClr val="tx2"/>
                </a:solidFill>
              </a:defRPr>
            </a:lvl7pPr>
            <a:lvl8pPr marL="0" indent="0" algn="l">
              <a:lnSpc>
                <a:spcPct val="100000"/>
              </a:lnSpc>
              <a:spcBef>
                <a:spcPts val="0"/>
              </a:spcBef>
              <a:spcAft>
                <a:spcPts val="0"/>
              </a:spcAft>
              <a:buNone/>
              <a:defRPr sz="1400" b="1">
                <a:solidFill>
                  <a:schemeClr val="tx2"/>
                </a:solidFill>
              </a:defRPr>
            </a:lvl8pPr>
            <a:lvl9pPr marL="0" indent="0" algn="l">
              <a:lnSpc>
                <a:spcPct val="100000"/>
              </a:lnSpc>
              <a:spcBef>
                <a:spcPts val="0"/>
              </a:spcBef>
              <a:spcAft>
                <a:spcPts val="0"/>
              </a:spcAft>
              <a:buNone/>
              <a:defRPr sz="1400" b="1">
                <a:solidFill>
                  <a:schemeClr val="tx2"/>
                </a:solidFill>
              </a:defRPr>
            </a:lvl9pPr>
          </a:lstStyle>
          <a:p>
            <a:r>
              <a:rPr lang="en-US"/>
              <a:t>[Optional slide subtitle]</a:t>
            </a:r>
          </a:p>
        </p:txBody>
      </p:sp>
      <p:sp>
        <p:nvSpPr>
          <p:cNvPr id="3" name="Content Placeholder 1"/>
          <p:cNvSpPr>
            <a:spLocks noGrp="1"/>
          </p:cNvSpPr>
          <p:nvPr>
            <p:ph idx="1" hasCustomPrompt="1"/>
          </p:nvPr>
        </p:nvSpPr>
        <p:spPr>
          <a:xfrm>
            <a:off x="495298" y="1733550"/>
            <a:ext cx="8915402" cy="44843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9" name="Footnotes">
            <a:extLst>
              <a:ext uri="{FF2B5EF4-FFF2-40B4-BE49-F238E27FC236}">
                <a16:creationId xmlns:a16="http://schemas.microsoft.com/office/drawing/2014/main" id="{FEB2C45C-E16E-4E28-BA4C-90354A51C219}"/>
              </a:ext>
            </a:extLst>
          </p:cNvPr>
          <p:cNvSpPr>
            <a:spLocks noGrp="1"/>
          </p:cNvSpPr>
          <p:nvPr>
            <p:ph type="body" sz="quarter" idx="17" hasCustomPrompt="1"/>
          </p:nvPr>
        </p:nvSpPr>
        <p:spPr>
          <a:xfrm>
            <a:off x="2476500" y="6355077"/>
            <a:ext cx="4953000" cy="274322"/>
          </a:xfrm>
        </p:spPr>
        <p:txBody>
          <a:bodyPr anchor="b" anchorCtr="0">
            <a:noAutofit/>
          </a:bodyPr>
          <a:lstStyle>
            <a:lvl1pPr marL="0" indent="0">
              <a:spcAft>
                <a:spcPts val="0"/>
              </a:spcAft>
              <a:buFontTx/>
              <a:buNone/>
              <a:defRPr sz="700"/>
            </a:lvl1pPr>
            <a:lvl2pPr marL="0" indent="0">
              <a:spcAft>
                <a:spcPts val="0"/>
              </a:spcAft>
              <a:buFontTx/>
              <a:buNone/>
              <a:defRPr sz="700"/>
            </a:lvl2pPr>
            <a:lvl3pPr marL="0" indent="0">
              <a:spcAft>
                <a:spcPts val="0"/>
              </a:spcAft>
              <a:buFontTx/>
              <a:buNone/>
              <a:defRPr sz="700"/>
            </a:lvl3pPr>
            <a:lvl4pPr marL="0" indent="0">
              <a:spcAft>
                <a:spcPts val="0"/>
              </a:spcAft>
              <a:buFontTx/>
              <a:buNone/>
              <a:defRPr sz="700"/>
            </a:lvl4pPr>
            <a:lvl5pPr marL="0" indent="0">
              <a:spcAft>
                <a:spcPts val="0"/>
              </a:spcAft>
              <a:buFontTx/>
              <a:buNone/>
              <a:defRPr sz="700"/>
            </a:lvl5pPr>
            <a:lvl6pPr marL="0" indent="0">
              <a:spcAft>
                <a:spcPts val="0"/>
              </a:spcAft>
              <a:buFontTx/>
              <a:buNone/>
              <a:defRPr sz="700"/>
            </a:lvl6pPr>
            <a:lvl7pPr marL="0" indent="0">
              <a:spcAft>
                <a:spcPts val="0"/>
              </a:spcAft>
              <a:buFontTx/>
              <a:buNone/>
              <a:defRPr sz="700"/>
            </a:lvl7pPr>
            <a:lvl8pPr marL="0" indent="0">
              <a:spcAft>
                <a:spcPts val="0"/>
              </a:spcAft>
              <a:buFontTx/>
              <a:buNone/>
              <a:defRPr sz="700"/>
            </a:lvl8pPr>
            <a:lvl9pPr marL="0" indent="0">
              <a:spcAft>
                <a:spcPts val="0"/>
              </a:spcAft>
              <a:buFontTx/>
              <a:buNone/>
              <a:defRPr sz="700"/>
            </a:lvl9pPr>
          </a:lstStyle>
          <a:p>
            <a:pPr lvl="0"/>
            <a:r>
              <a:rPr lang="en-US" altLang="ja-JP"/>
              <a:t>[Optional footnotes/references]</a:t>
            </a:r>
          </a:p>
        </p:txBody>
      </p:sp>
      <p:sp>
        <p:nvSpPr>
          <p:cNvPr id="4" name="Date Placeholder">
            <a:extLst>
              <a:ext uri="{FF2B5EF4-FFF2-40B4-BE49-F238E27FC236}">
                <a16:creationId xmlns:a16="http://schemas.microsoft.com/office/drawing/2014/main" id="{124EBE94-9222-404D-8CB9-BB29235737BE}"/>
              </a:ext>
            </a:extLst>
          </p:cNvPr>
          <p:cNvSpPr>
            <a:spLocks noGrp="1"/>
          </p:cNvSpPr>
          <p:nvPr>
            <p:ph type="dt" sz="half" idx="14"/>
          </p:nvPr>
        </p:nvSpPr>
        <p:spPr>
          <a:xfrm>
            <a:off x="7627620" y="6355080"/>
            <a:ext cx="1783080" cy="137160"/>
          </a:xfrm>
          <a:prstGeom prst="rect">
            <a:avLst/>
          </a:prstGeom>
        </p:spPr>
        <p:txBody>
          <a:bodyPr/>
          <a:lstStyle/>
          <a:p>
            <a:endParaRPr lang="en-US"/>
          </a:p>
        </p:txBody>
      </p:sp>
      <p:sp>
        <p:nvSpPr>
          <p:cNvPr id="6" name="Slide Number Placeholder">
            <a:extLst>
              <a:ext uri="{FF2B5EF4-FFF2-40B4-BE49-F238E27FC236}">
                <a16:creationId xmlns:a16="http://schemas.microsoft.com/office/drawing/2014/main" id="{46487925-D163-ED40-A98A-BC1B011B4BBD}"/>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450351994"/>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1038" name="Rectangle 14"/>
          <p:cNvSpPr>
            <a:spLocks noChangeArrowheads="1"/>
          </p:cNvSpPr>
          <p:nvPr userDrawn="1"/>
        </p:nvSpPr>
        <p:spPr>
          <a:xfrm>
            <a:off x="1833563" y="3284538"/>
            <a:ext cx="8072437" cy="73025"/>
          </a:xfrm>
          <a:prstGeom prst="rect">
            <a:avLst/>
          </a:prstGeom>
          <a:solidFill>
            <a:srgbClr val="FF0000"/>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9" name="Rectangle 3"/>
          <p:cNvSpPr>
            <a:spLocks noGrp="1" noChangeArrowheads="1"/>
          </p:cNvSpPr>
          <p:nvPr>
            <p:ph type="ctrTitle"/>
          </p:nvPr>
        </p:nvSpPr>
        <p:spPr>
          <a:xfrm>
            <a:off x="1784350" y="2133600"/>
            <a:ext cx="8121650" cy="1470025"/>
          </a:xfrm>
        </p:spPr>
        <p:txBody>
          <a:bodyPr/>
          <a:lstStyle>
            <a:lvl1pPr>
              <a:defRPr sz="4000">
                <a:latin typeface="メイリオ" panose="020B0604030504040204" pitchFamily="50" charset="-128"/>
                <a:ea typeface="メイリオ" panose="020B0604030504040204" pitchFamily="50" charset="-128"/>
              </a:defRPr>
            </a:lvl1pPr>
          </a:lstStyle>
          <a:p>
            <a:pPr lvl="0"/>
            <a:r>
              <a:rPr lang="ja-JP" altLang="en-US" noProof="0" dirty="0"/>
              <a:t>マスタ タイトルの書式設定</a:t>
            </a:r>
          </a:p>
        </p:txBody>
      </p:sp>
      <p:sp>
        <p:nvSpPr>
          <p:cNvPr id="1040"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atin typeface="メイリオ" panose="020B0604030504040204" pitchFamily="50" charset="-128"/>
                <a:ea typeface="メイリオ" panose="020B0604030504040204" pitchFamily="50" charset="-128"/>
              </a:defRPr>
            </a:lvl1pPr>
          </a:lstStyle>
          <a:p>
            <a:pPr lvl="0"/>
            <a:r>
              <a:rPr lang="ja-JP" altLang="en-US" noProof="0"/>
              <a:t>国土交通省　観光庁</a:t>
            </a:r>
          </a:p>
          <a:p>
            <a:pPr lvl="0"/>
            <a:r>
              <a:rPr lang="ja-JP" altLang="en-US" noProof="0"/>
              <a:t>○○課</a:t>
            </a:r>
          </a:p>
          <a:p>
            <a:pPr lvl="0"/>
            <a:r>
              <a:rPr lang="ja-JP" altLang="en-US" noProof="0"/>
              <a:t>平成○○年○○月</a:t>
            </a:r>
          </a:p>
        </p:txBody>
      </p:sp>
      <p:sp>
        <p:nvSpPr>
          <p:cNvPr id="1041" name="Rectangle 5"/>
          <p:cNvSpPr>
            <a:spLocks noGrp="1" noChangeArrowheads="1"/>
          </p:cNvSpPr>
          <p:nvPr>
            <p:ph type="dt" sz="half" idx="10"/>
          </p:nvPr>
        </p:nvSpPr>
        <p:spPr/>
        <p:txBody>
          <a:bodyPr/>
          <a:lstStyle>
            <a:lvl1pPr>
              <a:defRPr/>
            </a:lvl1pPr>
          </a:lstStyle>
          <a:p>
            <a:pPr>
              <a:defRPr/>
            </a:pPr>
            <a:endParaRPr lang="en-US" altLang="ja-JP"/>
          </a:p>
        </p:txBody>
      </p:sp>
      <p:sp>
        <p:nvSpPr>
          <p:cNvPr id="1042" name="Rectangle 6"/>
          <p:cNvSpPr>
            <a:spLocks noGrp="1" noChangeArrowheads="1"/>
          </p:cNvSpPr>
          <p:nvPr>
            <p:ph type="ftr" sz="quarter" idx="11"/>
          </p:nvPr>
        </p:nvSpPr>
        <p:spPr/>
        <p:txBody>
          <a:bodyPr/>
          <a:lstStyle>
            <a:lvl1pPr>
              <a:defRPr/>
            </a:lvl1pPr>
          </a:lstStyle>
          <a:p>
            <a:pPr>
              <a:defRPr/>
            </a:pPr>
            <a:endParaRPr lang="en-US" altLang="ja-JP"/>
          </a:p>
        </p:txBody>
      </p:sp>
      <p:pic>
        <p:nvPicPr>
          <p:cNvPr id="1037" name="Picture 20" descr="ppjtitle"/>
          <p:cNvPicPr>
            <a:picLocks noChangeAspect="1" noChangeArrowheads="1"/>
          </p:cNvPicPr>
          <p:nvPr userDrawn="1"/>
        </p:nvPicPr>
        <p:blipFill>
          <a:blip r:embed="rId2"/>
          <a:stretch>
            <a:fillRect/>
          </a:stretch>
        </p:blipFill>
        <p:spPr>
          <a:xfrm>
            <a:off x="0" y="6076950"/>
            <a:ext cx="9921875" cy="781050"/>
          </a:xfrm>
          <a:prstGeom prst="rect">
            <a:avLst/>
          </a:prstGeom>
          <a:noFill/>
          <a:ln>
            <a:noFill/>
          </a:ln>
        </p:spPr>
      </p:pic>
    </p:spTree>
    <p:extLst>
      <p:ext uri="{BB962C8B-B14F-4D97-AF65-F5344CB8AC3E}">
        <p14:creationId xmlns:p14="http://schemas.microsoft.com/office/powerpoint/2010/main" val="40076802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1037" name="Picture 20" descr="ppjtitle"/>
          <p:cNvPicPr>
            <a:picLocks noChangeAspect="1" noChangeArrowheads="1"/>
          </p:cNvPicPr>
          <p:nvPr userDrawn="1"/>
        </p:nvPicPr>
        <p:blipFill>
          <a:blip r:embed="rId2"/>
          <a:stretch>
            <a:fillRect/>
          </a:stretch>
        </p:blipFill>
        <p:spPr>
          <a:xfrm>
            <a:off x="0" y="6076950"/>
            <a:ext cx="9921875" cy="781050"/>
          </a:xfrm>
          <a:prstGeom prst="rect">
            <a:avLst/>
          </a:prstGeom>
          <a:noFill/>
          <a:ln>
            <a:noFill/>
          </a:ln>
        </p:spPr>
      </p:pic>
      <p:sp>
        <p:nvSpPr>
          <p:cNvPr id="1038" name="Rectangle 14"/>
          <p:cNvSpPr>
            <a:spLocks noChangeArrowheads="1"/>
          </p:cNvSpPr>
          <p:nvPr userDrawn="1"/>
        </p:nvSpPr>
        <p:spPr>
          <a:xfrm>
            <a:off x="1833563" y="3284538"/>
            <a:ext cx="8072437" cy="73025"/>
          </a:xfrm>
          <a:prstGeom prst="rect">
            <a:avLst/>
          </a:prstGeom>
          <a:solidFill>
            <a:srgbClr val="FF0000"/>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9" name="Rectangle 3"/>
          <p:cNvSpPr>
            <a:spLocks noGrp="1" noChangeArrowheads="1"/>
          </p:cNvSpPr>
          <p:nvPr>
            <p:ph type="ctrTitle"/>
          </p:nvPr>
        </p:nvSpPr>
        <p:spPr>
          <a:xfrm>
            <a:off x="1784350" y="2133600"/>
            <a:ext cx="8121650" cy="1470025"/>
          </a:xfrm>
        </p:spPr>
        <p:txBody>
          <a:bodyPr/>
          <a:lstStyle>
            <a:lvl1pPr>
              <a:defRPr sz="4000"/>
            </a:lvl1pPr>
          </a:lstStyle>
          <a:p>
            <a:pPr lvl="0"/>
            <a:r>
              <a:rPr lang="ja-JP" altLang="en-US" noProof="0"/>
              <a:t>マスタ タイトルの書式設定</a:t>
            </a:r>
          </a:p>
        </p:txBody>
      </p:sp>
      <p:sp>
        <p:nvSpPr>
          <p:cNvPr id="1040"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pPr lvl="0"/>
            <a:r>
              <a:rPr lang="ja-JP" altLang="en-US" noProof="0"/>
              <a:t>国土交通省　観光庁</a:t>
            </a:r>
          </a:p>
          <a:p>
            <a:pPr lvl="0"/>
            <a:r>
              <a:rPr lang="ja-JP" altLang="en-US" noProof="0"/>
              <a:t>○○課</a:t>
            </a:r>
          </a:p>
          <a:p>
            <a:pPr lvl="0"/>
            <a:r>
              <a:rPr lang="ja-JP" altLang="en-US" noProof="0"/>
              <a:t>平成○○年○○月</a:t>
            </a:r>
          </a:p>
        </p:txBody>
      </p:sp>
      <p:sp>
        <p:nvSpPr>
          <p:cNvPr id="1041" name="Rectangle 5"/>
          <p:cNvSpPr>
            <a:spLocks noGrp="1" noChangeArrowheads="1"/>
          </p:cNvSpPr>
          <p:nvPr>
            <p:ph type="dt" sz="half" idx="10"/>
          </p:nvPr>
        </p:nvSpPr>
        <p:spPr/>
        <p:txBody>
          <a:bodyPr/>
          <a:lstStyle>
            <a:lvl1pPr>
              <a:defRPr/>
            </a:lvl1pPr>
          </a:lstStyle>
          <a:p>
            <a:pPr>
              <a:defRPr/>
            </a:pPr>
            <a:endParaRPr lang="en-US" altLang="ja-JP"/>
          </a:p>
        </p:txBody>
      </p:sp>
      <p:sp>
        <p:nvSpPr>
          <p:cNvPr id="1042" name="Rectangle 6"/>
          <p:cNvSpPr>
            <a:spLocks noGrp="1" noChangeArrowheads="1"/>
          </p:cNvSpPr>
          <p:nvPr>
            <p:ph type="ftr" sz="quarter" idx="11"/>
          </p:nvPr>
        </p:nvSpPr>
        <p:spPr/>
        <p:txBody>
          <a:bodyPr/>
          <a:lstStyle>
            <a:lvl1pPr>
              <a:defRPr/>
            </a:lvl1pPr>
          </a:lstStyle>
          <a:p>
            <a:pPr>
              <a:defRPr/>
            </a:pPr>
            <a:endParaRPr lang="en-US" altLang="ja-JP"/>
          </a:p>
        </p:txBody>
      </p:sp>
    </p:spTree>
    <p:extLst>
      <p:ext uri="{BB962C8B-B14F-4D97-AF65-F5344CB8AC3E}">
        <p14:creationId xmlns:p14="http://schemas.microsoft.com/office/powerpoint/2010/main" val="291211079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項目タイトル">
    <p:spTree>
      <p:nvGrpSpPr>
        <p:cNvPr id="1" name=""/>
        <p:cNvGrpSpPr/>
        <p:nvPr/>
      </p:nvGrpSpPr>
      <p:grpSpPr>
        <a:xfrm>
          <a:off x="0" y="0"/>
          <a:ext cx="0" cy="0"/>
          <a:chOff x="0" y="0"/>
          <a:chExt cx="0" cy="0"/>
        </a:xfrm>
      </p:grpSpPr>
      <p:sp>
        <p:nvSpPr>
          <p:cNvPr id="2" name="タイトル 1"/>
          <p:cNvSpPr>
            <a:spLocks noGrp="1"/>
          </p:cNvSpPr>
          <p:nvPr>
            <p:ph type="title"/>
          </p:nvPr>
        </p:nvSpPr>
        <p:spPr>
          <a:xfrm>
            <a:off x="0" y="548680"/>
            <a:ext cx="9906000" cy="6029257"/>
          </a:xfrm>
        </p:spPr>
        <p:txBody>
          <a:bodyPr/>
          <a:lstStyle>
            <a:lvl1pPr algn="ctr">
              <a:defRPr sz="4000">
                <a:effectLst>
                  <a:outerShdw blurRad="38100" dist="38100" dir="2700000" algn="tl">
                    <a:srgbClr val="000000">
                      <a:alpha val="43137"/>
                    </a:srgbClr>
                  </a:outerShdw>
                </a:effectLst>
              </a:defRPr>
            </a:lvl1pPr>
          </a:lstStyle>
          <a:p>
            <a:r>
              <a:rPr kumimoji="1" lang="ja-JP" altLang="en-US" dirty="0"/>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Tree>
    <p:extLst>
      <p:ext uri="{BB962C8B-B14F-4D97-AF65-F5344CB8AC3E}">
        <p14:creationId xmlns:p14="http://schemas.microsoft.com/office/powerpoint/2010/main" val="23582731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5" name="タイトル 1"/>
          <p:cNvSpPr>
            <a:spLocks noGrp="1"/>
          </p:cNvSpPr>
          <p:nvPr>
            <p:ph type="title"/>
          </p:nvPr>
        </p:nvSpPr>
        <p:spPr/>
        <p:txBody>
          <a:bodyPr/>
          <a:lstStyle/>
          <a:p>
            <a:r>
              <a:rPr lang="ja-JP" altLang="en-US"/>
              <a:t>マスター タイトルの書式設定</a:t>
            </a:r>
          </a:p>
        </p:txBody>
      </p:sp>
      <p:sp>
        <p:nvSpPr>
          <p:cNvPr id="1046"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47"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48"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49" name="Rectangle 5"/>
          <p:cNvSpPr>
            <a:spLocks noGrp="1" noChangeArrowheads="1"/>
          </p:cNvSpPr>
          <p:nvPr>
            <p:ph type="sldNum" sz="quarter" idx="12"/>
          </p:nvPr>
        </p:nvSpPr>
        <p:spPr>
          <a:ln/>
        </p:spPr>
        <p:txBody>
          <a:bodyPr/>
          <a:lstStyle>
            <a:lvl1pPr>
              <a:defRPr/>
            </a:lvl1pPr>
          </a:lstStyle>
          <a:p>
            <a:pPr>
              <a:defRPr/>
            </a:pPr>
            <a:fld id="{6C407DE2-65C0-4056-926A-44C6A308E87C}" type="slidenum">
              <a:rPr lang="en-US" altLang="ja-JP"/>
              <a:pPr>
                <a:defRPr/>
              </a:pPr>
              <a:t>‹#›</a:t>
            </a:fld>
            <a:endParaRPr lang="en-US" altLang="ja-JP"/>
          </a:p>
        </p:txBody>
      </p:sp>
    </p:spTree>
    <p:extLst>
      <p:ext uri="{BB962C8B-B14F-4D97-AF65-F5344CB8AC3E}">
        <p14:creationId xmlns:p14="http://schemas.microsoft.com/office/powerpoint/2010/main" val="3763733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日本全土">
    <p:spTree>
      <p:nvGrpSpPr>
        <p:cNvPr id="1" name=""/>
        <p:cNvGrpSpPr/>
        <p:nvPr/>
      </p:nvGrpSpPr>
      <p:grpSpPr>
        <a:xfrm>
          <a:off x="0" y="0"/>
          <a:ext cx="0" cy="0"/>
          <a:chOff x="0" y="0"/>
          <a:chExt cx="0" cy="0"/>
        </a:xfrm>
      </p:grpSpPr>
      <p:pic>
        <p:nvPicPr>
          <p:cNvPr id="7" name="図 6"/>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568624" y="811451"/>
            <a:ext cx="5832649" cy="5688632"/>
          </a:xfrm>
          <a:prstGeom prst="rect">
            <a:avLst/>
          </a:prstGeom>
        </p:spPr>
      </p:pic>
      <p:pic>
        <p:nvPicPr>
          <p:cNvPr id="8" name="図 7"/>
          <p:cNvPicPr>
            <a:picLocks noChangeAspect="1"/>
          </p:cNvPicPr>
          <p:nvPr userDrawn="1"/>
        </p:nvPicPr>
        <p:blipFill>
          <a:blip r:embed="rId3"/>
          <a:stretch>
            <a:fillRect/>
          </a:stretch>
        </p:blipFill>
        <p:spPr>
          <a:xfrm>
            <a:off x="234660" y="846225"/>
            <a:ext cx="4153480" cy="2676899"/>
          </a:xfrm>
          <a:prstGeom prst="rect">
            <a:avLst/>
          </a:prstGeom>
        </p:spPr>
      </p:pic>
      <p:pic>
        <p:nvPicPr>
          <p:cNvPr id="9" name="図 8"/>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6130457" y="3892467"/>
            <a:ext cx="3783914" cy="3007786"/>
          </a:xfrm>
          <a:prstGeom prst="snipRoundRect">
            <a:avLst>
              <a:gd name="adj1" fmla="val 49999"/>
              <a:gd name="adj2" fmla="val 16667"/>
            </a:avLst>
          </a:prstGeom>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cxnSp>
        <p:nvCxnSpPr>
          <p:cNvPr id="11" name="直線コネクタ 10"/>
          <p:cNvCxnSpPr/>
          <p:nvPr userDrawn="1"/>
        </p:nvCxnSpPr>
        <p:spPr>
          <a:xfrm flipV="1">
            <a:off x="2055658" y="1840467"/>
            <a:ext cx="2619293" cy="1948573"/>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4" name="直線コネクタ 13"/>
          <p:cNvCxnSpPr/>
          <p:nvPr userDrawn="1"/>
        </p:nvCxnSpPr>
        <p:spPr>
          <a:xfrm flipV="1">
            <a:off x="5889104" y="3513858"/>
            <a:ext cx="2449017" cy="2570347"/>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7" name="直線コネクタ 16"/>
          <p:cNvCxnSpPr/>
          <p:nvPr userDrawn="1"/>
        </p:nvCxnSpPr>
        <p:spPr>
          <a:xfrm flipV="1">
            <a:off x="111658" y="3789040"/>
            <a:ext cx="1944000" cy="0"/>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8" name="直線コネクタ 17"/>
          <p:cNvCxnSpPr/>
          <p:nvPr userDrawn="1"/>
        </p:nvCxnSpPr>
        <p:spPr>
          <a:xfrm flipV="1">
            <a:off x="8337536" y="3513858"/>
            <a:ext cx="1476000" cy="0"/>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9" name="直線コネクタ 18"/>
          <p:cNvCxnSpPr/>
          <p:nvPr userDrawn="1"/>
        </p:nvCxnSpPr>
        <p:spPr>
          <a:xfrm flipV="1">
            <a:off x="4664968" y="620688"/>
            <a:ext cx="0" cy="1224000"/>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20" name="直線コネクタ 19"/>
          <p:cNvCxnSpPr/>
          <p:nvPr userDrawn="1"/>
        </p:nvCxnSpPr>
        <p:spPr>
          <a:xfrm flipV="1">
            <a:off x="4808984" y="7893496"/>
            <a:ext cx="0" cy="1800000"/>
          </a:xfrm>
          <a:prstGeom prst="line">
            <a:avLst/>
          </a:prstGeom>
          <a:ln w="3175">
            <a:solidFill>
              <a:schemeClr val="bg1">
                <a:lumMod val="50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6477205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空港分布図">
    <p:spTree>
      <p:nvGrpSpPr>
        <p:cNvPr id="1" name=""/>
        <p:cNvGrpSpPr/>
        <p:nvPr/>
      </p:nvGrpSpPr>
      <p:grpSpPr>
        <a:xfrm>
          <a:off x="0" y="0"/>
          <a:ext cx="0" cy="0"/>
          <a:chOff x="0" y="0"/>
          <a:chExt cx="0" cy="0"/>
        </a:xfrm>
      </p:grpSpPr>
      <p:grpSp>
        <p:nvGrpSpPr>
          <p:cNvPr id="6" name="グループ化 5"/>
          <p:cNvGrpSpPr>
            <a:grpSpLocks noChangeAspect="1"/>
          </p:cNvGrpSpPr>
          <p:nvPr userDrawn="1"/>
        </p:nvGrpSpPr>
        <p:grpSpPr>
          <a:xfrm>
            <a:off x="550884" y="620688"/>
            <a:ext cx="8820000" cy="6131642"/>
            <a:chOff x="-1570275" y="65198"/>
            <a:chExt cx="11882011" cy="8260346"/>
          </a:xfrm>
        </p:grpSpPr>
        <p:pic>
          <p:nvPicPr>
            <p:cNvPr id="7" name="図 6"/>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1570275" y="3501008"/>
              <a:ext cx="11809312" cy="4824536"/>
            </a:xfrm>
            <a:prstGeom prst="rect">
              <a:avLst/>
            </a:prstGeom>
          </p:spPr>
        </p:pic>
        <p:pic>
          <p:nvPicPr>
            <p:cNvPr id="8" name="図 7"/>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532926" y="65198"/>
              <a:ext cx="11844662" cy="5019986"/>
            </a:xfrm>
            <a:prstGeom prst="rect">
              <a:avLst/>
            </a:prstGeom>
          </p:spPr>
        </p:pic>
      </p:gr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
        <p:nvSpPr>
          <p:cNvPr id="9" name="正方形/長方形 8"/>
          <p:cNvSpPr/>
          <p:nvPr userDrawn="1"/>
        </p:nvSpPr>
        <p:spPr>
          <a:xfrm>
            <a:off x="578559" y="620688"/>
            <a:ext cx="3294321" cy="2736304"/>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Tree>
    <p:extLst>
      <p:ext uri="{BB962C8B-B14F-4D97-AF65-F5344CB8AC3E}">
        <p14:creationId xmlns:p14="http://schemas.microsoft.com/office/powerpoint/2010/main" val="19846839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北海道局管内鉄道図">
    <p:spTree>
      <p:nvGrpSpPr>
        <p:cNvPr id="1" name=""/>
        <p:cNvGrpSpPr/>
        <p:nvPr/>
      </p:nvGrpSpPr>
      <p:grpSpPr>
        <a:xfrm>
          <a:off x="0" y="0"/>
          <a:ext cx="0" cy="0"/>
          <a:chOff x="0" y="0"/>
          <a:chExt cx="0" cy="0"/>
        </a:xfrm>
      </p:grpSpPr>
      <p:pic>
        <p:nvPicPr>
          <p:cNvPr id="6" name="図 45"/>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1155700" y="624528"/>
            <a:ext cx="7594600" cy="6089472"/>
          </a:xfrm>
          <a:prstGeom prst="rect">
            <a:avLst/>
          </a:prstGeom>
        </p:spPr>
      </p:pic>
      <p:sp>
        <p:nvSpPr>
          <p:cNvPr id="7" name="正方形/長方形 6"/>
          <p:cNvSpPr/>
          <p:nvPr userDrawn="1"/>
        </p:nvSpPr>
        <p:spPr>
          <a:xfrm>
            <a:off x="578559" y="620688"/>
            <a:ext cx="3294321" cy="936104"/>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Tree>
    <p:extLst>
      <p:ext uri="{BB962C8B-B14F-4D97-AF65-F5344CB8AC3E}">
        <p14:creationId xmlns:p14="http://schemas.microsoft.com/office/powerpoint/2010/main" val="32597963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東北局管内鉄道図">
    <p:spTree>
      <p:nvGrpSpPr>
        <p:cNvPr id="1" name=""/>
        <p:cNvGrpSpPr/>
        <p:nvPr/>
      </p:nvGrpSpPr>
      <p:grpSpPr>
        <a:xfrm>
          <a:off x="0" y="0"/>
          <a:ext cx="0" cy="0"/>
          <a:chOff x="0" y="0"/>
          <a:chExt cx="0" cy="0"/>
        </a:xfrm>
      </p:grpSpPr>
      <p:pic>
        <p:nvPicPr>
          <p:cNvPr id="8" name="図 1"/>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3512840" y="627906"/>
            <a:ext cx="2880320" cy="6103584"/>
          </a:xfrm>
          <a:prstGeom prst="rect">
            <a:avLst/>
          </a:prstGeom>
          <a:solidFill>
            <a:schemeClr val="bg1"/>
          </a:solidFill>
        </p:spPr>
      </p:pic>
      <p:sp>
        <p:nvSpPr>
          <p:cNvPr id="7" name="正方形/長方形 6"/>
          <p:cNvSpPr/>
          <p:nvPr userDrawn="1"/>
        </p:nvSpPr>
        <p:spPr>
          <a:xfrm>
            <a:off x="3384550" y="627906"/>
            <a:ext cx="938471" cy="928886"/>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Tree>
    <p:extLst>
      <p:ext uri="{BB962C8B-B14F-4D97-AF65-F5344CB8AC3E}">
        <p14:creationId xmlns:p14="http://schemas.microsoft.com/office/powerpoint/2010/main" val="25762039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関東局管内鉄道図">
    <p:spTree>
      <p:nvGrpSpPr>
        <p:cNvPr id="1" name=""/>
        <p:cNvGrpSpPr/>
        <p:nvPr/>
      </p:nvGrpSpPr>
      <p:grpSpPr>
        <a:xfrm>
          <a:off x="0" y="0"/>
          <a:ext cx="0" cy="0"/>
          <a:chOff x="0" y="0"/>
          <a:chExt cx="0" cy="0"/>
        </a:xfrm>
      </p:grpSpPr>
      <p:pic>
        <p:nvPicPr>
          <p:cNvPr id="8" name="図 2"/>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1999754" y="589806"/>
            <a:ext cx="5906492" cy="6160721"/>
          </a:xfrm>
          <a:prstGeom prst="rect">
            <a:avLst/>
          </a:prstGeom>
          <a:solidFill>
            <a:schemeClr val="accent3"/>
          </a:solidFill>
          <a:ln>
            <a:noFill/>
            <a:prstDash val="solid"/>
          </a:ln>
        </p:spPr>
      </p:pic>
      <p:sp>
        <p:nvSpPr>
          <p:cNvPr id="7" name="正方形/長方形 6"/>
          <p:cNvSpPr/>
          <p:nvPr userDrawn="1"/>
        </p:nvSpPr>
        <p:spPr>
          <a:xfrm>
            <a:off x="2432720" y="6093296"/>
            <a:ext cx="2047811" cy="772640"/>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Tree>
    <p:extLst>
      <p:ext uri="{BB962C8B-B14F-4D97-AF65-F5344CB8AC3E}">
        <p14:creationId xmlns:p14="http://schemas.microsoft.com/office/powerpoint/2010/main" val="56685260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北信局管内鉄道図">
    <p:spTree>
      <p:nvGrpSpPr>
        <p:cNvPr id="1" name=""/>
        <p:cNvGrpSpPr/>
        <p:nvPr/>
      </p:nvGrpSpPr>
      <p:grpSpPr>
        <a:xfrm>
          <a:off x="0" y="0"/>
          <a:ext cx="0" cy="0"/>
          <a:chOff x="0" y="0"/>
          <a:chExt cx="0" cy="0"/>
        </a:xfrm>
      </p:grpSpPr>
      <p:pic>
        <p:nvPicPr>
          <p:cNvPr id="8" name="図 1"/>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1833089" y="548680"/>
            <a:ext cx="6239821" cy="6282766"/>
          </a:xfrm>
          <a:prstGeom prst="rect">
            <a:avLst/>
          </a:prstGeom>
          <a:solidFill>
            <a:sysClr val="window" lastClr="FFFFFF"/>
          </a:solidFill>
          <a:ln>
            <a:noFill/>
          </a:ln>
        </p:spPr>
      </p:pic>
      <p:sp>
        <p:nvSpPr>
          <p:cNvPr id="7" name="正方形/長方形 6"/>
          <p:cNvSpPr/>
          <p:nvPr userDrawn="1"/>
        </p:nvSpPr>
        <p:spPr>
          <a:xfrm>
            <a:off x="2144687" y="548680"/>
            <a:ext cx="1239863" cy="1098190"/>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Tree>
    <p:extLst>
      <p:ext uri="{BB962C8B-B14F-4D97-AF65-F5344CB8AC3E}">
        <p14:creationId xmlns:p14="http://schemas.microsoft.com/office/powerpoint/2010/main" val="373316296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中部局管内鉄道図">
    <p:spTree>
      <p:nvGrpSpPr>
        <p:cNvPr id="1" name=""/>
        <p:cNvGrpSpPr/>
        <p:nvPr/>
      </p:nvGrpSpPr>
      <p:grpSpPr>
        <a:xfrm>
          <a:off x="0" y="0"/>
          <a:ext cx="0" cy="0"/>
          <a:chOff x="0" y="0"/>
          <a:chExt cx="0" cy="0"/>
        </a:xfrm>
      </p:grpSpPr>
      <p:pic>
        <p:nvPicPr>
          <p:cNvPr id="76" name="図 2"/>
          <p:cNvPicPr>
            <a:picLocks noChangeAspect="1"/>
          </p:cNvPicPr>
          <p:nvPr/>
        </p:nvPicPr>
        <p:blipFill>
          <a:blip r:embed="rId2" cstate="hqprint">
            <a:extLst>
              <a:ext uri="{28A0092B-C50C-407E-A947-70E740481C1C}">
                <a14:useLocalDpi xmlns:a14="http://schemas.microsoft.com/office/drawing/2010/main"/>
              </a:ext>
            </a:extLst>
          </a:blip>
          <a:srcRect/>
          <a:stretch>
            <a:fillRect/>
          </a:stretch>
        </p:blipFill>
        <p:spPr>
          <a:xfrm>
            <a:off x="1868956" y="594000"/>
            <a:ext cx="6168087" cy="6264000"/>
          </a:xfrm>
          <a:prstGeom prst="rect">
            <a:avLst/>
          </a:prstGeom>
          <a:solidFill>
            <a:srgbClr val="FF2D2D"/>
          </a:solidFill>
          <a:ln>
            <a:noFill/>
          </a:ln>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
        <p:nvSpPr>
          <p:cNvPr id="78" name="正方形/長方形 77"/>
          <p:cNvSpPr/>
          <p:nvPr userDrawn="1"/>
        </p:nvSpPr>
        <p:spPr>
          <a:xfrm>
            <a:off x="5457056" y="594000"/>
            <a:ext cx="823541" cy="665213"/>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Tree>
    <p:extLst>
      <p:ext uri="{BB962C8B-B14F-4D97-AF65-F5344CB8AC3E}">
        <p14:creationId xmlns:p14="http://schemas.microsoft.com/office/powerpoint/2010/main" val="31239705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近畿局管内鉄道図">
    <p:spTree>
      <p:nvGrpSpPr>
        <p:cNvPr id="1" name=""/>
        <p:cNvGrpSpPr/>
        <p:nvPr/>
      </p:nvGrpSpPr>
      <p:grpSpPr>
        <a:xfrm>
          <a:off x="0" y="0"/>
          <a:ext cx="0" cy="0"/>
          <a:chOff x="0" y="0"/>
          <a:chExt cx="0" cy="0"/>
        </a:xfrm>
      </p:grpSpPr>
      <p:pic>
        <p:nvPicPr>
          <p:cNvPr id="8" name="図 2"/>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2356161" y="616065"/>
            <a:ext cx="5193677" cy="6241935"/>
          </a:xfrm>
          <a:prstGeom prst="rect">
            <a:avLst/>
          </a:prstGeom>
          <a:solidFill>
            <a:schemeClr val="bg1"/>
          </a:solidFill>
          <a:ln>
            <a:noFill/>
          </a:ln>
        </p:spPr>
      </p:pic>
      <p:sp>
        <p:nvSpPr>
          <p:cNvPr id="7" name="正方形/長方形 6"/>
          <p:cNvSpPr/>
          <p:nvPr userDrawn="1"/>
        </p:nvSpPr>
        <p:spPr>
          <a:xfrm>
            <a:off x="2576736" y="4005064"/>
            <a:ext cx="1381824" cy="576064"/>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10" name="正方形/長方形 9"/>
          <p:cNvSpPr/>
          <p:nvPr userDrawn="1"/>
        </p:nvSpPr>
        <p:spPr>
          <a:xfrm>
            <a:off x="2576736" y="4581128"/>
            <a:ext cx="936104" cy="2276872"/>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11" name="正方形/長方形 10"/>
          <p:cNvSpPr/>
          <p:nvPr userDrawn="1"/>
        </p:nvSpPr>
        <p:spPr>
          <a:xfrm>
            <a:off x="3507166" y="6309319"/>
            <a:ext cx="1229809" cy="540743"/>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sp>
        <p:nvSpPr>
          <p:cNvPr id="9" name="正方形/長方形 8"/>
          <p:cNvSpPr/>
          <p:nvPr userDrawn="1"/>
        </p:nvSpPr>
        <p:spPr>
          <a:xfrm>
            <a:off x="2000672" y="607947"/>
            <a:ext cx="3294321" cy="45719"/>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Tree>
    <p:extLst>
      <p:ext uri="{BB962C8B-B14F-4D97-AF65-F5344CB8AC3E}">
        <p14:creationId xmlns:p14="http://schemas.microsoft.com/office/powerpoint/2010/main" val="15659331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5" name="タイトル 1"/>
          <p:cNvSpPr>
            <a:spLocks noGrp="1"/>
          </p:cNvSpPr>
          <p:nvPr>
            <p:ph type="title"/>
          </p:nvPr>
        </p:nvSpPr>
        <p:spPr/>
        <p:txBody>
          <a:bodyPr/>
          <a:lstStyle/>
          <a:p>
            <a:r>
              <a:rPr lang="ja-JP" altLang="en-US"/>
              <a:t>マスター タイトルの書式設定</a:t>
            </a:r>
          </a:p>
        </p:txBody>
      </p:sp>
      <p:sp>
        <p:nvSpPr>
          <p:cNvPr id="1046"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47"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48"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49" name="Rectangle 5"/>
          <p:cNvSpPr>
            <a:spLocks noGrp="1" noChangeArrowheads="1"/>
          </p:cNvSpPr>
          <p:nvPr>
            <p:ph type="sldNum" sz="quarter" idx="12"/>
          </p:nvPr>
        </p:nvSpPr>
        <p:spPr>
          <a:ln/>
        </p:spPr>
        <p:txBody>
          <a:bodyPr/>
          <a:lstStyle>
            <a:lvl1pPr>
              <a:defRPr/>
            </a:lvl1pPr>
          </a:lstStyle>
          <a:p>
            <a:pPr>
              <a:defRPr/>
            </a:pPr>
            <a:fld id="{6C407DE2-65C0-4056-926A-44C6A308E87C}" type="slidenum">
              <a:rPr lang="en-US" altLang="ja-JP"/>
              <a:pPr>
                <a:defRPr/>
              </a:pPr>
              <a:t>‹#›</a:t>
            </a:fld>
            <a:endParaRPr lang="en-US" altLang="ja-JP"/>
          </a:p>
        </p:txBody>
      </p:sp>
    </p:spTree>
    <p:extLst>
      <p:ext uri="{BB962C8B-B14F-4D97-AF65-F5344CB8AC3E}">
        <p14:creationId xmlns:p14="http://schemas.microsoft.com/office/powerpoint/2010/main" val="40241205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中国局管内鉄道図">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pic>
        <p:nvPicPr>
          <p:cNvPr id="6" name="図 2"/>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376008" y="1700808"/>
            <a:ext cx="9153984" cy="4101318"/>
          </a:xfrm>
          <a:prstGeom prst="rect">
            <a:avLst/>
          </a:prstGeom>
          <a:solidFill>
            <a:sysClr val="windowText" lastClr="000000"/>
          </a:solidFill>
          <a:ln>
            <a:noFill/>
          </a:ln>
        </p:spPr>
      </p:pic>
    </p:spTree>
    <p:extLst>
      <p:ext uri="{BB962C8B-B14F-4D97-AF65-F5344CB8AC3E}">
        <p14:creationId xmlns:p14="http://schemas.microsoft.com/office/powerpoint/2010/main" val="1268917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四国局管内鉄道図">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pic>
        <p:nvPicPr>
          <p:cNvPr id="6" name="図 1"/>
          <p:cNvPicPr>
            <a:picLocks noChangeAspect="1"/>
          </p:cNvPicPr>
          <p:nvPr userDrawn="1"/>
        </p:nvPicPr>
        <p:blipFill>
          <a:blip r:embed="rId2" cstate="hqprint">
            <a:extLst>
              <a:ext uri="{28A0092B-C50C-407E-A947-70E740481C1C}">
                <a14:useLocalDpi xmlns:a14="http://schemas.microsoft.com/office/drawing/2010/main"/>
              </a:ext>
            </a:extLst>
          </a:blip>
          <a:srcRect/>
          <a:stretch>
            <a:fillRect/>
          </a:stretch>
        </p:blipFill>
        <p:spPr>
          <a:xfrm>
            <a:off x="813122" y="1215086"/>
            <a:ext cx="8279755" cy="4687803"/>
          </a:xfrm>
          <a:prstGeom prst="rect">
            <a:avLst/>
          </a:prstGeom>
        </p:spPr>
      </p:pic>
    </p:spTree>
    <p:extLst>
      <p:ext uri="{BB962C8B-B14F-4D97-AF65-F5344CB8AC3E}">
        <p14:creationId xmlns:p14="http://schemas.microsoft.com/office/powerpoint/2010/main" val="8345110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九州局管内鉄道図">
    <p:spTree>
      <p:nvGrpSpPr>
        <p:cNvPr id="1" name=""/>
        <p:cNvGrpSpPr/>
        <p:nvPr/>
      </p:nvGrpSpPr>
      <p:grpSpPr>
        <a:xfrm>
          <a:off x="0" y="0"/>
          <a:ext cx="0" cy="0"/>
          <a:chOff x="0" y="0"/>
          <a:chExt cx="0" cy="0"/>
        </a:xfrm>
      </p:grpSpPr>
      <p:pic>
        <p:nvPicPr>
          <p:cNvPr id="15" name="図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7401272" y="3330293"/>
            <a:ext cx="1961228" cy="3238305"/>
          </a:xfrm>
          <a:prstGeom prst="rect">
            <a:avLst/>
          </a:prstGeom>
          <a:noFill/>
          <a:ln>
            <a:noFill/>
            <a:prstDash val="solid"/>
          </a:ln>
        </p:spPr>
      </p:pic>
      <p:pic>
        <p:nvPicPr>
          <p:cNvPr id="7" name="図 2"/>
          <p:cNvPicPr>
            <a:picLocks noChangeAspect="1"/>
          </p:cNvPicPr>
          <p:nvPr userDrawn="1"/>
        </p:nvPicPr>
        <p:blipFill>
          <a:blip r:embed="rId3" cstate="hqprint">
            <a:extLst>
              <a:ext uri="{28A0092B-C50C-407E-A947-70E740481C1C}">
                <a14:useLocalDpi xmlns:a14="http://schemas.microsoft.com/office/drawing/2010/main"/>
              </a:ext>
            </a:extLst>
          </a:blip>
          <a:srcRect/>
          <a:stretch>
            <a:fillRect/>
          </a:stretch>
        </p:blipFill>
        <p:spPr>
          <a:xfrm>
            <a:off x="2504728" y="609382"/>
            <a:ext cx="4724391" cy="6256555"/>
          </a:xfrm>
          <a:prstGeom prst="rect">
            <a:avLst/>
          </a:prstGeom>
          <a:noFill/>
          <a:ln>
            <a:noFill/>
            <a:prstDash val="solid"/>
          </a:ln>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5" name="スライド番号プレースホルダー 4"/>
          <p:cNvSpPr>
            <a:spLocks noGrp="1"/>
          </p:cNvSpPr>
          <p:nvPr>
            <p:ph type="sldNum" sz="quarter" idx="12"/>
          </p:nvPr>
        </p:nvSpPr>
        <p:spPr/>
        <p:txBody>
          <a:bodyPr/>
          <a:lstStyle/>
          <a:p>
            <a:pPr>
              <a:defRPr/>
            </a:pPr>
            <a:fld id="{CA1AF5DB-AE8E-46F2-99A8-A16EDB727E4B}" type="slidenum">
              <a:rPr lang="en-US" altLang="ja-JP" smtClean="0"/>
              <a:pPr>
                <a:defRPr/>
              </a:pPr>
              <a:t>‹#›</a:t>
            </a:fld>
            <a:endParaRPr lang="en-US" altLang="ja-JP" dirty="0"/>
          </a:p>
        </p:txBody>
      </p:sp>
      <p:pic>
        <p:nvPicPr>
          <p:cNvPr id="17" name="図 8"/>
          <p:cNvPicPr>
            <a:picLocks noChangeAspect="1"/>
          </p:cNvPicPr>
          <p:nvPr userDrawn="1"/>
        </p:nvPicPr>
        <p:blipFill>
          <a:blip r:embed="rId4"/>
          <a:stretch>
            <a:fillRect/>
          </a:stretch>
        </p:blipFill>
        <p:spPr>
          <a:xfrm>
            <a:off x="9931617" y="8419306"/>
            <a:ext cx="1823498" cy="859978"/>
          </a:xfrm>
          <a:prstGeom prst="rect">
            <a:avLst/>
          </a:prstGeom>
        </p:spPr>
      </p:pic>
      <p:sp>
        <p:nvSpPr>
          <p:cNvPr id="19" name="正方形/長方形 18"/>
          <p:cNvSpPr/>
          <p:nvPr userDrawn="1"/>
        </p:nvSpPr>
        <p:spPr>
          <a:xfrm>
            <a:off x="5460713" y="609382"/>
            <a:ext cx="1494444" cy="443354"/>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1" name="平行四辺形 20"/>
          <p:cNvSpPr/>
          <p:nvPr userDrawn="1"/>
        </p:nvSpPr>
        <p:spPr>
          <a:xfrm>
            <a:off x="5425958" y="3330292"/>
            <a:ext cx="2682983" cy="3527707"/>
          </a:xfrm>
          <a:prstGeom prst="parallelogram">
            <a:avLst>
              <a:gd name="adj" fmla="val 43397"/>
            </a:avLst>
          </a:prstGeom>
          <a:solidFill>
            <a:schemeClr val="bg1"/>
          </a:solidFill>
          <a:ln>
            <a:no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3" name="平行四辺形 22"/>
          <p:cNvSpPr/>
          <p:nvPr userDrawn="1"/>
        </p:nvSpPr>
        <p:spPr>
          <a:xfrm>
            <a:off x="5737874" y="4149080"/>
            <a:ext cx="940122" cy="1681113"/>
          </a:xfrm>
          <a:prstGeom prst="parallelogram">
            <a:avLst>
              <a:gd name="adj" fmla="val 50292"/>
            </a:avLst>
          </a:prstGeom>
          <a:solidFill>
            <a:schemeClr val="bg1"/>
          </a:solidFill>
          <a:ln>
            <a:no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4" name="正方形/長方形 23"/>
          <p:cNvSpPr/>
          <p:nvPr userDrawn="1"/>
        </p:nvSpPr>
        <p:spPr>
          <a:xfrm>
            <a:off x="2426402" y="6414645"/>
            <a:ext cx="250479" cy="443354"/>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
        <p:nvSpPr>
          <p:cNvPr id="25" name="正方形/長方形 24"/>
          <p:cNvSpPr/>
          <p:nvPr userDrawn="1"/>
        </p:nvSpPr>
        <p:spPr>
          <a:xfrm>
            <a:off x="8194670" y="4293096"/>
            <a:ext cx="862786" cy="72008"/>
          </a:xfrm>
          <a:prstGeom prst="rect">
            <a:avLst/>
          </a:prstGeom>
          <a:solidFill>
            <a:schemeClr val="accent3"/>
          </a:solidFill>
          <a:ln>
            <a:solidFill>
              <a:schemeClr val="bg1"/>
            </a:solidFill>
          </a:ln>
          <a:effectLst/>
        </p:spPr>
        <p:txBody>
          <a:bodyPr vertOverflow="overflow" horzOverflow="overflow" wrap="none" numCol="1" rtlCol="0" anchor="ctr" anchorCtr="0" compatLnSpc="1"/>
          <a:lstStyle/>
          <a:p>
            <a:pPr marL="0" marR="0" indent="0" algn="ctr" defTabSz="914400" rtl="0" eaLnBrk="1" fontAlgn="base" latinLnBrk="0" hangingPunct="1">
              <a:lnSpc>
                <a:spcPct val="100000"/>
              </a:lnSpc>
              <a:spcBef>
                <a:spcPct val="0"/>
              </a:spcBef>
              <a:spcAft>
                <a:spcPct val="0"/>
              </a:spcAft>
            </a:pPr>
            <a:endParaRPr kumimoji="1" lang="ja-JP" altLang="en-US" sz="1800" b="0" i="0" u="none" strike="noStrike" cap="none" normalizeH="0" baseline="0">
              <a:ln>
                <a:noFill/>
              </a:ln>
              <a:solidFill>
                <a:schemeClr val="tx1"/>
              </a:solidFill>
              <a:effectLst/>
              <a:latin typeface="Arial"/>
              <a:ea typeface="ＭＳ Ｐゴシック"/>
            </a:endParaRPr>
          </a:p>
        </p:txBody>
      </p:sp>
    </p:spTree>
    <p:extLst>
      <p:ext uri="{BB962C8B-B14F-4D97-AF65-F5344CB8AC3E}">
        <p14:creationId xmlns:p14="http://schemas.microsoft.com/office/powerpoint/2010/main" val="32111076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1238" name="Picture 20" descr="ppjtitle"/>
          <p:cNvPicPr>
            <a:picLocks noChangeAspect="1" noChangeArrowheads="1"/>
          </p:cNvPicPr>
          <p:nvPr userDrawn="1"/>
        </p:nvPicPr>
        <p:blipFill>
          <a:blip r:embed="rId2"/>
          <a:stretch>
            <a:fillRect/>
          </a:stretch>
        </p:blipFill>
        <p:spPr>
          <a:xfrm>
            <a:off x="0" y="6076950"/>
            <a:ext cx="9921875" cy="781050"/>
          </a:xfrm>
          <a:prstGeom prst="rect">
            <a:avLst/>
          </a:prstGeom>
          <a:noFill/>
          <a:ln w="9525">
            <a:noFill/>
            <a:miter lim="800000"/>
            <a:headEnd/>
            <a:tailEnd/>
          </a:ln>
        </p:spPr>
      </p:pic>
      <p:sp>
        <p:nvSpPr>
          <p:cNvPr id="1239" name="Rectangle 14"/>
          <p:cNvSpPr>
            <a:spLocks noChangeArrowheads="1"/>
          </p:cNvSpPr>
          <p:nvPr userDrawn="1"/>
        </p:nvSpPr>
        <p:spPr>
          <a:xfrm>
            <a:off x="1833563" y="3284538"/>
            <a:ext cx="8072437" cy="73025"/>
          </a:xfrm>
          <a:prstGeom prst="rect">
            <a:avLst/>
          </a:prstGeom>
          <a:solidFill>
            <a:srgbClr val="FF0000"/>
          </a:solidFill>
          <a:ln w="9525">
            <a:noFill/>
            <a:miter lim="800000"/>
            <a:headEnd/>
            <a:tailEnd/>
          </a:ln>
          <a:effectLst/>
        </p:spPr>
        <p:txBody>
          <a:bodyPr wrap="none" anchor="ctr"/>
          <a:lstStyle/>
          <a:p>
            <a:pPr algn="ctr">
              <a:defRPr/>
            </a:pPr>
            <a:endParaRPr lang="ja-JP" altLang="en-US">
              <a:solidFill>
                <a:srgbClr val="000000"/>
              </a:solidFill>
              <a:latin typeface="Arial" panose="020B0604020202020204"/>
            </a:endParaRPr>
          </a:p>
        </p:txBody>
      </p:sp>
      <p:sp>
        <p:nvSpPr>
          <p:cNvPr id="1240" name="Rectangle 3"/>
          <p:cNvSpPr>
            <a:spLocks noGrp="1" noChangeArrowheads="1"/>
          </p:cNvSpPr>
          <p:nvPr>
            <p:ph type="ctrTitle"/>
          </p:nvPr>
        </p:nvSpPr>
        <p:spPr>
          <a:xfrm>
            <a:off x="1784350" y="2133600"/>
            <a:ext cx="8121650" cy="1470025"/>
          </a:xfrm>
        </p:spPr>
        <p:txBody>
          <a:bodyPr/>
          <a:lstStyle>
            <a:lvl1pPr>
              <a:defRPr sz="4000"/>
            </a:lvl1pPr>
          </a:lstStyle>
          <a:p>
            <a:r>
              <a:rPr lang="ja-JP" altLang="en-US"/>
              <a:t>マスタ タイトルの書式設定</a:t>
            </a:r>
          </a:p>
        </p:txBody>
      </p:sp>
      <p:sp>
        <p:nvSpPr>
          <p:cNvPr id="1241"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国土交通省　観光庁</a:t>
            </a:r>
          </a:p>
          <a:p>
            <a:r>
              <a:rPr lang="ja-JP" altLang="en-US"/>
              <a:t>○○課</a:t>
            </a:r>
          </a:p>
          <a:p>
            <a:r>
              <a:rPr lang="ja-JP" altLang="en-US"/>
              <a:t>平成○○年○○月</a:t>
            </a:r>
          </a:p>
        </p:txBody>
      </p:sp>
      <p:sp>
        <p:nvSpPr>
          <p:cNvPr id="1242" name="Rectangle 5"/>
          <p:cNvSpPr>
            <a:spLocks noGrp="1" noChangeArrowheads="1"/>
          </p:cNvSpPr>
          <p:nvPr>
            <p:ph type="dt" sz="half" idx="10"/>
          </p:nvPr>
        </p:nvSpPr>
        <p:spPr/>
        <p:txBody>
          <a:bodyPr/>
          <a:lstStyle>
            <a:lvl1pPr>
              <a:defRPr/>
            </a:lvl1pPr>
          </a:lstStyle>
          <a:p>
            <a:pPr>
              <a:defRPr/>
            </a:pPr>
            <a:endParaRPr lang="en-US" altLang="ja-JP">
              <a:solidFill>
                <a:srgbClr val="000000"/>
              </a:solidFill>
            </a:endParaRPr>
          </a:p>
        </p:txBody>
      </p:sp>
      <p:sp>
        <p:nvSpPr>
          <p:cNvPr id="1243" name="Rectangle 6"/>
          <p:cNvSpPr>
            <a:spLocks noGrp="1" noChangeArrowheads="1"/>
          </p:cNvSpPr>
          <p:nvPr>
            <p:ph type="ftr" sz="quarter" idx="11"/>
          </p:nvPr>
        </p:nvSpPr>
        <p:spPr/>
        <p:txBody>
          <a:bodyPr/>
          <a:lstStyle>
            <a:lvl1pPr>
              <a:defRPr/>
            </a:lvl1pPr>
          </a:lstStyle>
          <a:p>
            <a:pPr>
              <a:defRPr/>
            </a:pPr>
            <a:endParaRPr lang="en-US" altLang="ja-JP">
              <a:solidFill>
                <a:srgbClr val="000000"/>
              </a:solidFill>
            </a:endParaRPr>
          </a:p>
        </p:txBody>
      </p:sp>
      <p:sp>
        <p:nvSpPr>
          <p:cNvPr id="1244" name="Rectangle 7"/>
          <p:cNvSpPr>
            <a:spLocks noGrp="1" noChangeArrowheads="1"/>
          </p:cNvSpPr>
          <p:nvPr>
            <p:ph type="sldNum" sz="quarter" idx="12"/>
          </p:nvPr>
        </p:nvSpPr>
        <p:spPr>
          <a:xfrm>
            <a:off x="7099300" y="6245225"/>
            <a:ext cx="2311400" cy="476250"/>
          </a:xfrm>
        </p:spPr>
        <p:txBody>
          <a:bodyPr/>
          <a:lstStyle>
            <a:lvl1pPr>
              <a:defRPr/>
            </a:lvl1pPr>
          </a:lstStyle>
          <a:p>
            <a:pPr>
              <a:defRPr/>
            </a:pPr>
            <a:fld id="{30D688EB-AAD2-4D75-B846-AEEE14CEC947}"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42623524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246" name="タイトル 1"/>
          <p:cNvSpPr>
            <a:spLocks noGrp="1"/>
          </p:cNvSpPr>
          <p:nvPr>
            <p:ph type="title"/>
          </p:nvPr>
        </p:nvSpPr>
        <p:spPr/>
        <p:txBody>
          <a:bodyPr/>
          <a:lstStyle/>
          <a:p>
            <a:r>
              <a:rPr lang="ja-JP" altLang="en-US"/>
              <a:t>マスタ タイトルの書式設定</a:t>
            </a:r>
          </a:p>
        </p:txBody>
      </p:sp>
      <p:sp>
        <p:nvSpPr>
          <p:cNvPr id="1247"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48"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249"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250" name="Rectangle 5"/>
          <p:cNvSpPr>
            <a:spLocks noGrp="1" noChangeArrowheads="1"/>
          </p:cNvSpPr>
          <p:nvPr>
            <p:ph type="sldNum" sz="quarter" idx="12"/>
          </p:nvPr>
        </p:nvSpPr>
        <p:spPr>
          <a:ln/>
        </p:spPr>
        <p:txBody>
          <a:bodyPr/>
          <a:lstStyle>
            <a:lvl1pPr>
              <a:defRPr/>
            </a:lvl1pPr>
          </a:lstStyle>
          <a:p>
            <a:pPr>
              <a:defRPr/>
            </a:pPr>
            <a:fld id="{314B62DA-A87B-4D13-9D4B-DA005EEC525C}"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91661508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252" name="タイトル 1"/>
          <p:cNvSpPr>
            <a:spLocks noGrp="1"/>
          </p:cNvSpPr>
          <p:nvPr>
            <p:ph type="title"/>
          </p:nvPr>
        </p:nvSpPr>
        <p:spPr>
          <a:xfrm>
            <a:off x="782638" y="4406900"/>
            <a:ext cx="8420100" cy="1362075"/>
          </a:xfrm>
        </p:spPr>
        <p:txBody>
          <a:bodyPr anchor="t"/>
          <a:lstStyle>
            <a:lvl1pPr algn="l">
              <a:defRPr sz="4000" b="1" cap="all"/>
            </a:lvl1pPr>
          </a:lstStyle>
          <a:p>
            <a:r>
              <a:rPr lang="ja-JP" altLang="en-US"/>
              <a:t>マスタ タイトルの書式設定</a:t>
            </a:r>
          </a:p>
        </p:txBody>
      </p:sp>
      <p:sp>
        <p:nvSpPr>
          <p:cNvPr id="1253" name="テキスト プレースホルダ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254"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25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256" name="Rectangle 5"/>
          <p:cNvSpPr>
            <a:spLocks noGrp="1" noChangeArrowheads="1"/>
          </p:cNvSpPr>
          <p:nvPr>
            <p:ph type="sldNum" sz="quarter" idx="12"/>
          </p:nvPr>
        </p:nvSpPr>
        <p:spPr>
          <a:ln/>
        </p:spPr>
        <p:txBody>
          <a:bodyPr/>
          <a:lstStyle>
            <a:lvl1pPr>
              <a:defRPr/>
            </a:lvl1pPr>
          </a:lstStyle>
          <a:p>
            <a:pPr>
              <a:defRPr/>
            </a:pPr>
            <a:fld id="{EDC5BC70-FA7B-4294-9407-7D831E2620EF}"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25643803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258" name="タイトル 1"/>
          <p:cNvSpPr>
            <a:spLocks noGrp="1"/>
          </p:cNvSpPr>
          <p:nvPr>
            <p:ph type="title"/>
          </p:nvPr>
        </p:nvSpPr>
        <p:spPr/>
        <p:txBody>
          <a:bodyPr/>
          <a:lstStyle/>
          <a:p>
            <a:r>
              <a:rPr lang="ja-JP" altLang="en-US"/>
              <a:t>マスタ タイトルの書式設定</a:t>
            </a:r>
          </a:p>
        </p:txBody>
      </p:sp>
      <p:sp>
        <p:nvSpPr>
          <p:cNvPr id="1259" name="コンテンツ プレースホルダ 2"/>
          <p:cNvSpPr>
            <a:spLocks noGrp="1"/>
          </p:cNvSpPr>
          <p:nvPr>
            <p:ph sz="half" idx="1"/>
          </p:nvPr>
        </p:nvSpPr>
        <p:spPr>
          <a:xfrm>
            <a:off x="495300" y="1600200"/>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60" name="コンテンツ プレースホルダ 3"/>
          <p:cNvSpPr>
            <a:spLocks noGrp="1"/>
          </p:cNvSpPr>
          <p:nvPr>
            <p:ph sz="half" idx="2"/>
          </p:nvPr>
        </p:nvSpPr>
        <p:spPr>
          <a:xfrm>
            <a:off x="5029200" y="1600200"/>
            <a:ext cx="43815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61"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262"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263" name="Rectangle 5"/>
          <p:cNvSpPr>
            <a:spLocks noGrp="1" noChangeArrowheads="1"/>
          </p:cNvSpPr>
          <p:nvPr>
            <p:ph type="sldNum" sz="quarter" idx="12"/>
          </p:nvPr>
        </p:nvSpPr>
        <p:spPr>
          <a:ln/>
        </p:spPr>
        <p:txBody>
          <a:bodyPr/>
          <a:lstStyle>
            <a:lvl1pPr>
              <a:defRPr/>
            </a:lvl1pPr>
          </a:lstStyle>
          <a:p>
            <a:pPr>
              <a:defRPr/>
            </a:pPr>
            <a:fld id="{B9B91FFC-4712-4403-B14F-65B4292339A5}"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8735092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265" name="タイトル 1"/>
          <p:cNvSpPr>
            <a:spLocks noGrp="1"/>
          </p:cNvSpPr>
          <p:nvPr>
            <p:ph type="title"/>
          </p:nvPr>
        </p:nvSpPr>
        <p:spPr>
          <a:xfrm>
            <a:off x="495300" y="274638"/>
            <a:ext cx="8915400" cy="1143000"/>
          </a:xfrm>
        </p:spPr>
        <p:txBody>
          <a:bodyPr/>
          <a:lstStyle>
            <a:lvl1pPr>
              <a:defRPr/>
            </a:lvl1pPr>
          </a:lstStyle>
          <a:p>
            <a:r>
              <a:rPr lang="ja-JP" altLang="en-US"/>
              <a:t>マスタ タイトルの書式設定</a:t>
            </a:r>
          </a:p>
        </p:txBody>
      </p:sp>
      <p:sp>
        <p:nvSpPr>
          <p:cNvPr id="1266" name="テキスト プレースホルダ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267" name="コンテンツ プレースホルダ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68" name="テキスト プレースホルダ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269" name="コンテンツ プレースホルダ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70"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271"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272" name="Rectangle 5"/>
          <p:cNvSpPr>
            <a:spLocks noGrp="1" noChangeArrowheads="1"/>
          </p:cNvSpPr>
          <p:nvPr>
            <p:ph type="sldNum" sz="quarter" idx="12"/>
          </p:nvPr>
        </p:nvSpPr>
        <p:spPr>
          <a:ln/>
        </p:spPr>
        <p:txBody>
          <a:bodyPr/>
          <a:lstStyle>
            <a:lvl1pPr>
              <a:defRPr/>
            </a:lvl1pPr>
          </a:lstStyle>
          <a:p>
            <a:pPr>
              <a:defRPr/>
            </a:pPr>
            <a:fld id="{04BD6A6C-8CFC-4569-AAE2-C9E9C43E822E}"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8108326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274" name="タイトル 1"/>
          <p:cNvSpPr>
            <a:spLocks noGrp="1"/>
          </p:cNvSpPr>
          <p:nvPr>
            <p:ph type="title"/>
          </p:nvPr>
        </p:nvSpPr>
        <p:spPr/>
        <p:txBody>
          <a:bodyPr/>
          <a:lstStyle/>
          <a:p>
            <a:r>
              <a:rPr lang="ja-JP" altLang="en-US"/>
              <a:t>マスタ タイトルの書式設定</a:t>
            </a:r>
          </a:p>
        </p:txBody>
      </p:sp>
      <p:sp>
        <p:nvSpPr>
          <p:cNvPr id="1275"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276"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277" name="Rectangle 5"/>
          <p:cNvSpPr>
            <a:spLocks noGrp="1" noChangeArrowheads="1"/>
          </p:cNvSpPr>
          <p:nvPr>
            <p:ph type="sldNum" sz="quarter" idx="12"/>
          </p:nvPr>
        </p:nvSpPr>
        <p:spPr>
          <a:ln/>
        </p:spPr>
        <p:txBody>
          <a:bodyPr/>
          <a:lstStyle>
            <a:lvl1pPr>
              <a:defRPr/>
            </a:lvl1pPr>
          </a:lstStyle>
          <a:p>
            <a:pPr>
              <a:defRPr/>
            </a:pPr>
            <a:fld id="{6C8B3383-B952-447B-9C5E-1900D707C22A}"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52724939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279"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280"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281" name="Rectangle 5"/>
          <p:cNvSpPr>
            <a:spLocks noGrp="1" noChangeArrowheads="1"/>
          </p:cNvSpPr>
          <p:nvPr>
            <p:ph type="sldNum" sz="quarter" idx="12"/>
          </p:nvPr>
        </p:nvSpPr>
        <p:spPr>
          <a:ln/>
        </p:spPr>
        <p:txBody>
          <a:bodyPr/>
          <a:lstStyle>
            <a:lvl1pPr>
              <a:defRPr/>
            </a:lvl1pPr>
          </a:lstStyle>
          <a:p>
            <a:pPr>
              <a:defRPr/>
            </a:pPr>
            <a:fld id="{371BF862-F8CF-4645-B5BC-AB0B0FF1A332}"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8948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1073" name="タイトル 1"/>
          <p:cNvSpPr>
            <a:spLocks noGrp="1"/>
          </p:cNvSpPr>
          <p:nvPr>
            <p:ph type="title"/>
          </p:nvPr>
        </p:nvSpPr>
        <p:spPr/>
        <p:txBody>
          <a:bodyPr/>
          <a:lstStyle/>
          <a:p>
            <a:r>
              <a:rPr lang="ja-JP" altLang="en-US"/>
              <a:t>マスタ タイトルの書式設定</a:t>
            </a:r>
          </a:p>
        </p:txBody>
      </p:sp>
      <p:sp>
        <p:nvSpPr>
          <p:cNvPr id="1074" name="Rectangle 3"/>
          <p:cNvSpPr>
            <a:spLocks noGrp="1" noChangeArrowheads="1"/>
          </p:cNvSpPr>
          <p:nvPr>
            <p:ph type="dt" sz="half" idx="10"/>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1075" name="Rectangle 4"/>
          <p:cNvSpPr>
            <a:spLocks noGrp="1" noChangeArrowheads="1"/>
          </p:cNvSpPr>
          <p:nvPr>
            <p:ph type="ftr" sz="quarter" idx="11"/>
          </p:nvPr>
        </p:nvSpPr>
        <p:spPr/>
        <p:txBody>
          <a:bodyPr/>
          <a:lstStyle>
            <a:lvl1pPr>
              <a:defRPr/>
            </a:lvl1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4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
        <p:nvSpPr>
          <p:cNvPr id="1076" name="Rectangle 5"/>
          <p:cNvSpPr>
            <a:spLocks noGrp="1" noChangeArrowheads="1"/>
          </p:cNvSpPr>
          <p:nvPr>
            <p:ph type="sldNum" sz="quarter" idx="12"/>
          </p:nvPr>
        </p:nvSpPr>
        <p:spPr/>
        <p:txBody>
          <a:bodyPr/>
          <a:lstStyle>
            <a:lvl1pPr>
              <a:defRPr/>
            </a:lvl1pPr>
          </a:lstStyle>
          <a:p>
            <a:pPr marL="0" marR="0" lvl="0" indent="0" algn="r" defTabSz="914400" rtl="0" eaLnBrk="0" fontAlgn="base" latinLnBrk="0" hangingPunct="0">
              <a:lnSpc>
                <a:spcPct val="100000"/>
              </a:lnSpc>
              <a:spcBef>
                <a:spcPct val="0"/>
              </a:spcBef>
              <a:spcAft>
                <a:spcPct val="0"/>
              </a:spcAft>
              <a:buClrTx/>
              <a:buSzTx/>
              <a:buFontTx/>
              <a:buNone/>
              <a:tabLst/>
              <a:defRPr/>
            </a:pPr>
            <a:fld id="{6FEF3B0B-B1E1-4C03-891B-B254E7649D48}" type="slidenum">
              <a:rPr kumimoji="1" lang="en-US" altLang="ja-JP" sz="14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a:t>
            </a:fld>
            <a:endParaRPr kumimoji="1" lang="en-US" altLang="ja-JP" sz="14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51587581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283" name="タイトル 1"/>
          <p:cNvSpPr>
            <a:spLocks noGrp="1"/>
          </p:cNvSpPr>
          <p:nvPr>
            <p:ph type="title"/>
          </p:nvPr>
        </p:nvSpPr>
        <p:spPr>
          <a:xfrm>
            <a:off x="495300" y="273050"/>
            <a:ext cx="3259138" cy="1162050"/>
          </a:xfrm>
        </p:spPr>
        <p:txBody>
          <a:bodyPr anchor="b"/>
          <a:lstStyle>
            <a:lvl1pPr algn="l">
              <a:defRPr sz="2000" b="1"/>
            </a:lvl1pPr>
          </a:lstStyle>
          <a:p>
            <a:r>
              <a:rPr lang="ja-JP" altLang="en-US"/>
              <a:t>マスタ タイトルの書式設定</a:t>
            </a:r>
          </a:p>
        </p:txBody>
      </p:sp>
      <p:sp>
        <p:nvSpPr>
          <p:cNvPr id="1284" name="コンテンツ プレースホルダ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85" name="テキスト プレースホルダ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286"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287"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288" name="Rectangle 5"/>
          <p:cNvSpPr>
            <a:spLocks noGrp="1" noChangeArrowheads="1"/>
          </p:cNvSpPr>
          <p:nvPr>
            <p:ph type="sldNum" sz="quarter" idx="12"/>
          </p:nvPr>
        </p:nvSpPr>
        <p:spPr>
          <a:ln/>
        </p:spPr>
        <p:txBody>
          <a:bodyPr/>
          <a:lstStyle>
            <a:lvl1pPr>
              <a:defRPr/>
            </a:lvl1pPr>
          </a:lstStyle>
          <a:p>
            <a:pPr>
              <a:defRPr/>
            </a:pPr>
            <a:fld id="{137241DE-1218-4884-9D22-7935396BCF09}"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13279293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290" name="タイトル 1"/>
          <p:cNvSpPr>
            <a:spLocks noGrp="1"/>
          </p:cNvSpPr>
          <p:nvPr>
            <p:ph type="title"/>
          </p:nvPr>
        </p:nvSpPr>
        <p:spPr>
          <a:xfrm>
            <a:off x="1941513" y="4800600"/>
            <a:ext cx="5943600" cy="566738"/>
          </a:xfrm>
        </p:spPr>
        <p:txBody>
          <a:bodyPr anchor="b"/>
          <a:lstStyle>
            <a:lvl1pPr algn="l">
              <a:defRPr sz="2000" b="1"/>
            </a:lvl1pPr>
          </a:lstStyle>
          <a:p>
            <a:r>
              <a:rPr lang="ja-JP" altLang="en-US"/>
              <a:t>マスタ タイトルの書式設定</a:t>
            </a:r>
          </a:p>
        </p:txBody>
      </p:sp>
      <p:sp>
        <p:nvSpPr>
          <p:cNvPr id="1291" name="図プレースホルダ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292" name="テキスト プレースホルダ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293"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294"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295" name="Rectangle 5"/>
          <p:cNvSpPr>
            <a:spLocks noGrp="1" noChangeArrowheads="1"/>
          </p:cNvSpPr>
          <p:nvPr>
            <p:ph type="sldNum" sz="quarter" idx="12"/>
          </p:nvPr>
        </p:nvSpPr>
        <p:spPr>
          <a:ln/>
        </p:spPr>
        <p:txBody>
          <a:bodyPr/>
          <a:lstStyle>
            <a:lvl1pPr>
              <a:defRPr/>
            </a:lvl1pPr>
          </a:lstStyle>
          <a:p>
            <a:pPr>
              <a:defRPr/>
            </a:pPr>
            <a:fld id="{3949A1BA-81F0-40BD-B1AB-79BF21385136}"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155016872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297" name="タイトル 1"/>
          <p:cNvSpPr>
            <a:spLocks noGrp="1"/>
          </p:cNvSpPr>
          <p:nvPr>
            <p:ph type="title"/>
          </p:nvPr>
        </p:nvSpPr>
        <p:spPr/>
        <p:txBody>
          <a:bodyPr/>
          <a:lstStyle/>
          <a:p>
            <a:r>
              <a:rPr lang="ja-JP" altLang="en-US"/>
              <a:t>マスタ タイトルの書式設定</a:t>
            </a:r>
          </a:p>
        </p:txBody>
      </p:sp>
      <p:sp>
        <p:nvSpPr>
          <p:cNvPr id="1298"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99"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300"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301" name="Rectangle 5"/>
          <p:cNvSpPr>
            <a:spLocks noGrp="1" noChangeArrowheads="1"/>
          </p:cNvSpPr>
          <p:nvPr>
            <p:ph type="sldNum" sz="quarter" idx="12"/>
          </p:nvPr>
        </p:nvSpPr>
        <p:spPr>
          <a:ln/>
        </p:spPr>
        <p:txBody>
          <a:bodyPr/>
          <a:lstStyle>
            <a:lvl1pPr>
              <a:defRPr/>
            </a:lvl1pPr>
          </a:lstStyle>
          <a:p>
            <a:pPr>
              <a:defRPr/>
            </a:pPr>
            <a:fld id="{89C61071-CD67-49B9-ADBD-65B9335A768C}"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70906782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303" name="縦書きタイトル 1"/>
          <p:cNvSpPr>
            <a:spLocks noGrp="1"/>
          </p:cNvSpPr>
          <p:nvPr>
            <p:ph type="title" orient="vert"/>
          </p:nvPr>
        </p:nvSpPr>
        <p:spPr>
          <a:xfrm>
            <a:off x="7058025" y="0"/>
            <a:ext cx="2352675" cy="6126163"/>
          </a:xfrm>
        </p:spPr>
        <p:txBody>
          <a:bodyPr vert="eaVert"/>
          <a:lstStyle/>
          <a:p>
            <a:r>
              <a:rPr lang="ja-JP" altLang="en-US"/>
              <a:t>マスタ タイトルの書式設定</a:t>
            </a:r>
          </a:p>
        </p:txBody>
      </p:sp>
      <p:sp>
        <p:nvSpPr>
          <p:cNvPr id="1304" name="縦書きテキスト プレースホルダ 2"/>
          <p:cNvSpPr>
            <a:spLocks noGrp="1"/>
          </p:cNvSpPr>
          <p:nvPr>
            <p:ph type="body" orient="vert" idx="1"/>
          </p:nvPr>
        </p:nvSpPr>
        <p:spPr>
          <a:xfrm>
            <a:off x="0" y="0"/>
            <a:ext cx="6905625" cy="6126163"/>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305"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306"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307" name="Rectangle 5"/>
          <p:cNvSpPr>
            <a:spLocks noGrp="1" noChangeArrowheads="1"/>
          </p:cNvSpPr>
          <p:nvPr>
            <p:ph type="sldNum" sz="quarter" idx="12"/>
          </p:nvPr>
        </p:nvSpPr>
        <p:spPr>
          <a:ln/>
        </p:spPr>
        <p:txBody>
          <a:bodyPr/>
          <a:lstStyle>
            <a:lvl1pPr>
              <a:defRPr/>
            </a:lvl1pPr>
          </a:lstStyle>
          <a:p>
            <a:pPr>
              <a:defRPr/>
            </a:pPr>
            <a:fld id="{BB8979AD-707B-404B-9B5B-F1DD9BCAD675}"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34690296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
        <p:nvSpPr>
          <p:cNvPr id="1310" name="タイトル 1"/>
          <p:cNvSpPr>
            <a:spLocks noGrp="1"/>
          </p:cNvSpPr>
          <p:nvPr>
            <p:ph type="title"/>
          </p:nvPr>
        </p:nvSpPr>
        <p:spPr/>
        <p:txBody>
          <a:bodyPr/>
          <a:lstStyle/>
          <a:p>
            <a:r>
              <a:rPr kumimoji="1" lang="ja-JP" altLang="en-US"/>
              <a:t>マスター タイトルの書式設定</a:t>
            </a:r>
          </a:p>
        </p:txBody>
      </p:sp>
      <p:sp>
        <p:nvSpPr>
          <p:cNvPr id="1311" name="日付プレースホルダー 2"/>
          <p:cNvSpPr>
            <a:spLocks noGrp="1"/>
          </p:cNvSpPr>
          <p:nvPr>
            <p:ph type="dt" sz="half" idx="10"/>
          </p:nvPr>
        </p:nvSpPr>
        <p:spPr/>
        <p:txBody>
          <a:bodyPr/>
          <a:lstStyle/>
          <a:p>
            <a:endParaRPr kumimoji="1" lang="ja-JP" altLang="en-US"/>
          </a:p>
        </p:txBody>
      </p:sp>
      <p:sp>
        <p:nvSpPr>
          <p:cNvPr id="1312" name="フッター プレースホルダー 3"/>
          <p:cNvSpPr>
            <a:spLocks noGrp="1"/>
          </p:cNvSpPr>
          <p:nvPr>
            <p:ph type="ftr" sz="quarter" idx="11"/>
          </p:nvPr>
        </p:nvSpPr>
        <p:spPr/>
        <p:txBody>
          <a:bodyPr/>
          <a:lstStyle/>
          <a:p>
            <a:endParaRPr kumimoji="1" lang="ja-JP" altLang="en-US"/>
          </a:p>
        </p:txBody>
      </p:sp>
      <p:sp>
        <p:nvSpPr>
          <p:cNvPr id="1313" name="スライド番号プレースホルダー 4"/>
          <p:cNvSpPr>
            <a:spLocks noGrp="1"/>
          </p:cNvSpPr>
          <p:nvPr>
            <p:ph type="sldNum" sz="quarter" idx="12"/>
          </p:nvPr>
        </p:nvSpPr>
        <p:spPr/>
        <p:txBody>
          <a:bodyPr/>
          <a:lstStyle/>
          <a:p>
            <a:pPr fontAlgn="base">
              <a:spcBef>
                <a:spcPct val="0"/>
              </a:spcBef>
              <a:spcAft>
                <a:spcPct val="0"/>
              </a:spcAft>
              <a:defRPr/>
            </a:pPr>
            <a:fld id="{557FA73D-4A5C-4119-B390-D37C6C737876}" type="slidenum">
              <a:rPr lang="en-US" altLang="ja-JP" smtClean="0">
                <a:solidFill>
                  <a:srgbClr val="000000"/>
                </a:solidFill>
              </a:rPr>
              <a:pPr fontAlgn="base">
                <a:spcBef>
                  <a:spcPct val="0"/>
                </a:spcBef>
                <a:spcAft>
                  <a:spcPct val="0"/>
                </a:spcAft>
                <a:defRPr/>
              </a:pPr>
              <a:t>‹#›</a:t>
            </a:fld>
            <a:endParaRPr lang="en-US" altLang="ja-JP">
              <a:solidFill>
                <a:srgbClr val="000000"/>
              </a:solidFill>
            </a:endParaRPr>
          </a:p>
        </p:txBody>
      </p:sp>
    </p:spTree>
    <p:extLst>
      <p:ext uri="{BB962C8B-B14F-4D97-AF65-F5344CB8AC3E}">
        <p14:creationId xmlns:p14="http://schemas.microsoft.com/office/powerpoint/2010/main" val="15313129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pic>
        <p:nvPicPr>
          <p:cNvPr id="4" name="Picture 20" descr="ppjtitl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6076950"/>
            <a:ext cx="9921875"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14"/>
          <p:cNvSpPr>
            <a:spLocks noChangeArrowheads="1"/>
          </p:cNvSpPr>
          <p:nvPr userDrawn="1"/>
        </p:nvSpPr>
        <p:spPr bwMode="auto">
          <a:xfrm>
            <a:off x="1833563" y="3284544"/>
            <a:ext cx="8072437" cy="7302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31747" name="Rectangle 3"/>
          <p:cNvSpPr>
            <a:spLocks noGrp="1" noChangeArrowheads="1"/>
          </p:cNvSpPr>
          <p:nvPr>
            <p:ph type="ctrTitle"/>
          </p:nvPr>
        </p:nvSpPr>
        <p:spPr>
          <a:xfrm>
            <a:off x="1784351" y="2133608"/>
            <a:ext cx="8121650" cy="1470025"/>
          </a:xfrm>
        </p:spPr>
        <p:txBody>
          <a:bodyPr/>
          <a:lstStyle>
            <a:lvl1pPr>
              <a:defRPr sz="3408"/>
            </a:lvl1pPr>
          </a:lstStyle>
          <a:p>
            <a:r>
              <a:rPr lang="ja-JP" altLang="en-US"/>
              <a:t>マスタ タイトルの書式設定</a:t>
            </a:r>
          </a:p>
        </p:txBody>
      </p:sp>
      <p:sp>
        <p:nvSpPr>
          <p:cNvPr id="31748"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国土交通省　観光庁</a:t>
            </a:r>
          </a:p>
          <a:p>
            <a:r>
              <a:rPr lang="ja-JP" altLang="en-US"/>
              <a:t>○○課</a:t>
            </a:r>
          </a:p>
          <a:p>
            <a:r>
              <a:rPr lang="ja-JP" altLang="en-US"/>
              <a:t>平成○○年○○月</a:t>
            </a:r>
          </a:p>
        </p:txBody>
      </p:sp>
      <p:sp>
        <p:nvSpPr>
          <p:cNvPr id="6" name="Rectangle 5"/>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7" name="Rectangle 6"/>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8" name="Rectangle 7"/>
          <p:cNvSpPr>
            <a:spLocks noGrp="1" noChangeArrowheads="1"/>
          </p:cNvSpPr>
          <p:nvPr>
            <p:ph type="sldNum" sz="quarter" idx="12"/>
          </p:nvPr>
        </p:nvSpPr>
        <p:spPr>
          <a:xfrm>
            <a:off x="7099300" y="6245225"/>
            <a:ext cx="2311400" cy="476250"/>
          </a:xfrm>
        </p:spPr>
        <p:txBody>
          <a:bodyPr/>
          <a:lstStyle>
            <a:lvl1pPr fontAlgn="auto">
              <a:spcBef>
                <a:spcPts val="0"/>
              </a:spcBef>
              <a:spcAft>
                <a:spcPts val="0"/>
              </a:spcAft>
              <a:defRPr/>
            </a:lvl1pPr>
          </a:lstStyle>
          <a:p>
            <a:pPr>
              <a:defRPr/>
            </a:pPr>
            <a:fld id="{2EEA7C7B-6C38-4BDA-B6DD-FAA96FBB8521}" type="slidenum">
              <a:rPr lang="en-US" altLang="ja-JP"/>
              <a:pPr>
                <a:defRPr/>
              </a:pPr>
              <a:t>‹#›</a:t>
            </a:fld>
            <a:endParaRPr lang="en-US" altLang="ja-JP"/>
          </a:p>
        </p:txBody>
      </p:sp>
    </p:spTree>
    <p:extLst>
      <p:ext uri="{BB962C8B-B14F-4D97-AF65-F5344CB8AC3E}">
        <p14:creationId xmlns:p14="http://schemas.microsoft.com/office/powerpoint/2010/main" val="38368710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a:p>
        </p:txBody>
      </p:sp>
      <p:grpSp>
        <p:nvGrpSpPr>
          <p:cNvPr id="7" name="Group 27">
            <a:extLst>
              <a:ext uri="{FF2B5EF4-FFF2-40B4-BE49-F238E27FC236}">
                <a16:creationId xmlns:a16="http://schemas.microsoft.com/office/drawing/2014/main" id="{05E17AD3-5BA5-0FEA-D804-EFC383F8AD32}"/>
              </a:ext>
            </a:extLst>
          </p:cNvPr>
          <p:cNvGrpSpPr>
            <a:grpSpLocks/>
          </p:cNvGrpSpPr>
          <p:nvPr userDrawn="1"/>
        </p:nvGrpSpPr>
        <p:grpSpPr bwMode="auto">
          <a:xfrm>
            <a:off x="0" y="333378"/>
            <a:ext cx="9906000" cy="214313"/>
            <a:chOff x="0" y="255"/>
            <a:chExt cx="6240" cy="135"/>
          </a:xfrm>
        </p:grpSpPr>
        <p:sp>
          <p:nvSpPr>
            <p:cNvPr id="8" name="Rectangle 28">
              <a:extLst>
                <a:ext uri="{FF2B5EF4-FFF2-40B4-BE49-F238E27FC236}">
                  <a16:creationId xmlns:a16="http://schemas.microsoft.com/office/drawing/2014/main" id="{9707E080-6872-3AB0-4A5E-CB11300FD5E7}"/>
                </a:ext>
              </a:extLst>
            </p:cNvPr>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9" name="Rectangle 29">
              <a:extLst>
                <a:ext uri="{FF2B5EF4-FFF2-40B4-BE49-F238E27FC236}">
                  <a16:creationId xmlns:a16="http://schemas.microsoft.com/office/drawing/2014/main" id="{CB776C23-8E43-E870-B933-8E78462B5572}"/>
                </a:ext>
              </a:extLst>
            </p:cNvPr>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 name="Rectangle 30">
              <a:extLst>
                <a:ext uri="{FF2B5EF4-FFF2-40B4-BE49-F238E27FC236}">
                  <a16:creationId xmlns:a16="http://schemas.microsoft.com/office/drawing/2014/main" id="{15A6B581-F2BA-9E5C-8966-8AD7A3F2C5E7}"/>
                </a:ext>
              </a:extLst>
            </p:cNvPr>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pic>
        <p:nvPicPr>
          <p:cNvPr id="11" name="Picture 32" descr="ppjtitle">
            <a:extLst>
              <a:ext uri="{FF2B5EF4-FFF2-40B4-BE49-F238E27FC236}">
                <a16:creationId xmlns:a16="http://schemas.microsoft.com/office/drawing/2014/main" id="{E5670704-78DD-63F6-7AE4-D2260F1D95C3}"/>
              </a:ext>
            </a:extLst>
          </p:cNvPr>
          <p:cNvPicPr/>
          <p:nvPr userDrawn="1"/>
        </p:nvPicPr>
        <p:blipFill>
          <a:blip r:embed="rId2"/>
          <a:srcRect l="1758" r="81940" b="42699"/>
          <a:stretch>
            <a:fillRect/>
          </a:stretch>
        </p:blipFill>
        <p:spPr>
          <a:xfrm>
            <a:off x="8697960" y="0"/>
            <a:ext cx="1207800" cy="334440"/>
          </a:xfrm>
          <a:prstGeom prst="rect">
            <a:avLst/>
          </a:prstGeom>
          <a:ln>
            <a:noFill/>
          </a:ln>
        </p:spPr>
      </p:pic>
    </p:spTree>
    <p:extLst>
      <p:ext uri="{BB962C8B-B14F-4D97-AF65-F5344CB8AC3E}">
        <p14:creationId xmlns:p14="http://schemas.microsoft.com/office/powerpoint/2010/main" val="19347960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3"/>
          <p:cNvSpPr>
            <a:spLocks noGrp="1" noChangeArrowheads="1"/>
          </p:cNvSpPr>
          <p:nvPr>
            <p:ph type="dt" sz="half" idx="10"/>
          </p:nvPr>
        </p:nvSpPr>
        <p:spPr/>
        <p:txBody>
          <a:bodyPr/>
          <a:lstStyle>
            <a:lvl1pPr fontAlgn="auto">
              <a:spcBef>
                <a:spcPts val="0"/>
              </a:spcBef>
              <a:spcAft>
                <a:spcPts val="0"/>
              </a:spcAft>
              <a:defRPr/>
            </a:lvl1pPr>
          </a:lstStyle>
          <a:p>
            <a:pPr>
              <a:defRPr/>
            </a:pPr>
            <a:endParaRPr lang="en-US" altLang="ja-JP"/>
          </a:p>
        </p:txBody>
      </p:sp>
      <p:sp>
        <p:nvSpPr>
          <p:cNvPr id="5" name="Rectangle 4"/>
          <p:cNvSpPr>
            <a:spLocks noGrp="1" noChangeArrowheads="1"/>
          </p:cNvSpPr>
          <p:nvPr>
            <p:ph type="ftr" sz="quarter" idx="11"/>
          </p:nvPr>
        </p:nvSpPr>
        <p:spPr/>
        <p:txBody>
          <a:bodyPr/>
          <a:lstStyle>
            <a:lvl1pPr fontAlgn="auto">
              <a:spcBef>
                <a:spcPts val="0"/>
              </a:spcBef>
              <a:spcAft>
                <a:spcPts val="0"/>
              </a:spcAft>
              <a:defRPr/>
            </a:lvl1pPr>
          </a:lstStyle>
          <a:p>
            <a:pPr>
              <a:defRPr/>
            </a:pPr>
            <a:endParaRPr lang="en-US" altLang="ja-JP"/>
          </a:p>
        </p:txBody>
      </p:sp>
      <p:sp>
        <p:nvSpPr>
          <p:cNvPr id="6" name="Rectangle 5"/>
          <p:cNvSpPr>
            <a:spLocks noGrp="1" noChangeArrowheads="1"/>
          </p:cNvSpPr>
          <p:nvPr>
            <p:ph type="sldNum" sz="quarter" idx="12"/>
          </p:nvPr>
        </p:nvSpPr>
        <p:spPr/>
        <p:txBody>
          <a:bodyPr/>
          <a:lstStyle>
            <a:lvl1pPr fontAlgn="auto">
              <a:spcBef>
                <a:spcPts val="0"/>
              </a:spcBef>
              <a:spcAft>
                <a:spcPts val="0"/>
              </a:spcAft>
              <a:defRPr/>
            </a:lvl1pPr>
          </a:lstStyle>
          <a:p>
            <a:pPr>
              <a:defRPr/>
            </a:pPr>
            <a:fld id="{093AD9B3-3E9E-4878-8116-49197D020768}" type="slidenum">
              <a:rPr lang="en-US" altLang="ja-JP"/>
              <a:pPr>
                <a:defRPr/>
              </a:pPr>
              <a:t>‹#›</a:t>
            </a:fld>
            <a:endParaRPr lang="en-US" altLang="ja-JP"/>
          </a:p>
        </p:txBody>
      </p:sp>
      <p:grpSp>
        <p:nvGrpSpPr>
          <p:cNvPr id="7" name="Group 27"/>
          <p:cNvGrpSpPr>
            <a:grpSpLocks/>
          </p:cNvGrpSpPr>
          <p:nvPr userDrawn="1"/>
        </p:nvGrpSpPr>
        <p:grpSpPr bwMode="auto">
          <a:xfrm>
            <a:off x="0" y="6599065"/>
            <a:ext cx="9906000" cy="214314"/>
            <a:chOff x="0" y="255"/>
            <a:chExt cx="6240" cy="135"/>
          </a:xfrm>
        </p:grpSpPr>
        <p:sp>
          <p:nvSpPr>
            <p:cNvPr id="8"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9"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Tree>
    <p:extLst>
      <p:ext uri="{BB962C8B-B14F-4D97-AF65-F5344CB8AC3E}">
        <p14:creationId xmlns:p14="http://schemas.microsoft.com/office/powerpoint/2010/main" val="185082443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pSp>
        <p:nvGrpSpPr>
          <p:cNvPr id="94" name="グループ化 93">
            <a:extLst>
              <a:ext uri="{FF2B5EF4-FFF2-40B4-BE49-F238E27FC236}">
                <a16:creationId xmlns:a16="http://schemas.microsoft.com/office/drawing/2014/main" id="{0280A5C7-FE2E-4B04-A017-C4BB0C1B19C1}"/>
              </a:ext>
            </a:extLst>
          </p:cNvPr>
          <p:cNvGrpSpPr>
            <a:grpSpLocks noChangeAspect="1"/>
          </p:cNvGrpSpPr>
          <p:nvPr userDrawn="1"/>
        </p:nvGrpSpPr>
        <p:grpSpPr>
          <a:xfrm>
            <a:off x="251520" y="6076961"/>
            <a:ext cx="1395847" cy="418881"/>
            <a:chOff x="4624168" y="4098236"/>
            <a:chExt cx="2957141" cy="819150"/>
          </a:xfrm>
        </p:grpSpPr>
        <p:sp>
          <p:nvSpPr>
            <p:cNvPr id="95" name="フリーフォーム: 図形 8">
              <a:extLst>
                <a:ext uri="{FF2B5EF4-FFF2-40B4-BE49-F238E27FC236}">
                  <a16:creationId xmlns:a16="http://schemas.microsoft.com/office/drawing/2014/main" id="{1F6321C8-C2FC-4820-9A28-48176C15E2E5}"/>
                </a:ext>
              </a:extLst>
            </p:cNvPr>
            <p:cNvSpPr/>
            <p:nvPr/>
          </p:nvSpPr>
          <p:spPr>
            <a:xfrm>
              <a:off x="4624168" y="4098236"/>
              <a:ext cx="971550"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a:solidFill>
                  <a:prstClr val="black"/>
                </a:solidFill>
              </a:endParaRPr>
            </a:p>
          </p:txBody>
        </p:sp>
        <p:sp>
          <p:nvSpPr>
            <p:cNvPr id="96" name="フリーフォーム: 図形 9">
              <a:extLst>
                <a:ext uri="{FF2B5EF4-FFF2-40B4-BE49-F238E27FC236}">
                  <a16:creationId xmlns:a16="http://schemas.microsoft.com/office/drawing/2014/main" id="{81028ECA-7401-42FF-B799-D9BD87FF458D}"/>
                </a:ext>
              </a:extLst>
            </p:cNvPr>
            <p:cNvSpPr/>
            <p:nvPr/>
          </p:nvSpPr>
          <p:spPr>
            <a:xfrm>
              <a:off x="7190784" y="4524946"/>
              <a:ext cx="390525" cy="352425"/>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97" name="フリーフォーム: 図形 10">
              <a:extLst>
                <a:ext uri="{FF2B5EF4-FFF2-40B4-BE49-F238E27FC236}">
                  <a16:creationId xmlns:a16="http://schemas.microsoft.com/office/drawing/2014/main" id="{030837EC-B751-46EF-B705-459CE2D2F44E}"/>
                </a:ext>
              </a:extLst>
            </p:cNvPr>
            <p:cNvSpPr/>
            <p:nvPr/>
          </p:nvSpPr>
          <p:spPr>
            <a:xfrm>
              <a:off x="7103392" y="4363774"/>
              <a:ext cx="476250" cy="514350"/>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98" name="フリーフォーム: 図形 11">
              <a:extLst>
                <a:ext uri="{FF2B5EF4-FFF2-40B4-BE49-F238E27FC236}">
                  <a16:creationId xmlns:a16="http://schemas.microsoft.com/office/drawing/2014/main" id="{910A8F01-833E-4649-A3AD-F2A5CA1B7357}"/>
                </a:ext>
              </a:extLst>
            </p:cNvPr>
            <p:cNvSpPr/>
            <p:nvPr/>
          </p:nvSpPr>
          <p:spPr>
            <a:xfrm>
              <a:off x="6484267" y="4397940"/>
              <a:ext cx="476250" cy="476250"/>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99" name="フリーフォーム: 図形 12">
              <a:extLst>
                <a:ext uri="{FF2B5EF4-FFF2-40B4-BE49-F238E27FC236}">
                  <a16:creationId xmlns:a16="http://schemas.microsoft.com/office/drawing/2014/main" id="{D82D9FCF-1CB5-45F2-9B69-F995CF72F425}"/>
                </a:ext>
              </a:extLst>
            </p:cNvPr>
            <p:cNvSpPr/>
            <p:nvPr/>
          </p:nvSpPr>
          <p:spPr>
            <a:xfrm>
              <a:off x="6793496" y="4397940"/>
              <a:ext cx="142875"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100" name="フリーフォーム: 図形 13">
              <a:extLst>
                <a:ext uri="{FF2B5EF4-FFF2-40B4-BE49-F238E27FC236}">
                  <a16:creationId xmlns:a16="http://schemas.microsoft.com/office/drawing/2014/main" id="{BA7F4ADC-2F43-4472-9DB8-F9789A28A9B0}"/>
                </a:ext>
              </a:extLst>
            </p:cNvPr>
            <p:cNvSpPr/>
            <p:nvPr/>
          </p:nvSpPr>
          <p:spPr>
            <a:xfrm>
              <a:off x="6513375" y="4397940"/>
              <a:ext cx="142875"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101" name="フリーフォーム: 図形 14">
              <a:extLst>
                <a:ext uri="{FF2B5EF4-FFF2-40B4-BE49-F238E27FC236}">
                  <a16:creationId xmlns:a16="http://schemas.microsoft.com/office/drawing/2014/main" id="{5040B39F-D152-4517-B17D-5AAACA5F6436}"/>
                </a:ext>
              </a:extLst>
            </p:cNvPr>
            <p:cNvSpPr/>
            <p:nvPr/>
          </p:nvSpPr>
          <p:spPr>
            <a:xfrm>
              <a:off x="6150387" y="4397940"/>
              <a:ext cx="219075" cy="476250"/>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102" name="フリーフォーム: 図形 15">
              <a:extLst>
                <a:ext uri="{FF2B5EF4-FFF2-40B4-BE49-F238E27FC236}">
                  <a16:creationId xmlns:a16="http://schemas.microsoft.com/office/drawing/2014/main" id="{B3F451FB-EA75-4241-BD27-E1820141DC9A}"/>
                </a:ext>
              </a:extLst>
            </p:cNvPr>
            <p:cNvSpPr/>
            <p:nvPr/>
          </p:nvSpPr>
          <p:spPr>
            <a:xfrm>
              <a:off x="5863313" y="4363783"/>
              <a:ext cx="285750" cy="514350"/>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103" name="フリーフォーム: 図形 16">
              <a:extLst>
                <a:ext uri="{FF2B5EF4-FFF2-40B4-BE49-F238E27FC236}">
                  <a16:creationId xmlns:a16="http://schemas.microsoft.com/office/drawing/2014/main" id="{5392972C-FC9F-478F-8F94-E0EA4FE864ED}"/>
                </a:ext>
              </a:extLst>
            </p:cNvPr>
            <p:cNvSpPr/>
            <p:nvPr/>
          </p:nvSpPr>
          <p:spPr>
            <a:xfrm>
              <a:off x="5899880" y="4139269"/>
              <a:ext cx="190500" cy="200025"/>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104" name="フリーフォーム: 図形 17">
              <a:extLst>
                <a:ext uri="{FF2B5EF4-FFF2-40B4-BE49-F238E27FC236}">
                  <a16:creationId xmlns:a16="http://schemas.microsoft.com/office/drawing/2014/main" id="{8DE71E10-5F0B-4738-90B9-3ACACE1D5E96}"/>
                </a:ext>
              </a:extLst>
            </p:cNvPr>
            <p:cNvSpPr/>
            <p:nvPr/>
          </p:nvSpPr>
          <p:spPr>
            <a:xfrm>
              <a:off x="6114792" y="4129592"/>
              <a:ext cx="200025" cy="200025"/>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105" name="フリーフォーム: 図形 18">
              <a:extLst>
                <a:ext uri="{FF2B5EF4-FFF2-40B4-BE49-F238E27FC236}">
                  <a16:creationId xmlns:a16="http://schemas.microsoft.com/office/drawing/2014/main" id="{8C337C08-F0D1-498F-A0D4-88A96212E89D}"/>
                </a:ext>
              </a:extLst>
            </p:cNvPr>
            <p:cNvSpPr/>
            <p:nvPr/>
          </p:nvSpPr>
          <p:spPr>
            <a:xfrm>
              <a:off x="6335839" y="4129592"/>
              <a:ext cx="209550" cy="200025"/>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106" name="フリーフォーム: 図形 19">
              <a:extLst>
                <a:ext uri="{FF2B5EF4-FFF2-40B4-BE49-F238E27FC236}">
                  <a16:creationId xmlns:a16="http://schemas.microsoft.com/office/drawing/2014/main" id="{EC29DAE7-3511-4594-BD83-8519AF4740D8}"/>
                </a:ext>
              </a:extLst>
            </p:cNvPr>
            <p:cNvSpPr/>
            <p:nvPr/>
          </p:nvSpPr>
          <p:spPr>
            <a:xfrm>
              <a:off x="6554514" y="4131697"/>
              <a:ext cx="209550" cy="200025"/>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sp>
          <p:nvSpPr>
            <p:cNvPr id="107" name="フリーフォーム: 図形 20">
              <a:extLst>
                <a:ext uri="{FF2B5EF4-FFF2-40B4-BE49-F238E27FC236}">
                  <a16:creationId xmlns:a16="http://schemas.microsoft.com/office/drawing/2014/main" id="{49B7022A-381B-4E9F-88E8-A8AAEB9E567E}"/>
                </a:ext>
              </a:extLst>
            </p:cNvPr>
            <p:cNvSpPr/>
            <p:nvPr/>
          </p:nvSpPr>
          <p:spPr>
            <a:xfrm>
              <a:off x="6776113" y="4130182"/>
              <a:ext cx="209550" cy="200025"/>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a:solidFill>
                  <a:prstClr val="black"/>
                </a:solidFill>
              </a:endParaRPr>
            </a:p>
          </p:txBody>
        </p:sp>
      </p:grpSp>
      <p:grpSp>
        <p:nvGrpSpPr>
          <p:cNvPr id="108" name="グループ化 107"/>
          <p:cNvGrpSpPr/>
          <p:nvPr userDrawn="1"/>
        </p:nvGrpSpPr>
        <p:grpSpPr>
          <a:xfrm>
            <a:off x="0" y="6589649"/>
            <a:ext cx="9906000" cy="270000"/>
            <a:chOff x="0" y="6589649"/>
            <a:chExt cx="10731500" cy="270000"/>
          </a:xfrm>
        </p:grpSpPr>
        <p:sp>
          <p:nvSpPr>
            <p:cNvPr id="109" name="正方形/長方形 108"/>
            <p:cNvSpPr/>
            <p:nvPr userDrawn="1"/>
          </p:nvSpPr>
          <p:spPr bwMode="auto">
            <a:xfrm>
              <a:off x="0" y="6589649"/>
              <a:ext cx="10731500" cy="270000"/>
            </a:xfrm>
            <a:prstGeom prst="rect">
              <a:avLst/>
            </a:prstGeom>
            <a:solidFill>
              <a:srgbClr val="FF0000"/>
            </a:solidFill>
            <a:ln>
              <a:noFill/>
            </a:ln>
            <a:effectLst/>
          </p:spPr>
          <p:txBody>
            <a:bodyPr vert="horz" wrap="none" lIns="91440" tIns="45720" rIns="91440" bIns="45720" numCol="1" rtlCol="0" anchor="ctr" anchorCtr="0" compatLnSpc="1">
              <a:prstTxWarp prst="textNoShape">
                <a:avLst/>
              </a:prstTxWarp>
            </a:bodyPr>
            <a:lstStyle/>
            <a:p>
              <a:pPr defTabSz="914418"/>
              <a:endParaRPr lang="ja-JP" altLang="en-US">
                <a:solidFill>
                  <a:prstClr val="black"/>
                </a:solidFill>
              </a:endParaRPr>
            </a:p>
          </p:txBody>
        </p:sp>
        <p:grpSp>
          <p:nvGrpSpPr>
            <p:cNvPr id="110" name="グループ化 109"/>
            <p:cNvGrpSpPr/>
            <p:nvPr userDrawn="1"/>
          </p:nvGrpSpPr>
          <p:grpSpPr>
            <a:xfrm>
              <a:off x="918000" y="6624000"/>
              <a:ext cx="5180400" cy="150760"/>
              <a:chOff x="918000" y="6660000"/>
              <a:chExt cx="5180400" cy="150760"/>
            </a:xfrm>
          </p:grpSpPr>
          <p:grpSp>
            <p:nvGrpSpPr>
              <p:cNvPr id="111" name="グループ化 110"/>
              <p:cNvGrpSpPr>
                <a:grpSpLocks noChangeAspect="1"/>
              </p:cNvGrpSpPr>
              <p:nvPr userDrawn="1"/>
            </p:nvGrpSpPr>
            <p:grpSpPr>
              <a:xfrm>
                <a:off x="918000" y="6668107"/>
                <a:ext cx="1368000" cy="142653"/>
                <a:chOff x="416496" y="5492911"/>
                <a:chExt cx="3254892" cy="339414"/>
              </a:xfrm>
              <a:solidFill>
                <a:schemeClr val="bg1"/>
              </a:solidFill>
            </p:grpSpPr>
            <p:sp>
              <p:nvSpPr>
                <p:cNvPr id="162" name="フリーフォーム: 図形 6">
                  <a:extLst>
                    <a:ext uri="{FF2B5EF4-FFF2-40B4-BE49-F238E27FC236}">
                      <a16:creationId xmlns:a16="http://schemas.microsoft.com/office/drawing/2014/main" id="{BC8171A7-0408-4E26-B938-9C358473A14C}"/>
                    </a:ext>
                  </a:extLst>
                </p:cNvPr>
                <p:cNvSpPr/>
                <p:nvPr/>
              </p:nvSpPr>
              <p:spPr>
                <a:xfrm>
                  <a:off x="416496" y="5492921"/>
                  <a:ext cx="123825" cy="257175"/>
                </a:xfrm>
                <a:custGeom>
                  <a:avLst/>
                  <a:gdLst>
                    <a:gd name="connsiteX0" fmla="*/ 123939 w 123825"/>
                    <a:gd name="connsiteY0" fmla="*/ 178146 h 257175"/>
                    <a:gd name="connsiteX1" fmla="*/ 42120 w 123825"/>
                    <a:gd name="connsiteY1" fmla="*/ 257813 h 257175"/>
                    <a:gd name="connsiteX2" fmla="*/ 7144 w 123825"/>
                    <a:gd name="connsiteY2" fmla="*/ 253565 h 257175"/>
                    <a:gd name="connsiteX3" fmla="*/ 7144 w 123825"/>
                    <a:gd name="connsiteY3" fmla="*/ 219961 h 257175"/>
                    <a:gd name="connsiteX4" fmla="*/ 44253 w 123825"/>
                    <a:gd name="connsiteY4" fmla="*/ 228200 h 257175"/>
                    <a:gd name="connsiteX5" fmla="*/ 77133 w 123825"/>
                    <a:gd name="connsiteY5" fmla="*/ 182442 h 257175"/>
                    <a:gd name="connsiteX6" fmla="*/ 77133 w 123825"/>
                    <a:gd name="connsiteY6" fmla="*/ 7144 h 257175"/>
                    <a:gd name="connsiteX7" fmla="*/ 123930 w 123825"/>
                    <a:gd name="connsiteY7" fmla="*/ 7144 h 257175"/>
                    <a:gd name="connsiteX8" fmla="*/ 123930 w 123825"/>
                    <a:gd name="connsiteY8" fmla="*/ 178146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25" h="257175">
                      <a:moveTo>
                        <a:pt x="123939" y="178146"/>
                      </a:moveTo>
                      <a:cubicBezTo>
                        <a:pt x="123939" y="225295"/>
                        <a:pt x="113224" y="257813"/>
                        <a:pt x="42120" y="257813"/>
                      </a:cubicBezTo>
                      <a:cubicBezTo>
                        <a:pt x="26756" y="257813"/>
                        <a:pt x="15326" y="255299"/>
                        <a:pt x="7144" y="253565"/>
                      </a:cubicBezTo>
                      <a:lnTo>
                        <a:pt x="7144" y="219961"/>
                      </a:lnTo>
                      <a:cubicBezTo>
                        <a:pt x="11373" y="222104"/>
                        <a:pt x="26022" y="228200"/>
                        <a:pt x="44253" y="228200"/>
                      </a:cubicBezTo>
                      <a:cubicBezTo>
                        <a:pt x="72828" y="228200"/>
                        <a:pt x="77133" y="209255"/>
                        <a:pt x="77133" y="182442"/>
                      </a:cubicBezTo>
                      <a:lnTo>
                        <a:pt x="77133" y="7144"/>
                      </a:lnTo>
                      <a:lnTo>
                        <a:pt x="123930" y="7144"/>
                      </a:lnTo>
                      <a:lnTo>
                        <a:pt x="123930" y="17814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63" name="フリーフォーム: 図形 7">
                  <a:extLst>
                    <a:ext uri="{FF2B5EF4-FFF2-40B4-BE49-F238E27FC236}">
                      <a16:creationId xmlns:a16="http://schemas.microsoft.com/office/drawing/2014/main" id="{892EA301-045A-4D61-9543-193B5E030494}"/>
                    </a:ext>
                  </a:extLst>
                </p:cNvPr>
                <p:cNvSpPr/>
                <p:nvPr/>
              </p:nvSpPr>
              <p:spPr>
                <a:xfrm>
                  <a:off x="567591" y="5565644"/>
                  <a:ext cx="152400" cy="190500"/>
                </a:xfrm>
                <a:custGeom>
                  <a:avLst/>
                  <a:gdLst>
                    <a:gd name="connsiteX0" fmla="*/ 103641 w 152400"/>
                    <a:gd name="connsiteY0" fmla="*/ 158667 h 190500"/>
                    <a:gd name="connsiteX1" fmla="*/ 102918 w 152400"/>
                    <a:gd name="connsiteY1" fmla="*/ 158667 h 190500"/>
                    <a:gd name="connsiteX2" fmla="*/ 54693 w 152400"/>
                    <a:gd name="connsiteY2" fmla="*/ 185080 h 190500"/>
                    <a:gd name="connsiteX3" fmla="*/ 7144 w 152400"/>
                    <a:gd name="connsiteY3" fmla="*/ 142608 h 190500"/>
                    <a:gd name="connsiteX4" fmla="*/ 103641 w 152400"/>
                    <a:gd name="connsiteY4" fmla="*/ 85735 h 190500"/>
                    <a:gd name="connsiteX5" fmla="*/ 103641 w 152400"/>
                    <a:gd name="connsiteY5" fmla="*/ 57188 h 190500"/>
                    <a:gd name="connsiteX6" fmla="*/ 82210 w 152400"/>
                    <a:gd name="connsiteY6" fmla="*/ 23946 h 190500"/>
                    <a:gd name="connsiteX7" fmla="*/ 59331 w 152400"/>
                    <a:gd name="connsiteY7" fmla="*/ 61817 h 190500"/>
                    <a:gd name="connsiteX8" fmla="*/ 13211 w 152400"/>
                    <a:gd name="connsiteY8" fmla="*/ 61817 h 190500"/>
                    <a:gd name="connsiteX9" fmla="*/ 82544 w 152400"/>
                    <a:gd name="connsiteY9" fmla="*/ 7144 h 190500"/>
                    <a:gd name="connsiteX10" fmla="*/ 146856 w 152400"/>
                    <a:gd name="connsiteY10" fmla="*/ 66104 h 190500"/>
                    <a:gd name="connsiteX11" fmla="*/ 146856 w 152400"/>
                    <a:gd name="connsiteY11" fmla="*/ 181165 h 190500"/>
                    <a:gd name="connsiteX12" fmla="*/ 103641 w 152400"/>
                    <a:gd name="connsiteY12" fmla="*/ 181165 h 190500"/>
                    <a:gd name="connsiteX13" fmla="*/ 103641 w 152400"/>
                    <a:gd name="connsiteY13" fmla="*/ 158667 h 190500"/>
                    <a:gd name="connsiteX14" fmla="*/ 103641 w 152400"/>
                    <a:gd name="connsiteY14" fmla="*/ 102565 h 190500"/>
                    <a:gd name="connsiteX15" fmla="*/ 51825 w 152400"/>
                    <a:gd name="connsiteY15" fmla="*/ 136522 h 190500"/>
                    <a:gd name="connsiteX16" fmla="*/ 71485 w 152400"/>
                    <a:gd name="connsiteY16" fmla="*/ 160458 h 190500"/>
                    <a:gd name="connsiteX17" fmla="*/ 103641 w 152400"/>
                    <a:gd name="connsiteY17" fmla="*/ 115053 h 190500"/>
                    <a:gd name="connsiteX18" fmla="*/ 103641 w 152400"/>
                    <a:gd name="connsiteY18" fmla="*/ 1025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90500">
                      <a:moveTo>
                        <a:pt x="103641" y="158667"/>
                      </a:moveTo>
                      <a:lnTo>
                        <a:pt x="102918" y="158667"/>
                      </a:lnTo>
                      <a:cubicBezTo>
                        <a:pt x="98308" y="166878"/>
                        <a:pt x="81505" y="185080"/>
                        <a:pt x="54693" y="185080"/>
                      </a:cubicBezTo>
                      <a:cubicBezTo>
                        <a:pt x="27861" y="185080"/>
                        <a:pt x="7144" y="167230"/>
                        <a:pt x="7144" y="142608"/>
                      </a:cubicBezTo>
                      <a:cubicBezTo>
                        <a:pt x="7144" y="90049"/>
                        <a:pt x="79324" y="86878"/>
                        <a:pt x="103641" y="85735"/>
                      </a:cubicBezTo>
                      <a:lnTo>
                        <a:pt x="103641" y="57188"/>
                      </a:lnTo>
                      <a:cubicBezTo>
                        <a:pt x="103641" y="32166"/>
                        <a:pt x="96155" y="23946"/>
                        <a:pt x="82210" y="23946"/>
                      </a:cubicBezTo>
                      <a:cubicBezTo>
                        <a:pt x="59684" y="23946"/>
                        <a:pt x="60046" y="50740"/>
                        <a:pt x="59331" y="61817"/>
                      </a:cubicBezTo>
                      <a:lnTo>
                        <a:pt x="13211" y="61817"/>
                      </a:lnTo>
                      <a:cubicBezTo>
                        <a:pt x="13211" y="26118"/>
                        <a:pt x="37167" y="7144"/>
                        <a:pt x="82544" y="7144"/>
                      </a:cubicBezTo>
                      <a:cubicBezTo>
                        <a:pt x="136141" y="7144"/>
                        <a:pt x="146856" y="32176"/>
                        <a:pt x="146856" y="66104"/>
                      </a:cubicBezTo>
                      <a:lnTo>
                        <a:pt x="146856" y="181165"/>
                      </a:lnTo>
                      <a:lnTo>
                        <a:pt x="103641" y="181165"/>
                      </a:lnTo>
                      <a:lnTo>
                        <a:pt x="103641" y="158667"/>
                      </a:lnTo>
                      <a:close/>
                      <a:moveTo>
                        <a:pt x="103641" y="102565"/>
                      </a:moveTo>
                      <a:cubicBezTo>
                        <a:pt x="88963" y="103984"/>
                        <a:pt x="51825" y="108652"/>
                        <a:pt x="51825" y="136522"/>
                      </a:cubicBezTo>
                      <a:cubicBezTo>
                        <a:pt x="51825" y="150819"/>
                        <a:pt x="58988" y="160458"/>
                        <a:pt x="71485" y="160458"/>
                      </a:cubicBezTo>
                      <a:cubicBezTo>
                        <a:pt x="91840" y="160458"/>
                        <a:pt x="103641" y="138989"/>
                        <a:pt x="103641" y="115053"/>
                      </a:cubicBezTo>
                      <a:lnTo>
                        <a:pt x="103641" y="102565"/>
                      </a:lnTo>
                      <a:close/>
                    </a:path>
                  </a:pathLst>
                </a:custGeom>
                <a:grpFill/>
                <a:ln w="9525" cap="flat">
                  <a:noFill/>
                  <a:prstDash val="solid"/>
                  <a:miter/>
                </a:ln>
              </p:spPr>
              <p:txBody>
                <a:bodyPr rtlCol="0" anchor="ctr"/>
                <a:lstStyle/>
                <a:p>
                  <a:endParaRPr lang="ja-JP" altLang="en-US">
                    <a:solidFill>
                      <a:prstClr val="black"/>
                    </a:solidFill>
                  </a:endParaRPr>
                </a:p>
              </p:txBody>
            </p:sp>
            <p:sp>
              <p:nvSpPr>
                <p:cNvPr id="164" name="フリーフォーム: 図形 22">
                  <a:extLst>
                    <a:ext uri="{FF2B5EF4-FFF2-40B4-BE49-F238E27FC236}">
                      <a16:creationId xmlns:a16="http://schemas.microsoft.com/office/drawing/2014/main" id="{3885D103-51D1-4292-A5FC-FFC51EA0D5F2}"/>
                    </a:ext>
                  </a:extLst>
                </p:cNvPr>
                <p:cNvSpPr/>
                <p:nvPr/>
              </p:nvSpPr>
              <p:spPr>
                <a:xfrm>
                  <a:off x="751271" y="5565635"/>
                  <a:ext cx="152400" cy="257175"/>
                </a:xfrm>
                <a:custGeom>
                  <a:avLst/>
                  <a:gdLst>
                    <a:gd name="connsiteX0" fmla="*/ 7144 w 152400"/>
                    <a:gd name="connsiteY0" fmla="*/ 11116 h 257175"/>
                    <a:gd name="connsiteX1" fmla="*/ 50387 w 152400"/>
                    <a:gd name="connsiteY1" fmla="*/ 11116 h 257175"/>
                    <a:gd name="connsiteX2" fmla="*/ 50387 w 152400"/>
                    <a:gd name="connsiteY2" fmla="*/ 39719 h 257175"/>
                    <a:gd name="connsiteX3" fmla="*/ 51102 w 152400"/>
                    <a:gd name="connsiteY3" fmla="*/ 39719 h 257175"/>
                    <a:gd name="connsiteX4" fmla="*/ 97203 w 152400"/>
                    <a:gd name="connsiteY4" fmla="*/ 7144 h 257175"/>
                    <a:gd name="connsiteX5" fmla="*/ 154010 w 152400"/>
                    <a:gd name="connsiteY5" fmla="*/ 95040 h 257175"/>
                    <a:gd name="connsiteX6" fmla="*/ 91840 w 152400"/>
                    <a:gd name="connsiteY6" fmla="*/ 185099 h 257175"/>
                    <a:gd name="connsiteX7" fmla="*/ 51111 w 152400"/>
                    <a:gd name="connsiteY7" fmla="*/ 158286 h 257175"/>
                    <a:gd name="connsiteX8" fmla="*/ 50397 w 152400"/>
                    <a:gd name="connsiteY8" fmla="*/ 158286 h 257175"/>
                    <a:gd name="connsiteX9" fmla="*/ 50397 w 152400"/>
                    <a:gd name="connsiteY9" fmla="*/ 257670 h 257175"/>
                    <a:gd name="connsiteX10" fmla="*/ 7153 w 152400"/>
                    <a:gd name="connsiteY10" fmla="*/ 257670 h 257175"/>
                    <a:gd name="connsiteX11" fmla="*/ 7153 w 152400"/>
                    <a:gd name="connsiteY11" fmla="*/ 11116 h 257175"/>
                    <a:gd name="connsiteX12" fmla="*/ 78972 w 152400"/>
                    <a:gd name="connsiteY12" fmla="*/ 160468 h 257175"/>
                    <a:gd name="connsiteX13" fmla="*/ 107213 w 152400"/>
                    <a:gd name="connsiteY13" fmla="*/ 95040 h 257175"/>
                    <a:gd name="connsiteX14" fmla="*/ 77895 w 152400"/>
                    <a:gd name="connsiteY14" fmla="*/ 33957 h 257175"/>
                    <a:gd name="connsiteX15" fmla="*/ 52502 w 152400"/>
                    <a:gd name="connsiteY15" fmla="*/ 95040 h 257175"/>
                    <a:gd name="connsiteX16" fmla="*/ 78972 w 152400"/>
                    <a:gd name="connsiteY16" fmla="*/ 160468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400" h="257175">
                      <a:moveTo>
                        <a:pt x="7144" y="11116"/>
                      </a:moveTo>
                      <a:lnTo>
                        <a:pt x="50387" y="11116"/>
                      </a:lnTo>
                      <a:lnTo>
                        <a:pt x="50387" y="39719"/>
                      </a:lnTo>
                      <a:lnTo>
                        <a:pt x="51102" y="39719"/>
                      </a:lnTo>
                      <a:cubicBezTo>
                        <a:pt x="56464" y="28918"/>
                        <a:pt x="69647" y="7144"/>
                        <a:pt x="97203" y="7144"/>
                      </a:cubicBezTo>
                      <a:cubicBezTo>
                        <a:pt x="139713" y="7144"/>
                        <a:pt x="154010" y="47187"/>
                        <a:pt x="154010" y="95040"/>
                      </a:cubicBezTo>
                      <a:cubicBezTo>
                        <a:pt x="154010" y="152267"/>
                        <a:pt x="135807" y="185099"/>
                        <a:pt x="91840" y="185099"/>
                      </a:cubicBezTo>
                      <a:cubicBezTo>
                        <a:pt x="65046" y="185099"/>
                        <a:pt x="56093" y="168335"/>
                        <a:pt x="51111" y="158286"/>
                      </a:cubicBezTo>
                      <a:lnTo>
                        <a:pt x="50397" y="158286"/>
                      </a:lnTo>
                      <a:lnTo>
                        <a:pt x="50397" y="257670"/>
                      </a:lnTo>
                      <a:lnTo>
                        <a:pt x="7153" y="257670"/>
                      </a:lnTo>
                      <a:lnTo>
                        <a:pt x="7153" y="11116"/>
                      </a:lnTo>
                      <a:close/>
                      <a:moveTo>
                        <a:pt x="78972" y="160468"/>
                      </a:moveTo>
                      <a:cubicBezTo>
                        <a:pt x="103956" y="160468"/>
                        <a:pt x="107213" y="121510"/>
                        <a:pt x="107213" y="95040"/>
                      </a:cubicBezTo>
                      <a:cubicBezTo>
                        <a:pt x="107213" y="72190"/>
                        <a:pt x="103956" y="33957"/>
                        <a:pt x="77895" y="33957"/>
                      </a:cubicBezTo>
                      <a:cubicBezTo>
                        <a:pt x="53607" y="33957"/>
                        <a:pt x="52502" y="72190"/>
                        <a:pt x="52502" y="95040"/>
                      </a:cubicBezTo>
                      <a:cubicBezTo>
                        <a:pt x="52502" y="121510"/>
                        <a:pt x="53607" y="160468"/>
                        <a:pt x="78972" y="160468"/>
                      </a:cubicBezTo>
                      <a:close/>
                    </a:path>
                  </a:pathLst>
                </a:custGeom>
                <a:grpFill/>
                <a:ln w="9525" cap="flat">
                  <a:noFill/>
                  <a:prstDash val="solid"/>
                  <a:miter/>
                </a:ln>
              </p:spPr>
              <p:txBody>
                <a:bodyPr rtlCol="0" anchor="ctr"/>
                <a:lstStyle/>
                <a:p>
                  <a:endParaRPr lang="ja-JP" altLang="en-US">
                    <a:solidFill>
                      <a:prstClr val="black"/>
                    </a:solidFill>
                  </a:endParaRPr>
                </a:p>
              </p:txBody>
            </p:sp>
            <p:sp>
              <p:nvSpPr>
                <p:cNvPr id="165" name="フリーフォーム: 図形 23">
                  <a:extLst>
                    <a:ext uri="{FF2B5EF4-FFF2-40B4-BE49-F238E27FC236}">
                      <a16:creationId xmlns:a16="http://schemas.microsoft.com/office/drawing/2014/main" id="{2C5277BE-AB9F-4171-9E2A-F60D96A3DBCC}"/>
                    </a:ext>
                  </a:extLst>
                </p:cNvPr>
                <p:cNvSpPr/>
                <p:nvPr/>
              </p:nvSpPr>
              <p:spPr>
                <a:xfrm>
                  <a:off x="924597" y="5565644"/>
                  <a:ext cx="152400" cy="190500"/>
                </a:xfrm>
                <a:custGeom>
                  <a:avLst/>
                  <a:gdLst>
                    <a:gd name="connsiteX0" fmla="*/ 103603 w 152400"/>
                    <a:gd name="connsiteY0" fmla="*/ 158667 h 190500"/>
                    <a:gd name="connsiteX1" fmla="*/ 102889 w 152400"/>
                    <a:gd name="connsiteY1" fmla="*/ 158667 h 190500"/>
                    <a:gd name="connsiteX2" fmla="*/ 54655 w 152400"/>
                    <a:gd name="connsiteY2" fmla="*/ 185080 h 190500"/>
                    <a:gd name="connsiteX3" fmla="*/ 7144 w 152400"/>
                    <a:gd name="connsiteY3" fmla="*/ 142608 h 190500"/>
                    <a:gd name="connsiteX4" fmla="*/ 103613 w 152400"/>
                    <a:gd name="connsiteY4" fmla="*/ 85735 h 190500"/>
                    <a:gd name="connsiteX5" fmla="*/ 103613 w 152400"/>
                    <a:gd name="connsiteY5" fmla="*/ 57188 h 190500"/>
                    <a:gd name="connsiteX6" fmla="*/ 82182 w 152400"/>
                    <a:gd name="connsiteY6" fmla="*/ 23946 h 190500"/>
                    <a:gd name="connsiteX7" fmla="*/ 59303 w 152400"/>
                    <a:gd name="connsiteY7" fmla="*/ 61817 h 190500"/>
                    <a:gd name="connsiteX8" fmla="*/ 13221 w 152400"/>
                    <a:gd name="connsiteY8" fmla="*/ 61817 h 190500"/>
                    <a:gd name="connsiteX9" fmla="*/ 82505 w 152400"/>
                    <a:gd name="connsiteY9" fmla="*/ 7144 h 190500"/>
                    <a:gd name="connsiteX10" fmla="*/ 146856 w 152400"/>
                    <a:gd name="connsiteY10" fmla="*/ 66104 h 190500"/>
                    <a:gd name="connsiteX11" fmla="*/ 146856 w 152400"/>
                    <a:gd name="connsiteY11" fmla="*/ 181165 h 190500"/>
                    <a:gd name="connsiteX12" fmla="*/ 103613 w 152400"/>
                    <a:gd name="connsiteY12" fmla="*/ 181165 h 190500"/>
                    <a:gd name="connsiteX13" fmla="*/ 103613 w 152400"/>
                    <a:gd name="connsiteY13" fmla="*/ 158667 h 190500"/>
                    <a:gd name="connsiteX14" fmla="*/ 103603 w 152400"/>
                    <a:gd name="connsiteY14" fmla="*/ 102565 h 190500"/>
                    <a:gd name="connsiteX15" fmla="*/ 51788 w 152400"/>
                    <a:gd name="connsiteY15" fmla="*/ 136522 h 190500"/>
                    <a:gd name="connsiteX16" fmla="*/ 71466 w 152400"/>
                    <a:gd name="connsiteY16" fmla="*/ 160458 h 190500"/>
                    <a:gd name="connsiteX17" fmla="*/ 103603 w 152400"/>
                    <a:gd name="connsiteY17" fmla="*/ 115053 h 190500"/>
                    <a:gd name="connsiteX18" fmla="*/ 103603 w 152400"/>
                    <a:gd name="connsiteY18" fmla="*/ 1025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2400" h="190500">
                      <a:moveTo>
                        <a:pt x="103603" y="158667"/>
                      </a:moveTo>
                      <a:lnTo>
                        <a:pt x="102889" y="158667"/>
                      </a:lnTo>
                      <a:cubicBezTo>
                        <a:pt x="98222" y="166878"/>
                        <a:pt x="81458" y="185080"/>
                        <a:pt x="54655" y="185080"/>
                      </a:cubicBezTo>
                      <a:cubicBezTo>
                        <a:pt x="27851" y="185080"/>
                        <a:pt x="7144" y="167230"/>
                        <a:pt x="7144" y="142608"/>
                      </a:cubicBezTo>
                      <a:cubicBezTo>
                        <a:pt x="7144" y="90049"/>
                        <a:pt x="79305" y="86878"/>
                        <a:pt x="103613" y="85735"/>
                      </a:cubicBezTo>
                      <a:lnTo>
                        <a:pt x="103613" y="57188"/>
                      </a:lnTo>
                      <a:cubicBezTo>
                        <a:pt x="103613" y="32166"/>
                        <a:pt x="96126" y="23946"/>
                        <a:pt x="82182" y="23946"/>
                      </a:cubicBezTo>
                      <a:cubicBezTo>
                        <a:pt x="59665" y="23946"/>
                        <a:pt x="60017" y="50740"/>
                        <a:pt x="59303" y="61817"/>
                      </a:cubicBezTo>
                      <a:lnTo>
                        <a:pt x="13221" y="61817"/>
                      </a:lnTo>
                      <a:cubicBezTo>
                        <a:pt x="13221" y="26118"/>
                        <a:pt x="37147" y="7144"/>
                        <a:pt x="82505" y="7144"/>
                      </a:cubicBezTo>
                      <a:cubicBezTo>
                        <a:pt x="136150" y="7144"/>
                        <a:pt x="146856" y="32176"/>
                        <a:pt x="146856" y="66104"/>
                      </a:cubicBezTo>
                      <a:lnTo>
                        <a:pt x="146856" y="181165"/>
                      </a:lnTo>
                      <a:lnTo>
                        <a:pt x="103613" y="181165"/>
                      </a:lnTo>
                      <a:lnTo>
                        <a:pt x="103613" y="158667"/>
                      </a:lnTo>
                      <a:close/>
                      <a:moveTo>
                        <a:pt x="103603" y="102565"/>
                      </a:moveTo>
                      <a:cubicBezTo>
                        <a:pt x="88963" y="103984"/>
                        <a:pt x="51788" y="108652"/>
                        <a:pt x="51788" y="136522"/>
                      </a:cubicBezTo>
                      <a:cubicBezTo>
                        <a:pt x="51788" y="150819"/>
                        <a:pt x="58941" y="160458"/>
                        <a:pt x="71466" y="160458"/>
                      </a:cubicBezTo>
                      <a:cubicBezTo>
                        <a:pt x="91821" y="160458"/>
                        <a:pt x="103603" y="138989"/>
                        <a:pt x="103603" y="115053"/>
                      </a:cubicBezTo>
                      <a:lnTo>
                        <a:pt x="103603" y="102565"/>
                      </a:lnTo>
                      <a:close/>
                    </a:path>
                  </a:pathLst>
                </a:custGeom>
                <a:grpFill/>
                <a:ln w="9525" cap="flat">
                  <a:noFill/>
                  <a:prstDash val="solid"/>
                  <a:miter/>
                </a:ln>
              </p:spPr>
              <p:txBody>
                <a:bodyPr rtlCol="0" anchor="ctr"/>
                <a:lstStyle/>
                <a:p>
                  <a:endParaRPr lang="ja-JP" altLang="en-US">
                    <a:solidFill>
                      <a:prstClr val="black"/>
                    </a:solidFill>
                  </a:endParaRPr>
                </a:p>
              </p:txBody>
            </p:sp>
            <p:sp>
              <p:nvSpPr>
                <p:cNvPr id="166" name="フリーフォーム: 図形 24">
                  <a:extLst>
                    <a:ext uri="{FF2B5EF4-FFF2-40B4-BE49-F238E27FC236}">
                      <a16:creationId xmlns:a16="http://schemas.microsoft.com/office/drawing/2014/main" id="{4CADC03F-C048-4ECC-A24F-8EEEAB23A3AC}"/>
                    </a:ext>
                  </a:extLst>
                </p:cNvPr>
                <p:cNvSpPr/>
                <p:nvPr/>
              </p:nvSpPr>
              <p:spPr>
                <a:xfrm>
                  <a:off x="1108249" y="5565635"/>
                  <a:ext cx="152400" cy="180975"/>
                </a:xfrm>
                <a:custGeom>
                  <a:avLst/>
                  <a:gdLst>
                    <a:gd name="connsiteX0" fmla="*/ 7144 w 152400"/>
                    <a:gd name="connsiteY0" fmla="*/ 11116 h 180975"/>
                    <a:gd name="connsiteX1" fmla="*/ 50387 w 152400"/>
                    <a:gd name="connsiteY1" fmla="*/ 11116 h 180975"/>
                    <a:gd name="connsiteX2" fmla="*/ 50387 w 152400"/>
                    <a:gd name="connsiteY2" fmla="*/ 49330 h 180975"/>
                    <a:gd name="connsiteX3" fmla="*/ 51092 w 152400"/>
                    <a:gd name="connsiteY3" fmla="*/ 49330 h 180975"/>
                    <a:gd name="connsiteX4" fmla="*/ 106842 w 152400"/>
                    <a:gd name="connsiteY4" fmla="*/ 7144 h 180975"/>
                    <a:gd name="connsiteX5" fmla="*/ 149742 w 152400"/>
                    <a:gd name="connsiteY5" fmla="*/ 63951 h 180975"/>
                    <a:gd name="connsiteX6" fmla="*/ 149742 w 152400"/>
                    <a:gd name="connsiteY6" fmla="*/ 181175 h 180975"/>
                    <a:gd name="connsiteX7" fmla="*/ 106470 w 152400"/>
                    <a:gd name="connsiteY7" fmla="*/ 181175 h 180975"/>
                    <a:gd name="connsiteX8" fmla="*/ 106470 w 152400"/>
                    <a:gd name="connsiteY8" fmla="*/ 75047 h 180975"/>
                    <a:gd name="connsiteX9" fmla="*/ 87925 w 152400"/>
                    <a:gd name="connsiteY9" fmla="*/ 38214 h 180975"/>
                    <a:gd name="connsiteX10" fmla="*/ 50397 w 152400"/>
                    <a:gd name="connsiteY10" fmla="*/ 114376 h 180975"/>
                    <a:gd name="connsiteX11" fmla="*/ 50397 w 152400"/>
                    <a:gd name="connsiteY11" fmla="*/ 181175 h 180975"/>
                    <a:gd name="connsiteX12" fmla="*/ 7153 w 152400"/>
                    <a:gd name="connsiteY12" fmla="*/ 181175 h 180975"/>
                    <a:gd name="connsiteX13" fmla="*/ 7153 w 152400"/>
                    <a:gd name="connsiteY13"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7144" y="11116"/>
                      </a:moveTo>
                      <a:lnTo>
                        <a:pt x="50387" y="11116"/>
                      </a:lnTo>
                      <a:lnTo>
                        <a:pt x="50387" y="49330"/>
                      </a:lnTo>
                      <a:lnTo>
                        <a:pt x="51092" y="49330"/>
                      </a:lnTo>
                      <a:cubicBezTo>
                        <a:pt x="57893" y="35433"/>
                        <a:pt x="71847" y="7144"/>
                        <a:pt x="106842" y="7144"/>
                      </a:cubicBezTo>
                      <a:cubicBezTo>
                        <a:pt x="138655" y="7144"/>
                        <a:pt x="149742" y="27889"/>
                        <a:pt x="149742" y="63951"/>
                      </a:cubicBezTo>
                      <a:lnTo>
                        <a:pt x="149742" y="181175"/>
                      </a:lnTo>
                      <a:lnTo>
                        <a:pt x="106470" y="181175"/>
                      </a:lnTo>
                      <a:lnTo>
                        <a:pt x="106470" y="75047"/>
                      </a:lnTo>
                      <a:cubicBezTo>
                        <a:pt x="106470" y="53940"/>
                        <a:pt x="104708" y="38214"/>
                        <a:pt x="87925" y="38214"/>
                      </a:cubicBezTo>
                      <a:cubicBezTo>
                        <a:pt x="57560" y="38214"/>
                        <a:pt x="50397" y="87182"/>
                        <a:pt x="50397" y="114376"/>
                      </a:cubicBezTo>
                      <a:lnTo>
                        <a:pt x="50397" y="181175"/>
                      </a:lnTo>
                      <a:lnTo>
                        <a:pt x="7153" y="181175"/>
                      </a:lnTo>
                      <a:lnTo>
                        <a:pt x="7153" y="1111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67" name="フリーフォーム: 図形 25">
                  <a:extLst>
                    <a:ext uri="{FF2B5EF4-FFF2-40B4-BE49-F238E27FC236}">
                      <a16:creationId xmlns:a16="http://schemas.microsoft.com/office/drawing/2014/main" id="{093CCA68-5167-41C4-8124-E850F65046E3}"/>
                    </a:ext>
                  </a:extLst>
                </p:cNvPr>
                <p:cNvSpPr/>
                <p:nvPr/>
              </p:nvSpPr>
              <p:spPr>
                <a:xfrm>
                  <a:off x="1348364" y="5492921"/>
                  <a:ext cx="171450" cy="257175"/>
                </a:xfrm>
                <a:custGeom>
                  <a:avLst/>
                  <a:gdLst>
                    <a:gd name="connsiteX0" fmla="*/ 66475 w 171450"/>
                    <a:gd name="connsiteY0" fmla="*/ 35585 h 257175"/>
                    <a:gd name="connsiteX1" fmla="*/ 7144 w 171450"/>
                    <a:gd name="connsiteY1" fmla="*/ 35585 h 257175"/>
                    <a:gd name="connsiteX2" fmla="*/ 7144 w 171450"/>
                    <a:gd name="connsiteY2" fmla="*/ 7144 h 257175"/>
                    <a:gd name="connsiteX3" fmla="*/ 172603 w 171450"/>
                    <a:gd name="connsiteY3" fmla="*/ 7144 h 257175"/>
                    <a:gd name="connsiteX4" fmla="*/ 172603 w 171450"/>
                    <a:gd name="connsiteY4" fmla="*/ 35585 h 257175"/>
                    <a:gd name="connsiteX5" fmla="*/ 113271 w 171450"/>
                    <a:gd name="connsiteY5" fmla="*/ 35585 h 257175"/>
                    <a:gd name="connsiteX6" fmla="*/ 113271 w 171450"/>
                    <a:gd name="connsiteY6" fmla="*/ 253889 h 257175"/>
                    <a:gd name="connsiteX7" fmla="*/ 66465 w 171450"/>
                    <a:gd name="connsiteY7" fmla="*/ 253889 h 257175"/>
                    <a:gd name="connsiteX8" fmla="*/ 66465 w 171450"/>
                    <a:gd name="connsiteY8" fmla="*/ 3558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57175">
                      <a:moveTo>
                        <a:pt x="66475" y="35585"/>
                      </a:moveTo>
                      <a:lnTo>
                        <a:pt x="7144" y="35585"/>
                      </a:lnTo>
                      <a:lnTo>
                        <a:pt x="7144" y="7144"/>
                      </a:lnTo>
                      <a:lnTo>
                        <a:pt x="172603" y="7144"/>
                      </a:lnTo>
                      <a:lnTo>
                        <a:pt x="172603" y="35585"/>
                      </a:lnTo>
                      <a:lnTo>
                        <a:pt x="113271" y="35585"/>
                      </a:lnTo>
                      <a:lnTo>
                        <a:pt x="113271" y="253889"/>
                      </a:lnTo>
                      <a:lnTo>
                        <a:pt x="66465" y="253889"/>
                      </a:lnTo>
                      <a:lnTo>
                        <a:pt x="66465" y="35585"/>
                      </a:lnTo>
                      <a:close/>
                    </a:path>
                  </a:pathLst>
                </a:custGeom>
                <a:grpFill/>
                <a:ln w="9525" cap="flat">
                  <a:noFill/>
                  <a:prstDash val="solid"/>
                  <a:miter/>
                </a:ln>
              </p:spPr>
              <p:txBody>
                <a:bodyPr rtlCol="0" anchor="ctr"/>
                <a:lstStyle/>
                <a:p>
                  <a:endParaRPr lang="ja-JP" altLang="en-US">
                    <a:solidFill>
                      <a:prstClr val="black"/>
                    </a:solidFill>
                  </a:endParaRPr>
                </a:p>
              </p:txBody>
            </p:sp>
            <p:sp>
              <p:nvSpPr>
                <p:cNvPr id="168" name="フリーフォーム: 図形 26">
                  <a:extLst>
                    <a:ext uri="{FF2B5EF4-FFF2-40B4-BE49-F238E27FC236}">
                      <a16:creationId xmlns:a16="http://schemas.microsoft.com/office/drawing/2014/main" id="{A4199214-E4AC-479E-A0EE-3CE638C84E84}"/>
                    </a:ext>
                  </a:extLst>
                </p:cNvPr>
                <p:cNvSpPr/>
                <p:nvPr/>
              </p:nvSpPr>
              <p:spPr>
                <a:xfrm>
                  <a:off x="1517833" y="5565635"/>
                  <a:ext cx="161925" cy="190500"/>
                </a:xfrm>
                <a:custGeom>
                  <a:avLst/>
                  <a:gdLst>
                    <a:gd name="connsiteX0" fmla="*/ 7144 w 161925"/>
                    <a:gd name="connsiteY0" fmla="*/ 96155 h 190500"/>
                    <a:gd name="connsiteX1" fmla="*/ 85753 w 161925"/>
                    <a:gd name="connsiteY1" fmla="*/ 7144 h 190500"/>
                    <a:gd name="connsiteX2" fmla="*/ 164020 w 161925"/>
                    <a:gd name="connsiteY2" fmla="*/ 96155 h 190500"/>
                    <a:gd name="connsiteX3" fmla="*/ 85753 w 161925"/>
                    <a:gd name="connsiteY3" fmla="*/ 185090 h 190500"/>
                    <a:gd name="connsiteX4" fmla="*/ 7144 w 161925"/>
                    <a:gd name="connsiteY4" fmla="*/ 96155 h 190500"/>
                    <a:gd name="connsiteX5" fmla="*/ 85753 w 161925"/>
                    <a:gd name="connsiteY5" fmla="*/ 168326 h 190500"/>
                    <a:gd name="connsiteX6" fmla="*/ 117205 w 161925"/>
                    <a:gd name="connsiteY6" fmla="*/ 96155 h 190500"/>
                    <a:gd name="connsiteX7" fmla="*/ 85753 w 161925"/>
                    <a:gd name="connsiteY7" fmla="*/ 23955 h 190500"/>
                    <a:gd name="connsiteX8" fmla="*/ 53940 w 161925"/>
                    <a:gd name="connsiteY8" fmla="*/ 96155 h 190500"/>
                    <a:gd name="connsiteX9" fmla="*/ 85753 w 161925"/>
                    <a:gd name="connsiteY9" fmla="*/ 168326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1925" h="190500">
                      <a:moveTo>
                        <a:pt x="7144" y="96155"/>
                      </a:moveTo>
                      <a:cubicBezTo>
                        <a:pt x="7144" y="31451"/>
                        <a:pt x="37547" y="7144"/>
                        <a:pt x="85753" y="7144"/>
                      </a:cubicBezTo>
                      <a:cubicBezTo>
                        <a:pt x="133988" y="7144"/>
                        <a:pt x="164020" y="31451"/>
                        <a:pt x="164020" y="96155"/>
                      </a:cubicBezTo>
                      <a:cubicBezTo>
                        <a:pt x="164020" y="160810"/>
                        <a:pt x="133998" y="185090"/>
                        <a:pt x="85753" y="185090"/>
                      </a:cubicBezTo>
                      <a:cubicBezTo>
                        <a:pt x="37547" y="185090"/>
                        <a:pt x="7144" y="160810"/>
                        <a:pt x="7144" y="96155"/>
                      </a:cubicBezTo>
                      <a:close/>
                      <a:moveTo>
                        <a:pt x="85753" y="168326"/>
                      </a:moveTo>
                      <a:cubicBezTo>
                        <a:pt x="115424" y="168326"/>
                        <a:pt x="117205" y="133674"/>
                        <a:pt x="117205" y="96155"/>
                      </a:cubicBezTo>
                      <a:cubicBezTo>
                        <a:pt x="117205" y="58598"/>
                        <a:pt x="115424" y="23955"/>
                        <a:pt x="85753" y="23955"/>
                      </a:cubicBezTo>
                      <a:cubicBezTo>
                        <a:pt x="56454" y="23955"/>
                        <a:pt x="53940" y="58598"/>
                        <a:pt x="53940" y="96155"/>
                      </a:cubicBezTo>
                      <a:cubicBezTo>
                        <a:pt x="53940" y="133674"/>
                        <a:pt x="56445" y="168326"/>
                        <a:pt x="85753" y="168326"/>
                      </a:cubicBezTo>
                      <a:close/>
                    </a:path>
                  </a:pathLst>
                </a:custGeom>
                <a:grpFill/>
                <a:ln w="9525" cap="flat">
                  <a:noFill/>
                  <a:prstDash val="solid"/>
                  <a:miter/>
                </a:ln>
              </p:spPr>
              <p:txBody>
                <a:bodyPr rtlCol="0" anchor="ctr"/>
                <a:lstStyle/>
                <a:p>
                  <a:endParaRPr lang="ja-JP" altLang="en-US">
                    <a:solidFill>
                      <a:prstClr val="black"/>
                    </a:solidFill>
                  </a:endParaRPr>
                </a:p>
              </p:txBody>
            </p:sp>
            <p:sp>
              <p:nvSpPr>
                <p:cNvPr id="169" name="フリーフォーム: 図形 27">
                  <a:extLst>
                    <a:ext uri="{FF2B5EF4-FFF2-40B4-BE49-F238E27FC236}">
                      <a16:creationId xmlns:a16="http://schemas.microsoft.com/office/drawing/2014/main" id="{DE82D2A3-1DB6-4A03-98A7-9E61852AF8A4}"/>
                    </a:ext>
                  </a:extLst>
                </p:cNvPr>
                <p:cNvSpPr/>
                <p:nvPr/>
              </p:nvSpPr>
              <p:spPr>
                <a:xfrm>
                  <a:off x="1708276" y="5569606"/>
                  <a:ext cx="152400" cy="180975"/>
                </a:xfrm>
                <a:custGeom>
                  <a:avLst/>
                  <a:gdLst>
                    <a:gd name="connsiteX0" fmla="*/ 106509 w 152400"/>
                    <a:gd name="connsiteY0" fmla="*/ 138989 h 180975"/>
                    <a:gd name="connsiteX1" fmla="*/ 105775 w 152400"/>
                    <a:gd name="connsiteY1" fmla="*/ 138989 h 180975"/>
                    <a:gd name="connsiteX2" fmla="*/ 53607 w 152400"/>
                    <a:gd name="connsiteY2" fmla="*/ 181118 h 180975"/>
                    <a:gd name="connsiteX3" fmla="*/ 7144 w 152400"/>
                    <a:gd name="connsiteY3" fmla="*/ 124301 h 180975"/>
                    <a:gd name="connsiteX4" fmla="*/ 7144 w 152400"/>
                    <a:gd name="connsiteY4" fmla="*/ 7144 h 180975"/>
                    <a:gd name="connsiteX5" fmla="*/ 50406 w 152400"/>
                    <a:gd name="connsiteY5" fmla="*/ 7144 h 180975"/>
                    <a:gd name="connsiteX6" fmla="*/ 50406 w 152400"/>
                    <a:gd name="connsiteY6" fmla="*/ 113252 h 180975"/>
                    <a:gd name="connsiteX7" fmla="*/ 72180 w 152400"/>
                    <a:gd name="connsiteY7" fmla="*/ 150038 h 180975"/>
                    <a:gd name="connsiteX8" fmla="*/ 106509 w 152400"/>
                    <a:gd name="connsiteY8" fmla="*/ 73933 h 180975"/>
                    <a:gd name="connsiteX9" fmla="*/ 106509 w 152400"/>
                    <a:gd name="connsiteY9" fmla="*/ 7144 h 180975"/>
                    <a:gd name="connsiteX10" fmla="*/ 149733 w 152400"/>
                    <a:gd name="connsiteY10" fmla="*/ 7144 h 180975"/>
                    <a:gd name="connsiteX11" fmla="*/ 149733 w 152400"/>
                    <a:gd name="connsiteY11" fmla="*/ 177203 h 180975"/>
                    <a:gd name="connsiteX12" fmla="*/ 106509 w 152400"/>
                    <a:gd name="connsiteY12" fmla="*/ 177203 h 180975"/>
                    <a:gd name="connsiteX13" fmla="*/ 106509 w 152400"/>
                    <a:gd name="connsiteY13" fmla="*/ 138989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106509" y="138989"/>
                      </a:moveTo>
                      <a:lnTo>
                        <a:pt x="105775" y="138989"/>
                      </a:lnTo>
                      <a:cubicBezTo>
                        <a:pt x="99336" y="152876"/>
                        <a:pt x="86125" y="181118"/>
                        <a:pt x="53607" y="181118"/>
                      </a:cubicBezTo>
                      <a:cubicBezTo>
                        <a:pt x="20746" y="181118"/>
                        <a:pt x="7144" y="160420"/>
                        <a:pt x="7144" y="124301"/>
                      </a:cubicBezTo>
                      <a:lnTo>
                        <a:pt x="7144" y="7144"/>
                      </a:lnTo>
                      <a:lnTo>
                        <a:pt x="50406" y="7144"/>
                      </a:lnTo>
                      <a:lnTo>
                        <a:pt x="50406" y="113252"/>
                      </a:lnTo>
                      <a:cubicBezTo>
                        <a:pt x="50406" y="134340"/>
                        <a:pt x="56102" y="150038"/>
                        <a:pt x="72180" y="150038"/>
                      </a:cubicBezTo>
                      <a:cubicBezTo>
                        <a:pt x="100070" y="150038"/>
                        <a:pt x="106509" y="101060"/>
                        <a:pt x="106509" y="73933"/>
                      </a:cubicBezTo>
                      <a:lnTo>
                        <a:pt x="106509" y="7144"/>
                      </a:lnTo>
                      <a:lnTo>
                        <a:pt x="149733" y="7144"/>
                      </a:lnTo>
                      <a:lnTo>
                        <a:pt x="149733" y="177203"/>
                      </a:lnTo>
                      <a:lnTo>
                        <a:pt x="106509" y="177203"/>
                      </a:lnTo>
                      <a:lnTo>
                        <a:pt x="106509" y="138989"/>
                      </a:lnTo>
                      <a:close/>
                    </a:path>
                  </a:pathLst>
                </a:custGeom>
                <a:grpFill/>
                <a:ln w="9525" cap="flat">
                  <a:noFill/>
                  <a:prstDash val="solid"/>
                  <a:miter/>
                </a:ln>
              </p:spPr>
              <p:txBody>
                <a:bodyPr rtlCol="0" anchor="ctr"/>
                <a:lstStyle/>
                <a:p>
                  <a:endParaRPr lang="ja-JP" altLang="en-US">
                    <a:solidFill>
                      <a:prstClr val="black"/>
                    </a:solidFill>
                  </a:endParaRPr>
                </a:p>
              </p:txBody>
            </p:sp>
            <p:sp>
              <p:nvSpPr>
                <p:cNvPr id="170" name="フリーフォーム: 図形 28">
                  <a:extLst>
                    <a:ext uri="{FF2B5EF4-FFF2-40B4-BE49-F238E27FC236}">
                      <a16:creationId xmlns:a16="http://schemas.microsoft.com/office/drawing/2014/main" id="{B9D2F927-E5FD-4CD5-B3D4-BCAFB7B21BC9}"/>
                    </a:ext>
                  </a:extLst>
                </p:cNvPr>
                <p:cNvSpPr/>
                <p:nvPr/>
              </p:nvSpPr>
              <p:spPr>
                <a:xfrm>
                  <a:off x="1898376" y="5565635"/>
                  <a:ext cx="114300" cy="180975"/>
                </a:xfrm>
                <a:custGeom>
                  <a:avLst/>
                  <a:gdLst>
                    <a:gd name="connsiteX0" fmla="*/ 7144 w 114300"/>
                    <a:gd name="connsiteY0" fmla="*/ 11116 h 180975"/>
                    <a:gd name="connsiteX1" fmla="*/ 50378 w 114300"/>
                    <a:gd name="connsiteY1" fmla="*/ 11116 h 180975"/>
                    <a:gd name="connsiteX2" fmla="*/ 50378 w 114300"/>
                    <a:gd name="connsiteY2" fmla="*/ 53654 h 180975"/>
                    <a:gd name="connsiteX3" fmla="*/ 51121 w 114300"/>
                    <a:gd name="connsiteY3" fmla="*/ 53654 h 180975"/>
                    <a:gd name="connsiteX4" fmla="*/ 108623 w 114300"/>
                    <a:gd name="connsiteY4" fmla="*/ 7144 h 180975"/>
                    <a:gd name="connsiteX5" fmla="*/ 108623 w 114300"/>
                    <a:gd name="connsiteY5" fmla="*/ 51854 h 180975"/>
                    <a:gd name="connsiteX6" fmla="*/ 50378 w 114300"/>
                    <a:gd name="connsiteY6" fmla="*/ 105032 h 180975"/>
                    <a:gd name="connsiteX7" fmla="*/ 50378 w 114300"/>
                    <a:gd name="connsiteY7" fmla="*/ 181166 h 180975"/>
                    <a:gd name="connsiteX8" fmla="*/ 7144 w 114300"/>
                    <a:gd name="connsiteY8" fmla="*/ 181166 h 180975"/>
                    <a:gd name="connsiteX9" fmla="*/ 7144 w 114300"/>
                    <a:gd name="connsiteY9"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80975">
                      <a:moveTo>
                        <a:pt x="7144" y="11116"/>
                      </a:moveTo>
                      <a:lnTo>
                        <a:pt x="50378" y="11116"/>
                      </a:lnTo>
                      <a:lnTo>
                        <a:pt x="50378" y="53654"/>
                      </a:lnTo>
                      <a:lnTo>
                        <a:pt x="51121" y="53654"/>
                      </a:lnTo>
                      <a:cubicBezTo>
                        <a:pt x="62912" y="31451"/>
                        <a:pt x="76457" y="9306"/>
                        <a:pt x="108623" y="7144"/>
                      </a:cubicBezTo>
                      <a:lnTo>
                        <a:pt x="108623" y="51854"/>
                      </a:lnTo>
                      <a:cubicBezTo>
                        <a:pt x="65427" y="51854"/>
                        <a:pt x="50378" y="67170"/>
                        <a:pt x="50378" y="105032"/>
                      </a:cubicBezTo>
                      <a:lnTo>
                        <a:pt x="50378" y="181166"/>
                      </a:lnTo>
                      <a:lnTo>
                        <a:pt x="7144" y="181166"/>
                      </a:lnTo>
                      <a:lnTo>
                        <a:pt x="7144" y="1111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71" name="フリーフォーム: 図形 29">
                  <a:extLst>
                    <a:ext uri="{FF2B5EF4-FFF2-40B4-BE49-F238E27FC236}">
                      <a16:creationId xmlns:a16="http://schemas.microsoft.com/office/drawing/2014/main" id="{0EFAB5FD-45E6-422E-9DD8-8D55623026FF}"/>
                    </a:ext>
                  </a:extLst>
                </p:cNvPr>
                <p:cNvSpPr/>
                <p:nvPr/>
              </p:nvSpPr>
              <p:spPr>
                <a:xfrm>
                  <a:off x="2027763" y="5492911"/>
                  <a:ext cx="57150" cy="257175"/>
                </a:xfrm>
                <a:custGeom>
                  <a:avLst/>
                  <a:gdLst>
                    <a:gd name="connsiteX0" fmla="*/ 7144 w 57150"/>
                    <a:gd name="connsiteY0" fmla="*/ 7144 h 257175"/>
                    <a:gd name="connsiteX1" fmla="*/ 50378 w 57150"/>
                    <a:gd name="connsiteY1" fmla="*/ 7144 h 257175"/>
                    <a:gd name="connsiteX2" fmla="*/ 50378 w 57150"/>
                    <a:gd name="connsiteY2" fmla="*/ 46653 h 257175"/>
                    <a:gd name="connsiteX3" fmla="*/ 7144 w 57150"/>
                    <a:gd name="connsiteY3" fmla="*/ 46653 h 257175"/>
                    <a:gd name="connsiteX4" fmla="*/ 7144 w 57150"/>
                    <a:gd name="connsiteY4" fmla="*/ 7144 h 257175"/>
                    <a:gd name="connsiteX5" fmla="*/ 7144 w 57150"/>
                    <a:gd name="connsiteY5" fmla="*/ 83839 h 257175"/>
                    <a:gd name="connsiteX6" fmla="*/ 50378 w 57150"/>
                    <a:gd name="connsiteY6" fmla="*/ 83839 h 257175"/>
                    <a:gd name="connsiteX7" fmla="*/ 50378 w 57150"/>
                    <a:gd name="connsiteY7" fmla="*/ 253898 h 257175"/>
                    <a:gd name="connsiteX8" fmla="*/ 7144 w 57150"/>
                    <a:gd name="connsiteY8" fmla="*/ 253898 h 257175"/>
                    <a:gd name="connsiteX9" fmla="*/ 7144 w 57150"/>
                    <a:gd name="connsiteY9" fmla="*/ 83839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0" h="257175">
                      <a:moveTo>
                        <a:pt x="7144" y="7144"/>
                      </a:moveTo>
                      <a:lnTo>
                        <a:pt x="50378" y="7144"/>
                      </a:lnTo>
                      <a:lnTo>
                        <a:pt x="50378" y="46653"/>
                      </a:lnTo>
                      <a:lnTo>
                        <a:pt x="7144" y="46653"/>
                      </a:lnTo>
                      <a:lnTo>
                        <a:pt x="7144" y="7144"/>
                      </a:lnTo>
                      <a:close/>
                      <a:moveTo>
                        <a:pt x="7144" y="83839"/>
                      </a:moveTo>
                      <a:lnTo>
                        <a:pt x="50378" y="83839"/>
                      </a:lnTo>
                      <a:lnTo>
                        <a:pt x="50378" y="253898"/>
                      </a:lnTo>
                      <a:lnTo>
                        <a:pt x="7144" y="253898"/>
                      </a:lnTo>
                      <a:lnTo>
                        <a:pt x="7144" y="83839"/>
                      </a:lnTo>
                      <a:close/>
                    </a:path>
                  </a:pathLst>
                </a:custGeom>
                <a:grpFill/>
                <a:ln w="9525" cap="flat">
                  <a:noFill/>
                  <a:prstDash val="solid"/>
                  <a:miter/>
                </a:ln>
              </p:spPr>
              <p:txBody>
                <a:bodyPr rtlCol="0" anchor="ctr"/>
                <a:lstStyle/>
                <a:p>
                  <a:endParaRPr lang="ja-JP" altLang="en-US">
                    <a:solidFill>
                      <a:prstClr val="black"/>
                    </a:solidFill>
                  </a:endParaRPr>
                </a:p>
              </p:txBody>
            </p:sp>
            <p:sp>
              <p:nvSpPr>
                <p:cNvPr id="172" name="フリーフォーム: 図形 30">
                  <a:extLst>
                    <a:ext uri="{FF2B5EF4-FFF2-40B4-BE49-F238E27FC236}">
                      <a16:creationId xmlns:a16="http://schemas.microsoft.com/office/drawing/2014/main" id="{33D63B9A-9C3E-438E-A226-85B62E9DB3F9}"/>
                    </a:ext>
                  </a:extLst>
                </p:cNvPr>
                <p:cNvSpPr/>
                <p:nvPr/>
              </p:nvSpPr>
              <p:spPr>
                <a:xfrm>
                  <a:off x="2104583" y="5565654"/>
                  <a:ext cx="123825" cy="190500"/>
                </a:xfrm>
                <a:custGeom>
                  <a:avLst/>
                  <a:gdLst>
                    <a:gd name="connsiteX0" fmla="*/ 107556 w 123825"/>
                    <a:gd name="connsiteY0" fmla="*/ 48968 h 190500"/>
                    <a:gd name="connsiteX1" fmla="*/ 66084 w 123825"/>
                    <a:gd name="connsiteY1" fmla="*/ 29299 h 190500"/>
                    <a:gd name="connsiteX2" fmla="*/ 45053 w 123825"/>
                    <a:gd name="connsiteY2" fmla="*/ 45348 h 190500"/>
                    <a:gd name="connsiteX3" fmla="*/ 93240 w 123825"/>
                    <a:gd name="connsiteY3" fmla="*/ 88249 h 190500"/>
                    <a:gd name="connsiteX4" fmla="*/ 118634 w 123825"/>
                    <a:gd name="connsiteY4" fmla="*/ 134026 h 190500"/>
                    <a:gd name="connsiteX5" fmla="*/ 53254 w 123825"/>
                    <a:gd name="connsiteY5" fmla="*/ 185090 h 190500"/>
                    <a:gd name="connsiteX6" fmla="*/ 8572 w 123825"/>
                    <a:gd name="connsiteY6" fmla="*/ 178298 h 190500"/>
                    <a:gd name="connsiteX7" fmla="*/ 8572 w 123825"/>
                    <a:gd name="connsiteY7" fmla="*/ 139694 h 190500"/>
                    <a:gd name="connsiteX8" fmla="*/ 53978 w 123825"/>
                    <a:gd name="connsiteY8" fmla="*/ 160468 h 190500"/>
                    <a:gd name="connsiteX9" fmla="*/ 79324 w 123825"/>
                    <a:gd name="connsiteY9" fmla="*/ 143313 h 190500"/>
                    <a:gd name="connsiteX10" fmla="*/ 30356 w 123825"/>
                    <a:gd name="connsiteY10" fmla="*/ 99346 h 190500"/>
                    <a:gd name="connsiteX11" fmla="*/ 7144 w 123825"/>
                    <a:gd name="connsiteY11" fmla="*/ 57531 h 190500"/>
                    <a:gd name="connsiteX12" fmla="*/ 67847 w 123825"/>
                    <a:gd name="connsiteY12" fmla="*/ 7144 h 190500"/>
                    <a:gd name="connsiteX13" fmla="*/ 107556 w 123825"/>
                    <a:gd name="connsiteY13" fmla="*/ 13611 h 190500"/>
                    <a:gd name="connsiteX14" fmla="*/ 107556 w 123825"/>
                    <a:gd name="connsiteY14" fmla="*/ 4896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825" h="190500">
                      <a:moveTo>
                        <a:pt x="107556" y="48968"/>
                      </a:moveTo>
                      <a:cubicBezTo>
                        <a:pt x="97546" y="40396"/>
                        <a:pt x="83248" y="29299"/>
                        <a:pt x="66084" y="29299"/>
                      </a:cubicBezTo>
                      <a:cubicBezTo>
                        <a:pt x="57131" y="29299"/>
                        <a:pt x="45053" y="33547"/>
                        <a:pt x="45053" y="45348"/>
                      </a:cubicBezTo>
                      <a:cubicBezTo>
                        <a:pt x="45053" y="61817"/>
                        <a:pt x="76438" y="73981"/>
                        <a:pt x="93240" y="88249"/>
                      </a:cubicBezTo>
                      <a:cubicBezTo>
                        <a:pt x="111833" y="103679"/>
                        <a:pt x="118634" y="114367"/>
                        <a:pt x="118634" y="134026"/>
                      </a:cubicBezTo>
                      <a:cubicBezTo>
                        <a:pt x="118634" y="171174"/>
                        <a:pt x="88297" y="185090"/>
                        <a:pt x="53254" y="185090"/>
                      </a:cubicBezTo>
                      <a:cubicBezTo>
                        <a:pt x="32499" y="185090"/>
                        <a:pt x="16069" y="180451"/>
                        <a:pt x="8572" y="178298"/>
                      </a:cubicBezTo>
                      <a:lnTo>
                        <a:pt x="8572" y="139694"/>
                      </a:lnTo>
                      <a:cubicBezTo>
                        <a:pt x="16459" y="146504"/>
                        <a:pt x="33642" y="160468"/>
                        <a:pt x="53978" y="160468"/>
                      </a:cubicBezTo>
                      <a:cubicBezTo>
                        <a:pt x="69647" y="160468"/>
                        <a:pt x="79324" y="153686"/>
                        <a:pt x="79324" y="143313"/>
                      </a:cubicBezTo>
                      <a:cubicBezTo>
                        <a:pt x="79324" y="126168"/>
                        <a:pt x="47501" y="113614"/>
                        <a:pt x="30356" y="99346"/>
                      </a:cubicBezTo>
                      <a:cubicBezTo>
                        <a:pt x="11725" y="83591"/>
                        <a:pt x="7144" y="73990"/>
                        <a:pt x="7144" y="57531"/>
                      </a:cubicBezTo>
                      <a:cubicBezTo>
                        <a:pt x="7144" y="31804"/>
                        <a:pt x="24632" y="7144"/>
                        <a:pt x="67847" y="7144"/>
                      </a:cubicBezTo>
                      <a:cubicBezTo>
                        <a:pt x="86449" y="7144"/>
                        <a:pt x="101479" y="12173"/>
                        <a:pt x="107556" y="13611"/>
                      </a:cubicBezTo>
                      <a:lnTo>
                        <a:pt x="107556" y="48968"/>
                      </a:lnTo>
                      <a:close/>
                    </a:path>
                  </a:pathLst>
                </a:custGeom>
                <a:grpFill/>
                <a:ln w="9525" cap="flat">
                  <a:noFill/>
                  <a:prstDash val="solid"/>
                  <a:miter/>
                </a:ln>
              </p:spPr>
              <p:txBody>
                <a:bodyPr rtlCol="0" anchor="ctr"/>
                <a:lstStyle/>
                <a:p>
                  <a:endParaRPr lang="ja-JP" altLang="en-US">
                    <a:solidFill>
                      <a:prstClr val="black"/>
                    </a:solidFill>
                  </a:endParaRPr>
                </a:p>
              </p:txBody>
            </p:sp>
            <p:sp>
              <p:nvSpPr>
                <p:cNvPr id="173" name="フリーフォーム: 図形 31">
                  <a:extLst>
                    <a:ext uri="{FF2B5EF4-FFF2-40B4-BE49-F238E27FC236}">
                      <a16:creationId xmlns:a16="http://schemas.microsoft.com/office/drawing/2014/main" id="{096AF09C-D07D-4655-95D3-4D2367F49D4E}"/>
                    </a:ext>
                  </a:extLst>
                </p:cNvPr>
                <p:cNvSpPr/>
                <p:nvPr/>
              </p:nvSpPr>
              <p:spPr>
                <a:xfrm>
                  <a:off x="2245724" y="5565635"/>
                  <a:ext cx="238125" cy="180975"/>
                </a:xfrm>
                <a:custGeom>
                  <a:avLst/>
                  <a:gdLst>
                    <a:gd name="connsiteX0" fmla="*/ 7144 w 238125"/>
                    <a:gd name="connsiteY0" fmla="*/ 11116 h 180975"/>
                    <a:gd name="connsiteX1" fmla="*/ 50387 w 238125"/>
                    <a:gd name="connsiteY1" fmla="*/ 11116 h 180975"/>
                    <a:gd name="connsiteX2" fmla="*/ 50387 w 238125"/>
                    <a:gd name="connsiteY2" fmla="*/ 49330 h 180975"/>
                    <a:gd name="connsiteX3" fmla="*/ 51111 w 238125"/>
                    <a:gd name="connsiteY3" fmla="*/ 49330 h 180975"/>
                    <a:gd name="connsiteX4" fmla="*/ 99956 w 238125"/>
                    <a:gd name="connsiteY4" fmla="*/ 7144 h 180975"/>
                    <a:gd name="connsiteX5" fmla="*/ 142894 w 238125"/>
                    <a:gd name="connsiteY5" fmla="*/ 47501 h 180975"/>
                    <a:gd name="connsiteX6" fmla="*/ 143637 w 238125"/>
                    <a:gd name="connsiteY6" fmla="*/ 47501 h 180975"/>
                    <a:gd name="connsiteX7" fmla="*/ 192881 w 238125"/>
                    <a:gd name="connsiteY7" fmla="*/ 7144 h 180975"/>
                    <a:gd name="connsiteX8" fmla="*/ 236153 w 238125"/>
                    <a:gd name="connsiteY8" fmla="*/ 67523 h 180975"/>
                    <a:gd name="connsiteX9" fmla="*/ 236153 w 238125"/>
                    <a:gd name="connsiteY9" fmla="*/ 181175 h 180975"/>
                    <a:gd name="connsiteX10" fmla="*/ 192881 w 238125"/>
                    <a:gd name="connsiteY10" fmla="*/ 181175 h 180975"/>
                    <a:gd name="connsiteX11" fmla="*/ 192881 w 238125"/>
                    <a:gd name="connsiteY11" fmla="*/ 70771 h 180975"/>
                    <a:gd name="connsiteX12" fmla="*/ 174688 w 238125"/>
                    <a:gd name="connsiteY12" fmla="*/ 38214 h 180975"/>
                    <a:gd name="connsiteX13" fmla="*/ 143285 w 238125"/>
                    <a:gd name="connsiteY13" fmla="*/ 104699 h 180975"/>
                    <a:gd name="connsiteX14" fmla="*/ 143285 w 238125"/>
                    <a:gd name="connsiteY14" fmla="*/ 181166 h 180975"/>
                    <a:gd name="connsiteX15" fmla="*/ 99956 w 238125"/>
                    <a:gd name="connsiteY15" fmla="*/ 181166 h 180975"/>
                    <a:gd name="connsiteX16" fmla="*/ 99956 w 238125"/>
                    <a:gd name="connsiteY16" fmla="*/ 75038 h 180975"/>
                    <a:gd name="connsiteX17" fmla="*/ 81467 w 238125"/>
                    <a:gd name="connsiteY17" fmla="*/ 38205 h 180975"/>
                    <a:gd name="connsiteX18" fmla="*/ 50387 w 238125"/>
                    <a:gd name="connsiteY18" fmla="*/ 114367 h 180975"/>
                    <a:gd name="connsiteX19" fmla="*/ 50387 w 238125"/>
                    <a:gd name="connsiteY19" fmla="*/ 181166 h 180975"/>
                    <a:gd name="connsiteX20" fmla="*/ 7144 w 238125"/>
                    <a:gd name="connsiteY20" fmla="*/ 181166 h 180975"/>
                    <a:gd name="connsiteX21" fmla="*/ 7144 w 238125"/>
                    <a:gd name="connsiteY21"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8125" h="180975">
                      <a:moveTo>
                        <a:pt x="7144" y="11116"/>
                      </a:moveTo>
                      <a:lnTo>
                        <a:pt x="50387" y="11116"/>
                      </a:lnTo>
                      <a:lnTo>
                        <a:pt x="50387" y="49330"/>
                      </a:lnTo>
                      <a:lnTo>
                        <a:pt x="51111" y="49330"/>
                      </a:lnTo>
                      <a:cubicBezTo>
                        <a:pt x="55683" y="34300"/>
                        <a:pt x="69713" y="7144"/>
                        <a:pt x="99956" y="7144"/>
                      </a:cubicBezTo>
                      <a:cubicBezTo>
                        <a:pt x="131845" y="7144"/>
                        <a:pt x="140846" y="32518"/>
                        <a:pt x="142894" y="47501"/>
                      </a:cubicBezTo>
                      <a:lnTo>
                        <a:pt x="143637" y="47501"/>
                      </a:lnTo>
                      <a:cubicBezTo>
                        <a:pt x="150076" y="34290"/>
                        <a:pt x="160754" y="7144"/>
                        <a:pt x="192881" y="7144"/>
                      </a:cubicBezTo>
                      <a:cubicBezTo>
                        <a:pt x="229324" y="7144"/>
                        <a:pt x="236153" y="38576"/>
                        <a:pt x="236153" y="67523"/>
                      </a:cubicBezTo>
                      <a:lnTo>
                        <a:pt x="236153" y="181175"/>
                      </a:lnTo>
                      <a:lnTo>
                        <a:pt x="192881" y="181175"/>
                      </a:lnTo>
                      <a:lnTo>
                        <a:pt x="192881" y="70771"/>
                      </a:lnTo>
                      <a:cubicBezTo>
                        <a:pt x="192881" y="57921"/>
                        <a:pt x="190795" y="38214"/>
                        <a:pt x="174688" y="38214"/>
                      </a:cubicBezTo>
                      <a:cubicBezTo>
                        <a:pt x="145390" y="38214"/>
                        <a:pt x="143285" y="89354"/>
                        <a:pt x="143285" y="104699"/>
                      </a:cubicBezTo>
                      <a:lnTo>
                        <a:pt x="143285" y="181166"/>
                      </a:lnTo>
                      <a:lnTo>
                        <a:pt x="99956" y="181166"/>
                      </a:lnTo>
                      <a:lnTo>
                        <a:pt x="99956" y="75038"/>
                      </a:lnTo>
                      <a:cubicBezTo>
                        <a:pt x="99956" y="53931"/>
                        <a:pt x="98279" y="38205"/>
                        <a:pt x="81467" y="38205"/>
                      </a:cubicBezTo>
                      <a:cubicBezTo>
                        <a:pt x="50730" y="38205"/>
                        <a:pt x="50387" y="96812"/>
                        <a:pt x="50387" y="114367"/>
                      </a:cubicBezTo>
                      <a:lnTo>
                        <a:pt x="50387" y="181166"/>
                      </a:lnTo>
                      <a:lnTo>
                        <a:pt x="7144" y="181166"/>
                      </a:lnTo>
                      <a:lnTo>
                        <a:pt x="7144" y="1111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74" name="フリーフォーム: 図形 32">
                  <a:extLst>
                    <a:ext uri="{FF2B5EF4-FFF2-40B4-BE49-F238E27FC236}">
                      <a16:creationId xmlns:a16="http://schemas.microsoft.com/office/drawing/2014/main" id="{59EFE376-62AE-4634-A247-A6D254798C16}"/>
                    </a:ext>
                  </a:extLst>
                </p:cNvPr>
                <p:cNvSpPr/>
                <p:nvPr/>
              </p:nvSpPr>
              <p:spPr>
                <a:xfrm>
                  <a:off x="2571898" y="5492911"/>
                  <a:ext cx="228600" cy="257175"/>
                </a:xfrm>
                <a:custGeom>
                  <a:avLst/>
                  <a:gdLst>
                    <a:gd name="connsiteX0" fmla="*/ 92212 w 228600"/>
                    <a:gd name="connsiteY0" fmla="*/ 7144 h 257175"/>
                    <a:gd name="connsiteX1" fmla="*/ 140113 w 228600"/>
                    <a:gd name="connsiteY1" fmla="*/ 7144 h 257175"/>
                    <a:gd name="connsiteX2" fmla="*/ 225857 w 228600"/>
                    <a:gd name="connsiteY2" fmla="*/ 253889 h 257175"/>
                    <a:gd name="connsiteX3" fmla="*/ 176203 w 228600"/>
                    <a:gd name="connsiteY3" fmla="*/ 253889 h 257175"/>
                    <a:gd name="connsiteX4" fmla="*/ 154752 w 228600"/>
                    <a:gd name="connsiteY4" fmla="*/ 183842 h 257175"/>
                    <a:gd name="connsiteX5" fmla="*/ 70809 w 228600"/>
                    <a:gd name="connsiteY5" fmla="*/ 183842 h 257175"/>
                    <a:gd name="connsiteX6" fmla="*/ 48616 w 228600"/>
                    <a:gd name="connsiteY6" fmla="*/ 253889 h 257175"/>
                    <a:gd name="connsiteX7" fmla="*/ 7144 w 228600"/>
                    <a:gd name="connsiteY7" fmla="*/ 253889 h 257175"/>
                    <a:gd name="connsiteX8" fmla="*/ 92212 w 228600"/>
                    <a:gd name="connsiteY8" fmla="*/ 7144 h 257175"/>
                    <a:gd name="connsiteX9" fmla="*/ 79010 w 228600"/>
                    <a:gd name="connsiteY9" fmla="*/ 157734 h 257175"/>
                    <a:gd name="connsiteX10" fmla="*/ 146952 w 228600"/>
                    <a:gd name="connsiteY10" fmla="*/ 157734 h 257175"/>
                    <a:gd name="connsiteX11" fmla="*/ 113690 w 228600"/>
                    <a:gd name="connsiteY11" fmla="*/ 48816 h 257175"/>
                    <a:gd name="connsiteX12" fmla="*/ 112966 w 228600"/>
                    <a:gd name="connsiteY12" fmla="*/ 48816 h 257175"/>
                    <a:gd name="connsiteX13" fmla="*/ 79010 w 228600"/>
                    <a:gd name="connsiteY13" fmla="*/ 157734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8600" h="257175">
                      <a:moveTo>
                        <a:pt x="92212" y="7144"/>
                      </a:moveTo>
                      <a:lnTo>
                        <a:pt x="140113" y="7144"/>
                      </a:lnTo>
                      <a:lnTo>
                        <a:pt x="225857" y="253889"/>
                      </a:lnTo>
                      <a:lnTo>
                        <a:pt x="176203" y="253889"/>
                      </a:lnTo>
                      <a:lnTo>
                        <a:pt x="154752" y="183842"/>
                      </a:lnTo>
                      <a:lnTo>
                        <a:pt x="70809" y="183842"/>
                      </a:lnTo>
                      <a:lnTo>
                        <a:pt x="48616" y="253889"/>
                      </a:lnTo>
                      <a:lnTo>
                        <a:pt x="7144" y="253889"/>
                      </a:lnTo>
                      <a:lnTo>
                        <a:pt x="92212" y="7144"/>
                      </a:lnTo>
                      <a:close/>
                      <a:moveTo>
                        <a:pt x="79010" y="157734"/>
                      </a:moveTo>
                      <a:lnTo>
                        <a:pt x="146952" y="157734"/>
                      </a:lnTo>
                      <a:lnTo>
                        <a:pt x="113690" y="48816"/>
                      </a:lnTo>
                      <a:lnTo>
                        <a:pt x="112966" y="48816"/>
                      </a:lnTo>
                      <a:lnTo>
                        <a:pt x="79010" y="157734"/>
                      </a:lnTo>
                      <a:close/>
                    </a:path>
                  </a:pathLst>
                </a:custGeom>
                <a:grpFill/>
                <a:ln w="9525" cap="flat">
                  <a:noFill/>
                  <a:prstDash val="solid"/>
                  <a:miter/>
                </a:ln>
              </p:spPr>
              <p:txBody>
                <a:bodyPr rtlCol="0" anchor="ctr"/>
                <a:lstStyle/>
                <a:p>
                  <a:endParaRPr lang="ja-JP" altLang="en-US">
                    <a:solidFill>
                      <a:prstClr val="black"/>
                    </a:solidFill>
                  </a:endParaRPr>
                </a:p>
              </p:txBody>
            </p:sp>
            <p:sp>
              <p:nvSpPr>
                <p:cNvPr id="175" name="フリーフォーム: 図形 33">
                  <a:extLst>
                    <a:ext uri="{FF2B5EF4-FFF2-40B4-BE49-F238E27FC236}">
                      <a16:creationId xmlns:a16="http://schemas.microsoft.com/office/drawing/2014/main" id="{C3C61736-C33E-41E7-927C-225205AC16A2}"/>
                    </a:ext>
                  </a:extLst>
                </p:cNvPr>
                <p:cNvSpPr/>
                <p:nvPr/>
              </p:nvSpPr>
              <p:spPr>
                <a:xfrm>
                  <a:off x="2801365" y="5565625"/>
                  <a:ext cx="152400" cy="266700"/>
                </a:xfrm>
                <a:custGeom>
                  <a:avLst/>
                  <a:gdLst>
                    <a:gd name="connsiteX0" fmla="*/ 154381 w 152400"/>
                    <a:gd name="connsiteY0" fmla="*/ 186852 h 266700"/>
                    <a:gd name="connsiteX1" fmla="*/ 70409 w 152400"/>
                    <a:gd name="connsiteY1" fmla="*/ 261642 h 266700"/>
                    <a:gd name="connsiteX2" fmla="*/ 19698 w 152400"/>
                    <a:gd name="connsiteY2" fmla="*/ 254441 h 266700"/>
                    <a:gd name="connsiteX3" fmla="*/ 19698 w 152400"/>
                    <a:gd name="connsiteY3" fmla="*/ 214036 h 266700"/>
                    <a:gd name="connsiteX4" fmla="*/ 74314 w 152400"/>
                    <a:gd name="connsiteY4" fmla="*/ 237268 h 266700"/>
                    <a:gd name="connsiteX5" fmla="*/ 111109 w 152400"/>
                    <a:gd name="connsiteY5" fmla="*/ 181899 h 266700"/>
                    <a:gd name="connsiteX6" fmla="*/ 111109 w 152400"/>
                    <a:gd name="connsiteY6" fmla="*/ 156496 h 266700"/>
                    <a:gd name="connsiteX7" fmla="*/ 110442 w 152400"/>
                    <a:gd name="connsiteY7" fmla="*/ 156496 h 266700"/>
                    <a:gd name="connsiteX8" fmla="*/ 69723 w 152400"/>
                    <a:gd name="connsiteY8" fmla="*/ 181175 h 266700"/>
                    <a:gd name="connsiteX9" fmla="*/ 7144 w 152400"/>
                    <a:gd name="connsiteY9" fmla="*/ 92945 h 266700"/>
                    <a:gd name="connsiteX10" fmla="*/ 65408 w 152400"/>
                    <a:gd name="connsiteY10" fmla="*/ 7144 h 266700"/>
                    <a:gd name="connsiteX11" fmla="*/ 110452 w 152400"/>
                    <a:gd name="connsiteY11" fmla="*/ 38576 h 266700"/>
                    <a:gd name="connsiteX12" fmla="*/ 111119 w 152400"/>
                    <a:gd name="connsiteY12" fmla="*/ 38576 h 266700"/>
                    <a:gd name="connsiteX13" fmla="*/ 111119 w 152400"/>
                    <a:gd name="connsiteY13" fmla="*/ 11116 h 266700"/>
                    <a:gd name="connsiteX14" fmla="*/ 154391 w 152400"/>
                    <a:gd name="connsiteY14" fmla="*/ 11116 h 266700"/>
                    <a:gd name="connsiteX15" fmla="*/ 154391 w 152400"/>
                    <a:gd name="connsiteY15" fmla="*/ 186852 h 266700"/>
                    <a:gd name="connsiteX16" fmla="*/ 82905 w 152400"/>
                    <a:gd name="connsiteY16" fmla="*/ 156505 h 266700"/>
                    <a:gd name="connsiteX17" fmla="*/ 109004 w 152400"/>
                    <a:gd name="connsiteY17" fmla="*/ 96831 h 266700"/>
                    <a:gd name="connsiteX18" fmla="*/ 82572 w 152400"/>
                    <a:gd name="connsiteY18" fmla="*/ 33957 h 266700"/>
                    <a:gd name="connsiteX19" fmla="*/ 53940 w 152400"/>
                    <a:gd name="connsiteY19" fmla="*/ 95764 h 266700"/>
                    <a:gd name="connsiteX20" fmla="*/ 82905 w 152400"/>
                    <a:gd name="connsiteY20" fmla="*/ 15650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400" h="266700">
                      <a:moveTo>
                        <a:pt x="154381" y="186852"/>
                      </a:moveTo>
                      <a:cubicBezTo>
                        <a:pt x="154381" y="229134"/>
                        <a:pt x="137246" y="261642"/>
                        <a:pt x="70409" y="261642"/>
                      </a:cubicBezTo>
                      <a:cubicBezTo>
                        <a:pt x="45739" y="261642"/>
                        <a:pt x="30413" y="257289"/>
                        <a:pt x="19698" y="254441"/>
                      </a:cubicBezTo>
                      <a:lnTo>
                        <a:pt x="19698" y="214036"/>
                      </a:lnTo>
                      <a:cubicBezTo>
                        <a:pt x="28632" y="220828"/>
                        <a:pt x="51120" y="237268"/>
                        <a:pt x="74314" y="237268"/>
                      </a:cubicBezTo>
                      <a:cubicBezTo>
                        <a:pt x="107575" y="237268"/>
                        <a:pt x="111109" y="213360"/>
                        <a:pt x="111109" y="181899"/>
                      </a:cubicBezTo>
                      <a:lnTo>
                        <a:pt x="111109" y="156496"/>
                      </a:lnTo>
                      <a:lnTo>
                        <a:pt x="110442" y="156496"/>
                      </a:lnTo>
                      <a:cubicBezTo>
                        <a:pt x="104299" y="167631"/>
                        <a:pt x="96469" y="181175"/>
                        <a:pt x="69723" y="181175"/>
                      </a:cubicBezTo>
                      <a:cubicBezTo>
                        <a:pt x="23565" y="181175"/>
                        <a:pt x="7144" y="145094"/>
                        <a:pt x="7144" y="92945"/>
                      </a:cubicBezTo>
                      <a:cubicBezTo>
                        <a:pt x="7144" y="49663"/>
                        <a:pt x="21822" y="7144"/>
                        <a:pt x="65408" y="7144"/>
                      </a:cubicBezTo>
                      <a:cubicBezTo>
                        <a:pt x="92183" y="7144"/>
                        <a:pt x="103679" y="26460"/>
                        <a:pt x="110452" y="38576"/>
                      </a:cubicBezTo>
                      <a:lnTo>
                        <a:pt x="111119" y="38576"/>
                      </a:lnTo>
                      <a:lnTo>
                        <a:pt x="111119" y="11116"/>
                      </a:lnTo>
                      <a:lnTo>
                        <a:pt x="154391" y="11116"/>
                      </a:lnTo>
                      <a:lnTo>
                        <a:pt x="154391" y="186852"/>
                      </a:lnTo>
                      <a:close/>
                      <a:moveTo>
                        <a:pt x="82905" y="156505"/>
                      </a:moveTo>
                      <a:cubicBezTo>
                        <a:pt x="109004" y="156505"/>
                        <a:pt x="109004" y="119015"/>
                        <a:pt x="109004" y="96831"/>
                      </a:cubicBezTo>
                      <a:cubicBezTo>
                        <a:pt x="109004" y="71095"/>
                        <a:pt x="107870" y="33957"/>
                        <a:pt x="82572" y="33957"/>
                      </a:cubicBezTo>
                      <a:cubicBezTo>
                        <a:pt x="57140" y="33957"/>
                        <a:pt x="53940" y="70771"/>
                        <a:pt x="53940" y="95764"/>
                      </a:cubicBezTo>
                      <a:cubicBezTo>
                        <a:pt x="53940" y="119329"/>
                        <a:pt x="57140" y="156505"/>
                        <a:pt x="82905" y="156505"/>
                      </a:cubicBezTo>
                      <a:close/>
                    </a:path>
                  </a:pathLst>
                </a:custGeom>
                <a:grpFill/>
                <a:ln w="9525" cap="flat">
                  <a:noFill/>
                  <a:prstDash val="solid"/>
                  <a:miter/>
                </a:ln>
              </p:spPr>
              <p:txBody>
                <a:bodyPr rtlCol="0" anchor="ctr"/>
                <a:lstStyle/>
                <a:p>
                  <a:endParaRPr lang="ja-JP" altLang="en-US">
                    <a:solidFill>
                      <a:prstClr val="black"/>
                    </a:solidFill>
                  </a:endParaRPr>
                </a:p>
              </p:txBody>
            </p:sp>
            <p:sp>
              <p:nvSpPr>
                <p:cNvPr id="176" name="フリーフォーム: 図形 34">
                  <a:extLst>
                    <a:ext uri="{FF2B5EF4-FFF2-40B4-BE49-F238E27FC236}">
                      <a16:creationId xmlns:a16="http://schemas.microsoft.com/office/drawing/2014/main" id="{3CE9F15D-60F2-4475-AA2C-8D49200365A4}"/>
                    </a:ext>
                  </a:extLst>
                </p:cNvPr>
                <p:cNvSpPr/>
                <p:nvPr/>
              </p:nvSpPr>
              <p:spPr>
                <a:xfrm>
                  <a:off x="2982530" y="5565625"/>
                  <a:ext cx="152400" cy="190500"/>
                </a:xfrm>
                <a:custGeom>
                  <a:avLst/>
                  <a:gdLst>
                    <a:gd name="connsiteX0" fmla="*/ 148685 w 152400"/>
                    <a:gd name="connsiteY0" fmla="*/ 173345 h 190500"/>
                    <a:gd name="connsiteX1" fmla="*/ 93659 w 152400"/>
                    <a:gd name="connsiteY1" fmla="*/ 185099 h 190500"/>
                    <a:gd name="connsiteX2" fmla="*/ 7144 w 152400"/>
                    <a:gd name="connsiteY2" fmla="*/ 88259 h 190500"/>
                    <a:gd name="connsiteX3" fmla="*/ 82887 w 152400"/>
                    <a:gd name="connsiteY3" fmla="*/ 7144 h 190500"/>
                    <a:gd name="connsiteX4" fmla="*/ 151847 w 152400"/>
                    <a:gd name="connsiteY4" fmla="*/ 71085 h 190500"/>
                    <a:gd name="connsiteX5" fmla="*/ 151847 w 152400"/>
                    <a:gd name="connsiteY5" fmla="*/ 77581 h 190500"/>
                    <a:gd name="connsiteX6" fmla="*/ 50387 w 152400"/>
                    <a:gd name="connsiteY6" fmla="*/ 77581 h 190500"/>
                    <a:gd name="connsiteX7" fmla="*/ 115462 w 152400"/>
                    <a:gd name="connsiteY7" fmla="*/ 162973 h 190500"/>
                    <a:gd name="connsiteX8" fmla="*/ 148685 w 152400"/>
                    <a:gd name="connsiteY8" fmla="*/ 155486 h 190500"/>
                    <a:gd name="connsiteX9" fmla="*/ 148685 w 152400"/>
                    <a:gd name="connsiteY9" fmla="*/ 173345 h 190500"/>
                    <a:gd name="connsiteX10" fmla="*/ 110128 w 152400"/>
                    <a:gd name="connsiteY10" fmla="*/ 59684 h 190500"/>
                    <a:gd name="connsiteX11" fmla="*/ 81534 w 152400"/>
                    <a:gd name="connsiteY11" fmla="*/ 23965 h 190500"/>
                    <a:gd name="connsiteX12" fmla="*/ 50387 w 152400"/>
                    <a:gd name="connsiteY12" fmla="*/ 59684 h 190500"/>
                    <a:gd name="connsiteX13" fmla="*/ 110128 w 152400"/>
                    <a:gd name="connsiteY13" fmla="*/ 5968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90500">
                      <a:moveTo>
                        <a:pt x="148685" y="173345"/>
                      </a:moveTo>
                      <a:cubicBezTo>
                        <a:pt x="129359" y="181527"/>
                        <a:pt x="118681" y="185099"/>
                        <a:pt x="93659" y="185099"/>
                      </a:cubicBezTo>
                      <a:cubicBezTo>
                        <a:pt x="48920" y="185099"/>
                        <a:pt x="7144" y="159420"/>
                        <a:pt x="7144" y="88259"/>
                      </a:cubicBezTo>
                      <a:cubicBezTo>
                        <a:pt x="7144" y="41424"/>
                        <a:pt x="26794" y="7144"/>
                        <a:pt x="82887" y="7144"/>
                      </a:cubicBezTo>
                      <a:cubicBezTo>
                        <a:pt x="130083" y="7144"/>
                        <a:pt x="151847" y="32176"/>
                        <a:pt x="151847" y="71085"/>
                      </a:cubicBezTo>
                      <a:lnTo>
                        <a:pt x="151847" y="77581"/>
                      </a:lnTo>
                      <a:lnTo>
                        <a:pt x="50387" y="77581"/>
                      </a:lnTo>
                      <a:cubicBezTo>
                        <a:pt x="50387" y="106499"/>
                        <a:pt x="66856" y="162973"/>
                        <a:pt x="115462" y="162973"/>
                      </a:cubicBezTo>
                      <a:cubicBezTo>
                        <a:pt x="126844" y="162973"/>
                        <a:pt x="138322" y="159420"/>
                        <a:pt x="148685" y="155486"/>
                      </a:cubicBezTo>
                      <a:lnTo>
                        <a:pt x="148685" y="173345"/>
                      </a:lnTo>
                      <a:close/>
                      <a:moveTo>
                        <a:pt x="110128" y="59684"/>
                      </a:moveTo>
                      <a:cubicBezTo>
                        <a:pt x="110128" y="47520"/>
                        <a:pt x="105070" y="23965"/>
                        <a:pt x="81534" y="23965"/>
                      </a:cubicBezTo>
                      <a:cubicBezTo>
                        <a:pt x="56512" y="23965"/>
                        <a:pt x="51473" y="51873"/>
                        <a:pt x="50387" y="59684"/>
                      </a:cubicBezTo>
                      <a:lnTo>
                        <a:pt x="110128" y="59684"/>
                      </a:lnTo>
                      <a:close/>
                    </a:path>
                  </a:pathLst>
                </a:custGeom>
                <a:grpFill/>
                <a:ln w="9525" cap="flat">
                  <a:noFill/>
                  <a:prstDash val="solid"/>
                  <a:miter/>
                </a:ln>
              </p:spPr>
              <p:txBody>
                <a:bodyPr rtlCol="0" anchor="ctr"/>
                <a:lstStyle/>
                <a:p>
                  <a:endParaRPr lang="ja-JP" altLang="en-US">
                    <a:solidFill>
                      <a:prstClr val="black"/>
                    </a:solidFill>
                  </a:endParaRPr>
                </a:p>
              </p:txBody>
            </p:sp>
            <p:sp>
              <p:nvSpPr>
                <p:cNvPr id="177" name="フリーフォーム: 図形 35">
                  <a:extLst>
                    <a:ext uri="{FF2B5EF4-FFF2-40B4-BE49-F238E27FC236}">
                      <a16:creationId xmlns:a16="http://schemas.microsoft.com/office/drawing/2014/main" id="{08E314C1-6C82-419E-A9F6-72E96B6F3BFE}"/>
                    </a:ext>
                  </a:extLst>
                </p:cNvPr>
                <p:cNvSpPr/>
                <p:nvPr/>
              </p:nvSpPr>
              <p:spPr>
                <a:xfrm>
                  <a:off x="3161905" y="5565635"/>
                  <a:ext cx="152400" cy="180975"/>
                </a:xfrm>
                <a:custGeom>
                  <a:avLst/>
                  <a:gdLst>
                    <a:gd name="connsiteX0" fmla="*/ 7153 w 152400"/>
                    <a:gd name="connsiteY0" fmla="*/ 11116 h 180975"/>
                    <a:gd name="connsiteX1" fmla="*/ 50444 w 152400"/>
                    <a:gd name="connsiteY1" fmla="*/ 11116 h 180975"/>
                    <a:gd name="connsiteX2" fmla="*/ 50444 w 152400"/>
                    <a:gd name="connsiteY2" fmla="*/ 49330 h 180975"/>
                    <a:gd name="connsiteX3" fmla="*/ 51054 w 152400"/>
                    <a:gd name="connsiteY3" fmla="*/ 49330 h 180975"/>
                    <a:gd name="connsiteX4" fmla="*/ 106880 w 152400"/>
                    <a:gd name="connsiteY4" fmla="*/ 7144 h 180975"/>
                    <a:gd name="connsiteX5" fmla="*/ 149742 w 152400"/>
                    <a:gd name="connsiteY5" fmla="*/ 63951 h 180975"/>
                    <a:gd name="connsiteX6" fmla="*/ 149742 w 152400"/>
                    <a:gd name="connsiteY6" fmla="*/ 181175 h 180975"/>
                    <a:gd name="connsiteX7" fmla="*/ 106490 w 152400"/>
                    <a:gd name="connsiteY7" fmla="*/ 181175 h 180975"/>
                    <a:gd name="connsiteX8" fmla="*/ 106490 w 152400"/>
                    <a:gd name="connsiteY8" fmla="*/ 75047 h 180975"/>
                    <a:gd name="connsiteX9" fmla="*/ 87887 w 152400"/>
                    <a:gd name="connsiteY9" fmla="*/ 38214 h 180975"/>
                    <a:gd name="connsiteX10" fmla="*/ 50435 w 152400"/>
                    <a:gd name="connsiteY10" fmla="*/ 114376 h 180975"/>
                    <a:gd name="connsiteX11" fmla="*/ 50435 w 152400"/>
                    <a:gd name="connsiteY11" fmla="*/ 181175 h 180975"/>
                    <a:gd name="connsiteX12" fmla="*/ 7144 w 152400"/>
                    <a:gd name="connsiteY12" fmla="*/ 181175 h 180975"/>
                    <a:gd name="connsiteX13" fmla="*/ 7144 w 152400"/>
                    <a:gd name="connsiteY13" fmla="*/ 11116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400" h="180975">
                      <a:moveTo>
                        <a:pt x="7153" y="11116"/>
                      </a:moveTo>
                      <a:lnTo>
                        <a:pt x="50444" y="11116"/>
                      </a:lnTo>
                      <a:lnTo>
                        <a:pt x="50444" y="49330"/>
                      </a:lnTo>
                      <a:lnTo>
                        <a:pt x="51054" y="49330"/>
                      </a:lnTo>
                      <a:cubicBezTo>
                        <a:pt x="57922" y="35433"/>
                        <a:pt x="71799" y="7144"/>
                        <a:pt x="106880" y="7144"/>
                      </a:cubicBezTo>
                      <a:cubicBezTo>
                        <a:pt x="138674" y="7144"/>
                        <a:pt x="149742" y="27889"/>
                        <a:pt x="149742" y="63951"/>
                      </a:cubicBezTo>
                      <a:lnTo>
                        <a:pt x="149742" y="181175"/>
                      </a:lnTo>
                      <a:lnTo>
                        <a:pt x="106490" y="181175"/>
                      </a:lnTo>
                      <a:lnTo>
                        <a:pt x="106490" y="75047"/>
                      </a:lnTo>
                      <a:cubicBezTo>
                        <a:pt x="106490" y="53940"/>
                        <a:pt x="104718" y="38214"/>
                        <a:pt x="87887" y="38214"/>
                      </a:cubicBezTo>
                      <a:cubicBezTo>
                        <a:pt x="57560" y="38214"/>
                        <a:pt x="50435" y="87182"/>
                        <a:pt x="50435" y="114376"/>
                      </a:cubicBezTo>
                      <a:lnTo>
                        <a:pt x="50435" y="181175"/>
                      </a:lnTo>
                      <a:lnTo>
                        <a:pt x="7144" y="181175"/>
                      </a:lnTo>
                      <a:lnTo>
                        <a:pt x="7144" y="1111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78" name="フリーフォーム: 図形 36">
                  <a:extLst>
                    <a:ext uri="{FF2B5EF4-FFF2-40B4-BE49-F238E27FC236}">
                      <a16:creationId xmlns:a16="http://schemas.microsoft.com/office/drawing/2014/main" id="{E5E35256-9F7D-4F87-895A-45A390F4C73D}"/>
                    </a:ext>
                  </a:extLst>
                </p:cNvPr>
                <p:cNvSpPr/>
                <p:nvPr/>
              </p:nvSpPr>
              <p:spPr>
                <a:xfrm>
                  <a:off x="3339851" y="5565635"/>
                  <a:ext cx="152400" cy="190500"/>
                </a:xfrm>
                <a:custGeom>
                  <a:avLst/>
                  <a:gdLst>
                    <a:gd name="connsiteX0" fmla="*/ 148686 w 152400"/>
                    <a:gd name="connsiteY0" fmla="*/ 174765 h 190500"/>
                    <a:gd name="connsiteX1" fmla="*/ 95774 w 152400"/>
                    <a:gd name="connsiteY1" fmla="*/ 185090 h 190500"/>
                    <a:gd name="connsiteX2" fmla="*/ 7144 w 152400"/>
                    <a:gd name="connsiteY2" fmla="*/ 89354 h 190500"/>
                    <a:gd name="connsiteX3" fmla="*/ 83991 w 152400"/>
                    <a:gd name="connsiteY3" fmla="*/ 7144 h 190500"/>
                    <a:gd name="connsiteX4" fmla="*/ 149771 w 152400"/>
                    <a:gd name="connsiteY4" fmla="*/ 68637 h 190500"/>
                    <a:gd name="connsiteX5" fmla="*/ 103613 w 152400"/>
                    <a:gd name="connsiteY5" fmla="*/ 68637 h 190500"/>
                    <a:gd name="connsiteX6" fmla="*/ 82182 w 152400"/>
                    <a:gd name="connsiteY6" fmla="*/ 23955 h 190500"/>
                    <a:gd name="connsiteX7" fmla="*/ 53921 w 152400"/>
                    <a:gd name="connsiteY7" fmla="*/ 74705 h 190500"/>
                    <a:gd name="connsiteX8" fmla="*/ 115110 w 152400"/>
                    <a:gd name="connsiteY8" fmla="*/ 162973 h 190500"/>
                    <a:gd name="connsiteX9" fmla="*/ 148667 w 152400"/>
                    <a:gd name="connsiteY9" fmla="*/ 156496 h 190500"/>
                    <a:gd name="connsiteX10" fmla="*/ 148667 w 152400"/>
                    <a:gd name="connsiteY10" fmla="*/ 174765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400" h="190500">
                      <a:moveTo>
                        <a:pt x="148686" y="174765"/>
                      </a:moveTo>
                      <a:cubicBezTo>
                        <a:pt x="131179" y="181175"/>
                        <a:pt x="117596" y="185090"/>
                        <a:pt x="95774" y="185090"/>
                      </a:cubicBezTo>
                      <a:cubicBezTo>
                        <a:pt x="46063" y="185090"/>
                        <a:pt x="7144" y="157572"/>
                        <a:pt x="7144" y="89354"/>
                      </a:cubicBezTo>
                      <a:cubicBezTo>
                        <a:pt x="7144" y="40405"/>
                        <a:pt x="30785" y="7144"/>
                        <a:pt x="83991" y="7144"/>
                      </a:cubicBezTo>
                      <a:cubicBezTo>
                        <a:pt x="134351" y="7144"/>
                        <a:pt x="149771" y="30004"/>
                        <a:pt x="149771" y="68637"/>
                      </a:cubicBezTo>
                      <a:lnTo>
                        <a:pt x="103613" y="68637"/>
                      </a:lnTo>
                      <a:cubicBezTo>
                        <a:pt x="103613" y="38576"/>
                        <a:pt x="100784" y="23955"/>
                        <a:pt x="82182" y="23955"/>
                      </a:cubicBezTo>
                      <a:cubicBezTo>
                        <a:pt x="62551" y="23955"/>
                        <a:pt x="53921" y="50349"/>
                        <a:pt x="53921" y="74705"/>
                      </a:cubicBezTo>
                      <a:cubicBezTo>
                        <a:pt x="53921" y="119005"/>
                        <a:pt x="76115" y="162973"/>
                        <a:pt x="115110" y="162973"/>
                      </a:cubicBezTo>
                      <a:cubicBezTo>
                        <a:pt x="128264" y="162973"/>
                        <a:pt x="138256" y="160096"/>
                        <a:pt x="148667" y="156496"/>
                      </a:cubicBezTo>
                      <a:lnTo>
                        <a:pt x="148667" y="174765"/>
                      </a:lnTo>
                      <a:close/>
                    </a:path>
                  </a:pathLst>
                </a:custGeom>
                <a:grpFill/>
                <a:ln w="9525" cap="flat">
                  <a:noFill/>
                  <a:prstDash val="solid"/>
                  <a:miter/>
                </a:ln>
              </p:spPr>
              <p:txBody>
                <a:bodyPr rtlCol="0" anchor="ctr"/>
                <a:lstStyle/>
                <a:p>
                  <a:endParaRPr lang="ja-JP" altLang="en-US">
                    <a:solidFill>
                      <a:prstClr val="black"/>
                    </a:solidFill>
                  </a:endParaRPr>
                </a:p>
              </p:txBody>
            </p:sp>
            <p:sp>
              <p:nvSpPr>
                <p:cNvPr id="179" name="フリーフォーム: 図形 37">
                  <a:extLst>
                    <a:ext uri="{FF2B5EF4-FFF2-40B4-BE49-F238E27FC236}">
                      <a16:creationId xmlns:a16="http://schemas.microsoft.com/office/drawing/2014/main" id="{CB79EAEC-6B0D-4C5B-AD2F-18C2335E2E11}"/>
                    </a:ext>
                  </a:extLst>
                </p:cNvPr>
                <p:cNvSpPr/>
                <p:nvPr/>
              </p:nvSpPr>
              <p:spPr>
                <a:xfrm>
                  <a:off x="3499938" y="5569606"/>
                  <a:ext cx="171450" cy="257175"/>
                </a:xfrm>
                <a:custGeom>
                  <a:avLst/>
                  <a:gdLst>
                    <a:gd name="connsiteX0" fmla="*/ 70809 w 171450"/>
                    <a:gd name="connsiteY0" fmla="*/ 179727 h 257175"/>
                    <a:gd name="connsiteX1" fmla="*/ 7144 w 171450"/>
                    <a:gd name="connsiteY1" fmla="*/ 7144 h 257175"/>
                    <a:gd name="connsiteX2" fmla="*/ 51454 w 171450"/>
                    <a:gd name="connsiteY2" fmla="*/ 7144 h 257175"/>
                    <a:gd name="connsiteX3" fmla="*/ 90097 w 171450"/>
                    <a:gd name="connsiteY3" fmla="*/ 123225 h 257175"/>
                    <a:gd name="connsiteX4" fmla="*/ 90726 w 171450"/>
                    <a:gd name="connsiteY4" fmla="*/ 123225 h 257175"/>
                    <a:gd name="connsiteX5" fmla="*/ 130445 w 171450"/>
                    <a:gd name="connsiteY5" fmla="*/ 7144 h 257175"/>
                    <a:gd name="connsiteX6" fmla="*/ 165497 w 171450"/>
                    <a:gd name="connsiteY6" fmla="*/ 7144 h 257175"/>
                    <a:gd name="connsiteX7" fmla="*/ 80363 w 171450"/>
                    <a:gd name="connsiteY7" fmla="*/ 253689 h 257175"/>
                    <a:gd name="connsiteX8" fmla="*/ 45387 w 171450"/>
                    <a:gd name="connsiteY8" fmla="*/ 253689 h 257175"/>
                    <a:gd name="connsiteX9" fmla="*/ 70809 w 171450"/>
                    <a:gd name="connsiteY9" fmla="*/ 17972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450" h="257175">
                      <a:moveTo>
                        <a:pt x="70809" y="179727"/>
                      </a:moveTo>
                      <a:lnTo>
                        <a:pt x="7144" y="7144"/>
                      </a:lnTo>
                      <a:lnTo>
                        <a:pt x="51454" y="7144"/>
                      </a:lnTo>
                      <a:lnTo>
                        <a:pt x="90097" y="123225"/>
                      </a:lnTo>
                      <a:lnTo>
                        <a:pt x="90726" y="123225"/>
                      </a:lnTo>
                      <a:lnTo>
                        <a:pt x="130445" y="7144"/>
                      </a:lnTo>
                      <a:lnTo>
                        <a:pt x="165497" y="7144"/>
                      </a:lnTo>
                      <a:lnTo>
                        <a:pt x="80363" y="253689"/>
                      </a:lnTo>
                      <a:lnTo>
                        <a:pt x="45387" y="253689"/>
                      </a:lnTo>
                      <a:lnTo>
                        <a:pt x="70809" y="179727"/>
                      </a:lnTo>
                      <a:close/>
                    </a:path>
                  </a:pathLst>
                </a:custGeom>
                <a:grpFill/>
                <a:ln w="9525" cap="flat">
                  <a:noFill/>
                  <a:prstDash val="solid"/>
                  <a:miter/>
                </a:ln>
              </p:spPr>
              <p:txBody>
                <a:bodyPr rtlCol="0" anchor="ctr"/>
                <a:lstStyle/>
                <a:p>
                  <a:endParaRPr lang="ja-JP" altLang="en-US">
                    <a:solidFill>
                      <a:prstClr val="black"/>
                    </a:solidFill>
                  </a:endParaRPr>
                </a:p>
              </p:txBody>
            </p:sp>
          </p:grpSp>
          <p:grpSp>
            <p:nvGrpSpPr>
              <p:cNvPr id="112" name="グループ化 111"/>
              <p:cNvGrpSpPr>
                <a:grpSpLocks noChangeAspect="1"/>
              </p:cNvGrpSpPr>
              <p:nvPr userDrawn="1"/>
            </p:nvGrpSpPr>
            <p:grpSpPr>
              <a:xfrm>
                <a:off x="2534400" y="6660000"/>
                <a:ext cx="3564000" cy="150760"/>
                <a:chOff x="427811" y="5856214"/>
                <a:chExt cx="3229242" cy="136598"/>
              </a:xfrm>
              <a:solidFill>
                <a:schemeClr val="bg1"/>
              </a:solidFill>
            </p:grpSpPr>
            <p:sp>
              <p:nvSpPr>
                <p:cNvPr id="113" name="フリーフォーム: 図形 38">
                  <a:extLst>
                    <a:ext uri="{FF2B5EF4-FFF2-40B4-BE49-F238E27FC236}">
                      <a16:creationId xmlns:a16="http://schemas.microsoft.com/office/drawing/2014/main" id="{87782128-FA2B-4515-862B-93F408EA171B}"/>
                    </a:ext>
                  </a:extLst>
                </p:cNvPr>
                <p:cNvSpPr/>
                <p:nvPr/>
              </p:nvSpPr>
              <p:spPr>
                <a:xfrm>
                  <a:off x="427811" y="5857776"/>
                  <a:ext cx="104775" cy="104775"/>
                </a:xfrm>
                <a:custGeom>
                  <a:avLst/>
                  <a:gdLst>
                    <a:gd name="connsiteX0" fmla="*/ 7144 w 104775"/>
                    <a:gd name="connsiteY0" fmla="*/ 7144 h 104775"/>
                    <a:gd name="connsiteX1" fmla="*/ 27946 w 104775"/>
                    <a:gd name="connsiteY1" fmla="*/ 7144 h 104775"/>
                    <a:gd name="connsiteX2" fmla="*/ 54959 w 104775"/>
                    <a:gd name="connsiteY2" fmla="*/ 86487 h 104775"/>
                    <a:gd name="connsiteX3" fmla="*/ 55236 w 104775"/>
                    <a:gd name="connsiteY3" fmla="*/ 86487 h 104775"/>
                    <a:gd name="connsiteX4" fmla="*/ 82401 w 104775"/>
                    <a:gd name="connsiteY4" fmla="*/ 7144 h 104775"/>
                    <a:gd name="connsiteX5" fmla="*/ 102480 w 104775"/>
                    <a:gd name="connsiteY5" fmla="*/ 7144 h 104775"/>
                    <a:gd name="connsiteX6" fmla="*/ 102480 w 104775"/>
                    <a:gd name="connsiteY6" fmla="*/ 104737 h 104775"/>
                    <a:gd name="connsiteX7" fmla="*/ 88478 w 104775"/>
                    <a:gd name="connsiteY7" fmla="*/ 104737 h 104775"/>
                    <a:gd name="connsiteX8" fmla="*/ 88478 w 104775"/>
                    <a:gd name="connsiteY8" fmla="*/ 20421 h 104775"/>
                    <a:gd name="connsiteX9" fmla="*/ 88192 w 104775"/>
                    <a:gd name="connsiteY9" fmla="*/ 20421 h 104775"/>
                    <a:gd name="connsiteX10" fmla="*/ 59627 w 104775"/>
                    <a:gd name="connsiteY10" fmla="*/ 104737 h 104775"/>
                    <a:gd name="connsiteX11" fmla="*/ 47730 w 104775"/>
                    <a:gd name="connsiteY11" fmla="*/ 104737 h 104775"/>
                    <a:gd name="connsiteX12" fmla="*/ 19164 w 104775"/>
                    <a:gd name="connsiteY12" fmla="*/ 20421 h 104775"/>
                    <a:gd name="connsiteX13" fmla="*/ 18879 w 104775"/>
                    <a:gd name="connsiteY13" fmla="*/ 20421 h 104775"/>
                    <a:gd name="connsiteX14" fmla="*/ 18879 w 104775"/>
                    <a:gd name="connsiteY14" fmla="*/ 104737 h 104775"/>
                    <a:gd name="connsiteX15" fmla="*/ 7144 w 104775"/>
                    <a:gd name="connsiteY15" fmla="*/ 104737 h 104775"/>
                    <a:gd name="connsiteX16" fmla="*/ 7144 w 104775"/>
                    <a:gd name="connsiteY16"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75" h="104775">
                      <a:moveTo>
                        <a:pt x="7144" y="7144"/>
                      </a:moveTo>
                      <a:lnTo>
                        <a:pt x="27946" y="7144"/>
                      </a:lnTo>
                      <a:lnTo>
                        <a:pt x="54959" y="86487"/>
                      </a:lnTo>
                      <a:lnTo>
                        <a:pt x="55236" y="86487"/>
                      </a:lnTo>
                      <a:lnTo>
                        <a:pt x="82401" y="7144"/>
                      </a:lnTo>
                      <a:lnTo>
                        <a:pt x="102480" y="7144"/>
                      </a:lnTo>
                      <a:lnTo>
                        <a:pt x="102480" y="104737"/>
                      </a:lnTo>
                      <a:lnTo>
                        <a:pt x="88478" y="104737"/>
                      </a:lnTo>
                      <a:lnTo>
                        <a:pt x="88478" y="20421"/>
                      </a:lnTo>
                      <a:lnTo>
                        <a:pt x="88192" y="20421"/>
                      </a:lnTo>
                      <a:lnTo>
                        <a:pt x="59627" y="104737"/>
                      </a:lnTo>
                      <a:lnTo>
                        <a:pt x="47730" y="104737"/>
                      </a:lnTo>
                      <a:lnTo>
                        <a:pt x="19164" y="20421"/>
                      </a:lnTo>
                      <a:lnTo>
                        <a:pt x="18879" y="20421"/>
                      </a:lnTo>
                      <a:lnTo>
                        <a:pt x="18879" y="104737"/>
                      </a:lnTo>
                      <a:lnTo>
                        <a:pt x="7144" y="104737"/>
                      </a:lnTo>
                      <a:lnTo>
                        <a:pt x="7144" y="7144"/>
                      </a:lnTo>
                      <a:close/>
                    </a:path>
                  </a:pathLst>
                </a:custGeom>
                <a:grpFill/>
                <a:ln w="9525" cap="flat">
                  <a:noFill/>
                  <a:prstDash val="solid"/>
                  <a:miter/>
                </a:ln>
              </p:spPr>
              <p:txBody>
                <a:bodyPr rtlCol="0" anchor="ctr"/>
                <a:lstStyle/>
                <a:p>
                  <a:endParaRPr lang="ja-JP" altLang="en-US">
                    <a:solidFill>
                      <a:prstClr val="black"/>
                    </a:solidFill>
                  </a:endParaRPr>
                </a:p>
              </p:txBody>
            </p:sp>
            <p:sp>
              <p:nvSpPr>
                <p:cNvPr id="114" name="フリーフォーム: 図形 39">
                  <a:extLst>
                    <a:ext uri="{FF2B5EF4-FFF2-40B4-BE49-F238E27FC236}">
                      <a16:creationId xmlns:a16="http://schemas.microsoft.com/office/drawing/2014/main" id="{181D821C-4F2B-4BEA-86BE-0CD5A64FBF6E}"/>
                    </a:ext>
                  </a:extLst>
                </p:cNvPr>
                <p:cNvSpPr/>
                <p:nvPr/>
              </p:nvSpPr>
              <p:spPr>
                <a:xfrm>
                  <a:off x="545073" y="5857776"/>
                  <a:ext cx="28575" cy="104775"/>
                </a:xfrm>
                <a:custGeom>
                  <a:avLst/>
                  <a:gdLst>
                    <a:gd name="connsiteX0" fmla="*/ 7144 w 28575"/>
                    <a:gd name="connsiteY0" fmla="*/ 7144 h 104775"/>
                    <a:gd name="connsiteX1" fmla="*/ 22565 w 28575"/>
                    <a:gd name="connsiteY1" fmla="*/ 7144 h 104775"/>
                    <a:gd name="connsiteX2" fmla="*/ 22565 w 28575"/>
                    <a:gd name="connsiteY2" fmla="*/ 21279 h 104775"/>
                    <a:gd name="connsiteX3" fmla="*/ 7144 w 28575"/>
                    <a:gd name="connsiteY3" fmla="*/ 21279 h 104775"/>
                    <a:gd name="connsiteX4" fmla="*/ 7144 w 28575"/>
                    <a:gd name="connsiteY4" fmla="*/ 7144 h 104775"/>
                    <a:gd name="connsiteX5" fmla="*/ 7706 w 28575"/>
                    <a:gd name="connsiteY5" fmla="*/ 37405 h 104775"/>
                    <a:gd name="connsiteX6" fmla="*/ 21993 w 28575"/>
                    <a:gd name="connsiteY6" fmla="*/ 37405 h 104775"/>
                    <a:gd name="connsiteX7" fmla="*/ 21993 w 28575"/>
                    <a:gd name="connsiteY7" fmla="*/ 104727 h 104775"/>
                    <a:gd name="connsiteX8" fmla="*/ 7706 w 28575"/>
                    <a:gd name="connsiteY8" fmla="*/ 104727 h 104775"/>
                    <a:gd name="connsiteX9" fmla="*/ 7706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65" y="7144"/>
                      </a:lnTo>
                      <a:lnTo>
                        <a:pt x="22565" y="21279"/>
                      </a:lnTo>
                      <a:lnTo>
                        <a:pt x="7144" y="21279"/>
                      </a:lnTo>
                      <a:lnTo>
                        <a:pt x="7144" y="7144"/>
                      </a:lnTo>
                      <a:close/>
                      <a:moveTo>
                        <a:pt x="7706" y="37405"/>
                      </a:moveTo>
                      <a:lnTo>
                        <a:pt x="21993" y="37405"/>
                      </a:lnTo>
                      <a:lnTo>
                        <a:pt x="21993" y="104727"/>
                      </a:lnTo>
                      <a:lnTo>
                        <a:pt x="7706" y="104727"/>
                      </a:lnTo>
                      <a:lnTo>
                        <a:pt x="7706" y="37405"/>
                      </a:lnTo>
                      <a:close/>
                    </a:path>
                  </a:pathLst>
                </a:custGeom>
                <a:grpFill/>
                <a:ln w="9525" cap="flat">
                  <a:noFill/>
                  <a:prstDash val="solid"/>
                  <a:miter/>
                </a:ln>
              </p:spPr>
              <p:txBody>
                <a:bodyPr rtlCol="0" anchor="ctr"/>
                <a:lstStyle/>
                <a:p>
                  <a:endParaRPr lang="ja-JP" altLang="en-US">
                    <a:solidFill>
                      <a:prstClr val="black"/>
                    </a:solidFill>
                  </a:endParaRPr>
                </a:p>
              </p:txBody>
            </p:sp>
            <p:sp>
              <p:nvSpPr>
                <p:cNvPr id="115" name="フリーフォーム: 図形 40">
                  <a:extLst>
                    <a:ext uri="{FF2B5EF4-FFF2-40B4-BE49-F238E27FC236}">
                      <a16:creationId xmlns:a16="http://schemas.microsoft.com/office/drawing/2014/main" id="{25120B74-FB56-4CE0-81F4-FDE9EC2E231D}"/>
                    </a:ext>
                  </a:extLst>
                </p:cNvPr>
                <p:cNvSpPr/>
                <p:nvPr/>
              </p:nvSpPr>
              <p:spPr>
                <a:xfrm>
                  <a:off x="581697"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0 w 66675"/>
                    <a:gd name="connsiteY4" fmla="*/ 7144 h 76200"/>
                    <a:gd name="connsiteX5" fmla="*/ 62303 w 66675"/>
                    <a:gd name="connsiteY5" fmla="*/ 26803 h 76200"/>
                    <a:gd name="connsiteX6" fmla="*/ 62303 w 66675"/>
                    <a:gd name="connsiteY6" fmla="*/ 76029 h 76200"/>
                    <a:gd name="connsiteX7" fmla="*/ 48016 w 66675"/>
                    <a:gd name="connsiteY7" fmla="*/ 76029 h 76200"/>
                    <a:gd name="connsiteX8" fmla="*/ 48016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74" y="19736"/>
                        <a:pt x="30490" y="7144"/>
                        <a:pt x="45330" y="7144"/>
                      </a:cubicBezTo>
                      <a:cubicBezTo>
                        <a:pt x="57217" y="7144"/>
                        <a:pt x="62303" y="17040"/>
                        <a:pt x="62303" y="26803"/>
                      </a:cubicBezTo>
                      <a:lnTo>
                        <a:pt x="62303" y="76029"/>
                      </a:lnTo>
                      <a:lnTo>
                        <a:pt x="48016" y="76029"/>
                      </a:lnTo>
                      <a:lnTo>
                        <a:pt x="48016" y="33871"/>
                      </a:lnTo>
                      <a:cubicBezTo>
                        <a:pt x="48016" y="25384"/>
                        <a:pt x="46739" y="17745"/>
                        <a:pt x="39529" y="17745"/>
                      </a:cubicBezTo>
                      <a:cubicBezTo>
                        <a:pt x="25384" y="17745"/>
                        <a:pt x="21431" y="39805"/>
                        <a:pt x="21431" y="48158"/>
                      </a:cubicBezTo>
                      <a:lnTo>
                        <a:pt x="21431" y="76029"/>
                      </a:lnTo>
                      <a:lnTo>
                        <a:pt x="7144" y="76029"/>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16" name="フリーフォーム: 図形 41">
                  <a:extLst>
                    <a:ext uri="{FF2B5EF4-FFF2-40B4-BE49-F238E27FC236}">
                      <a16:creationId xmlns:a16="http://schemas.microsoft.com/office/drawing/2014/main" id="{C52114EE-9D82-4A8C-9905-57133820810F}"/>
                    </a:ext>
                  </a:extLst>
                </p:cNvPr>
                <p:cNvSpPr/>
                <p:nvPr/>
              </p:nvSpPr>
              <p:spPr>
                <a:xfrm>
                  <a:off x="657945" y="5857776"/>
                  <a:ext cx="28575" cy="104775"/>
                </a:xfrm>
                <a:custGeom>
                  <a:avLst/>
                  <a:gdLst>
                    <a:gd name="connsiteX0" fmla="*/ 7144 w 28575"/>
                    <a:gd name="connsiteY0" fmla="*/ 7144 h 104775"/>
                    <a:gd name="connsiteX1" fmla="*/ 22555 w 28575"/>
                    <a:gd name="connsiteY1" fmla="*/ 7144 h 104775"/>
                    <a:gd name="connsiteX2" fmla="*/ 22555 w 28575"/>
                    <a:gd name="connsiteY2" fmla="*/ 21279 h 104775"/>
                    <a:gd name="connsiteX3" fmla="*/ 7144 w 28575"/>
                    <a:gd name="connsiteY3" fmla="*/ 21279 h 104775"/>
                    <a:gd name="connsiteX4" fmla="*/ 7144 w 28575"/>
                    <a:gd name="connsiteY4" fmla="*/ 7144 h 104775"/>
                    <a:gd name="connsiteX5" fmla="*/ 7715 w 28575"/>
                    <a:gd name="connsiteY5" fmla="*/ 37405 h 104775"/>
                    <a:gd name="connsiteX6" fmla="*/ 22003 w 28575"/>
                    <a:gd name="connsiteY6" fmla="*/ 37405 h 104775"/>
                    <a:gd name="connsiteX7" fmla="*/ 22003 w 28575"/>
                    <a:gd name="connsiteY7" fmla="*/ 104727 h 104775"/>
                    <a:gd name="connsiteX8" fmla="*/ 7715 w 28575"/>
                    <a:gd name="connsiteY8" fmla="*/ 104727 h 104775"/>
                    <a:gd name="connsiteX9" fmla="*/ 7715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55" y="7144"/>
                      </a:lnTo>
                      <a:lnTo>
                        <a:pt x="22555" y="21279"/>
                      </a:lnTo>
                      <a:lnTo>
                        <a:pt x="7144" y="21279"/>
                      </a:lnTo>
                      <a:lnTo>
                        <a:pt x="7144" y="7144"/>
                      </a:lnTo>
                      <a:close/>
                      <a:moveTo>
                        <a:pt x="7715" y="37405"/>
                      </a:moveTo>
                      <a:lnTo>
                        <a:pt x="22003" y="37405"/>
                      </a:lnTo>
                      <a:lnTo>
                        <a:pt x="22003" y="104727"/>
                      </a:lnTo>
                      <a:lnTo>
                        <a:pt x="7715" y="104727"/>
                      </a:lnTo>
                      <a:lnTo>
                        <a:pt x="7715" y="37405"/>
                      </a:lnTo>
                      <a:close/>
                    </a:path>
                  </a:pathLst>
                </a:custGeom>
                <a:grpFill/>
                <a:ln w="9525" cap="flat">
                  <a:noFill/>
                  <a:prstDash val="solid"/>
                  <a:miter/>
                </a:ln>
              </p:spPr>
              <p:txBody>
                <a:bodyPr rtlCol="0" anchor="ctr"/>
                <a:lstStyle/>
                <a:p>
                  <a:endParaRPr lang="ja-JP" altLang="en-US">
                    <a:solidFill>
                      <a:prstClr val="black"/>
                    </a:solidFill>
                  </a:endParaRPr>
                </a:p>
              </p:txBody>
            </p:sp>
            <p:sp>
              <p:nvSpPr>
                <p:cNvPr id="117" name="フリーフォーム: 図形 42">
                  <a:extLst>
                    <a:ext uri="{FF2B5EF4-FFF2-40B4-BE49-F238E27FC236}">
                      <a16:creationId xmlns:a16="http://schemas.microsoft.com/office/drawing/2014/main" id="{1946BD77-D232-47D0-9CE8-73FB6DB59404}"/>
                    </a:ext>
                  </a:extLst>
                </p:cNvPr>
                <p:cNvSpPr/>
                <p:nvPr/>
              </p:nvSpPr>
              <p:spPr>
                <a:xfrm>
                  <a:off x="691606" y="5886465"/>
                  <a:ext cx="57150" cy="76200"/>
                </a:xfrm>
                <a:custGeom>
                  <a:avLst/>
                  <a:gdLst>
                    <a:gd name="connsiteX0" fmla="*/ 46606 w 57150"/>
                    <a:gd name="connsiteY0" fmla="*/ 22003 h 76200"/>
                    <a:gd name="connsiteX1" fmla="*/ 29642 w 57150"/>
                    <a:gd name="connsiteY1" fmla="*/ 15364 h 76200"/>
                    <a:gd name="connsiteX2" fmla="*/ 20021 w 57150"/>
                    <a:gd name="connsiteY2" fmla="*/ 22431 h 76200"/>
                    <a:gd name="connsiteX3" fmla="*/ 50854 w 57150"/>
                    <a:gd name="connsiteY3" fmla="*/ 57236 h 76200"/>
                    <a:gd name="connsiteX4" fmla="*/ 25251 w 57150"/>
                    <a:gd name="connsiteY4" fmla="*/ 77591 h 76200"/>
                    <a:gd name="connsiteX5" fmla="*/ 7277 w 57150"/>
                    <a:gd name="connsiteY5" fmla="*/ 74628 h 76200"/>
                    <a:gd name="connsiteX6" fmla="*/ 7277 w 57150"/>
                    <a:gd name="connsiteY6" fmla="*/ 61474 h 76200"/>
                    <a:gd name="connsiteX7" fmla="*/ 25946 w 57150"/>
                    <a:gd name="connsiteY7" fmla="*/ 68542 h 76200"/>
                    <a:gd name="connsiteX8" fmla="*/ 37548 w 57150"/>
                    <a:gd name="connsiteY8" fmla="*/ 60055 h 76200"/>
                    <a:gd name="connsiteX9" fmla="*/ 7144 w 57150"/>
                    <a:gd name="connsiteY9" fmla="*/ 26527 h 76200"/>
                    <a:gd name="connsiteX10" fmla="*/ 30756 w 57150"/>
                    <a:gd name="connsiteY10" fmla="*/ 7144 h 76200"/>
                    <a:gd name="connsiteX11" fmla="*/ 46596 w 57150"/>
                    <a:gd name="connsiteY11" fmla="*/ 9820 h 76200"/>
                    <a:gd name="connsiteX12" fmla="*/ 4659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06" y="22003"/>
                      </a:moveTo>
                      <a:cubicBezTo>
                        <a:pt x="41796" y="18745"/>
                        <a:pt x="36433" y="15364"/>
                        <a:pt x="29642" y="15364"/>
                      </a:cubicBezTo>
                      <a:cubicBezTo>
                        <a:pt x="25108" y="15364"/>
                        <a:pt x="20021" y="17336"/>
                        <a:pt x="20021" y="22431"/>
                      </a:cubicBezTo>
                      <a:cubicBezTo>
                        <a:pt x="20021" y="34595"/>
                        <a:pt x="50854" y="35728"/>
                        <a:pt x="50854" y="57236"/>
                      </a:cubicBezTo>
                      <a:cubicBezTo>
                        <a:pt x="50854" y="71656"/>
                        <a:pt x="39538" y="77591"/>
                        <a:pt x="25251" y="77591"/>
                      </a:cubicBezTo>
                      <a:cubicBezTo>
                        <a:pt x="16621" y="77591"/>
                        <a:pt x="10678" y="75771"/>
                        <a:pt x="7277" y="74628"/>
                      </a:cubicBezTo>
                      <a:lnTo>
                        <a:pt x="7277" y="61474"/>
                      </a:lnTo>
                      <a:cubicBezTo>
                        <a:pt x="11382" y="64303"/>
                        <a:pt x="18031" y="68542"/>
                        <a:pt x="25946" y="68542"/>
                      </a:cubicBezTo>
                      <a:cubicBezTo>
                        <a:pt x="34147" y="68542"/>
                        <a:pt x="37548" y="64303"/>
                        <a:pt x="37548" y="60055"/>
                      </a:cubicBezTo>
                      <a:cubicBezTo>
                        <a:pt x="37548" y="48168"/>
                        <a:pt x="7144" y="45768"/>
                        <a:pt x="7144" y="26527"/>
                      </a:cubicBezTo>
                      <a:cubicBezTo>
                        <a:pt x="7144" y="16335"/>
                        <a:pt x="13935" y="7144"/>
                        <a:pt x="30756" y="7144"/>
                      </a:cubicBezTo>
                      <a:cubicBezTo>
                        <a:pt x="37976" y="7144"/>
                        <a:pt x="44196" y="9115"/>
                        <a:pt x="46596" y="9820"/>
                      </a:cubicBezTo>
                      <a:lnTo>
                        <a:pt x="46596" y="22003"/>
                      </a:lnTo>
                      <a:close/>
                    </a:path>
                  </a:pathLst>
                </a:custGeom>
                <a:grpFill/>
                <a:ln w="9525" cap="flat">
                  <a:noFill/>
                  <a:prstDash val="solid"/>
                  <a:miter/>
                </a:ln>
              </p:spPr>
              <p:txBody>
                <a:bodyPr rtlCol="0" anchor="ctr"/>
                <a:lstStyle/>
                <a:p>
                  <a:endParaRPr lang="ja-JP" altLang="en-US">
                    <a:solidFill>
                      <a:prstClr val="black"/>
                    </a:solidFill>
                  </a:endParaRPr>
                </a:p>
              </p:txBody>
            </p:sp>
            <p:sp>
              <p:nvSpPr>
                <p:cNvPr id="118" name="フリーフォーム: 図形 43">
                  <a:extLst>
                    <a:ext uri="{FF2B5EF4-FFF2-40B4-BE49-F238E27FC236}">
                      <a16:creationId xmlns:a16="http://schemas.microsoft.com/office/drawing/2014/main" id="{569C7674-C4FE-43AB-8495-3F6E3F81DEB1}"/>
                    </a:ext>
                  </a:extLst>
                </p:cNvPr>
                <p:cNvSpPr/>
                <p:nvPr/>
              </p:nvSpPr>
              <p:spPr>
                <a:xfrm>
                  <a:off x="745356" y="5863567"/>
                  <a:ext cx="57150" cy="104775"/>
                </a:xfrm>
                <a:custGeom>
                  <a:avLst/>
                  <a:gdLst>
                    <a:gd name="connsiteX0" fmla="*/ 49016 w 57150"/>
                    <a:gd name="connsiteY0" fmla="*/ 99498 h 104775"/>
                    <a:gd name="connsiteX1" fmla="*/ 39119 w 57150"/>
                    <a:gd name="connsiteY1" fmla="*/ 100489 h 104775"/>
                    <a:gd name="connsiteX2" fmla="*/ 17897 w 57150"/>
                    <a:gd name="connsiteY2" fmla="*/ 83372 h 104775"/>
                    <a:gd name="connsiteX3" fmla="*/ 17897 w 57150"/>
                    <a:gd name="connsiteY3" fmla="*/ 38967 h 104775"/>
                    <a:gd name="connsiteX4" fmla="*/ 7144 w 57150"/>
                    <a:gd name="connsiteY4" fmla="*/ 38967 h 104775"/>
                    <a:gd name="connsiteX5" fmla="*/ 7144 w 57150"/>
                    <a:gd name="connsiteY5" fmla="*/ 31623 h 104775"/>
                    <a:gd name="connsiteX6" fmla="*/ 17897 w 57150"/>
                    <a:gd name="connsiteY6" fmla="*/ 31623 h 104775"/>
                    <a:gd name="connsiteX7" fmla="*/ 17897 w 57150"/>
                    <a:gd name="connsiteY7" fmla="*/ 15773 h 104775"/>
                    <a:gd name="connsiteX8" fmla="*/ 32185 w 57150"/>
                    <a:gd name="connsiteY8" fmla="*/ 7144 h 104775"/>
                    <a:gd name="connsiteX9" fmla="*/ 32185 w 57150"/>
                    <a:gd name="connsiteY9" fmla="*/ 31623 h 104775"/>
                    <a:gd name="connsiteX10" fmla="*/ 50568 w 57150"/>
                    <a:gd name="connsiteY10" fmla="*/ 31623 h 104775"/>
                    <a:gd name="connsiteX11" fmla="*/ 50568 w 57150"/>
                    <a:gd name="connsiteY11" fmla="*/ 38967 h 104775"/>
                    <a:gd name="connsiteX12" fmla="*/ 32185 w 57150"/>
                    <a:gd name="connsiteY12" fmla="*/ 38967 h 104775"/>
                    <a:gd name="connsiteX13" fmla="*/ 32185 w 57150"/>
                    <a:gd name="connsiteY13" fmla="*/ 77714 h 104775"/>
                    <a:gd name="connsiteX14" fmla="*/ 42367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77" y="100489"/>
                        <a:pt x="39119" y="100489"/>
                      </a:cubicBezTo>
                      <a:cubicBezTo>
                        <a:pt x="25679" y="100489"/>
                        <a:pt x="17897" y="96393"/>
                        <a:pt x="17897" y="83372"/>
                      </a:cubicBezTo>
                      <a:lnTo>
                        <a:pt x="17897" y="38967"/>
                      </a:lnTo>
                      <a:lnTo>
                        <a:pt x="7144" y="38967"/>
                      </a:lnTo>
                      <a:lnTo>
                        <a:pt x="7144" y="31623"/>
                      </a:lnTo>
                      <a:lnTo>
                        <a:pt x="17897" y="31623"/>
                      </a:lnTo>
                      <a:lnTo>
                        <a:pt x="17897" y="15773"/>
                      </a:lnTo>
                      <a:lnTo>
                        <a:pt x="32185" y="7144"/>
                      </a:lnTo>
                      <a:lnTo>
                        <a:pt x="32185" y="31623"/>
                      </a:lnTo>
                      <a:lnTo>
                        <a:pt x="50568" y="31623"/>
                      </a:lnTo>
                      <a:lnTo>
                        <a:pt x="50568" y="38967"/>
                      </a:lnTo>
                      <a:lnTo>
                        <a:pt x="32185" y="38967"/>
                      </a:lnTo>
                      <a:lnTo>
                        <a:pt x="32185" y="77714"/>
                      </a:lnTo>
                      <a:cubicBezTo>
                        <a:pt x="32185" y="87611"/>
                        <a:pt x="33176" y="92430"/>
                        <a:pt x="42367" y="92430"/>
                      </a:cubicBezTo>
                      <a:cubicBezTo>
                        <a:pt x="44625" y="92430"/>
                        <a:pt x="47034" y="92154"/>
                        <a:pt x="49006" y="91297"/>
                      </a:cubicBezTo>
                      <a:lnTo>
                        <a:pt x="49006" y="99498"/>
                      </a:lnTo>
                      <a:close/>
                    </a:path>
                  </a:pathLst>
                </a:custGeom>
                <a:grpFill/>
                <a:ln w="9525" cap="flat">
                  <a:noFill/>
                  <a:prstDash val="solid"/>
                  <a:miter/>
                </a:ln>
              </p:spPr>
              <p:txBody>
                <a:bodyPr rtlCol="0" anchor="ctr"/>
                <a:lstStyle/>
                <a:p>
                  <a:endParaRPr lang="ja-JP" altLang="en-US">
                    <a:solidFill>
                      <a:prstClr val="black"/>
                    </a:solidFill>
                  </a:endParaRPr>
                </a:p>
              </p:txBody>
            </p:sp>
            <p:sp>
              <p:nvSpPr>
                <p:cNvPr id="119" name="フリーフォーム: 図形 44">
                  <a:extLst>
                    <a:ext uri="{FF2B5EF4-FFF2-40B4-BE49-F238E27FC236}">
                      <a16:creationId xmlns:a16="http://schemas.microsoft.com/office/drawing/2014/main" id="{D7B4BAB7-53D2-4947-A138-3EA5268EF36C}"/>
                    </a:ext>
                  </a:extLst>
                </p:cNvPr>
                <p:cNvSpPr/>
                <p:nvPr/>
              </p:nvSpPr>
              <p:spPr>
                <a:xfrm>
                  <a:off x="801515"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20" name="フリーフォーム: 図形 45">
                  <a:extLst>
                    <a:ext uri="{FF2B5EF4-FFF2-40B4-BE49-F238E27FC236}">
                      <a16:creationId xmlns:a16="http://schemas.microsoft.com/office/drawing/2014/main" id="{359B3F44-F462-4F32-861C-4559037C36C4}"/>
                    </a:ext>
                  </a:extLst>
                </p:cNvPr>
                <p:cNvSpPr/>
                <p:nvPr/>
              </p:nvSpPr>
              <p:spPr>
                <a:xfrm>
                  <a:off x="841253" y="5888037"/>
                  <a:ext cx="76200" cy="104775"/>
                </a:xfrm>
                <a:custGeom>
                  <a:avLst/>
                  <a:gdLst>
                    <a:gd name="connsiteX0" fmla="*/ 33033 w 76200"/>
                    <a:gd name="connsiteY0" fmla="*/ 75181 h 104775"/>
                    <a:gd name="connsiteX1" fmla="*/ 7144 w 76200"/>
                    <a:gd name="connsiteY1" fmla="*/ 7144 h 104775"/>
                    <a:gd name="connsiteX2" fmla="*/ 22003 w 76200"/>
                    <a:gd name="connsiteY2" fmla="*/ 7144 h 104775"/>
                    <a:gd name="connsiteX3" fmla="*/ 39681 w 76200"/>
                    <a:gd name="connsiteY3" fmla="*/ 55235 h 104775"/>
                    <a:gd name="connsiteX4" fmla="*/ 39957 w 76200"/>
                    <a:gd name="connsiteY4" fmla="*/ 55235 h 104775"/>
                    <a:gd name="connsiteX5" fmla="*/ 55797 w 76200"/>
                    <a:gd name="connsiteY5" fmla="*/ 7144 h 104775"/>
                    <a:gd name="connsiteX6" fmla="*/ 69237 w 76200"/>
                    <a:gd name="connsiteY6" fmla="*/ 7144 h 104775"/>
                    <a:gd name="connsiteX7" fmla="*/ 34576 w 76200"/>
                    <a:gd name="connsiteY7" fmla="*/ 104737 h 104775"/>
                    <a:gd name="connsiteX8" fmla="*/ 23117 w 76200"/>
                    <a:gd name="connsiteY8" fmla="*/ 104737 h 104775"/>
                    <a:gd name="connsiteX9" fmla="*/ 33033 w 76200"/>
                    <a:gd name="connsiteY9" fmla="*/ 7518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104775">
                      <a:moveTo>
                        <a:pt x="33033" y="75181"/>
                      </a:moveTo>
                      <a:lnTo>
                        <a:pt x="7144" y="7144"/>
                      </a:lnTo>
                      <a:lnTo>
                        <a:pt x="22003" y="7144"/>
                      </a:lnTo>
                      <a:lnTo>
                        <a:pt x="39681" y="55235"/>
                      </a:lnTo>
                      <a:lnTo>
                        <a:pt x="39957" y="55235"/>
                      </a:lnTo>
                      <a:lnTo>
                        <a:pt x="55797" y="7144"/>
                      </a:lnTo>
                      <a:lnTo>
                        <a:pt x="69237" y="7144"/>
                      </a:lnTo>
                      <a:lnTo>
                        <a:pt x="34576" y="104737"/>
                      </a:lnTo>
                      <a:lnTo>
                        <a:pt x="23117" y="104737"/>
                      </a:lnTo>
                      <a:lnTo>
                        <a:pt x="33033" y="75181"/>
                      </a:lnTo>
                      <a:close/>
                    </a:path>
                  </a:pathLst>
                </a:custGeom>
                <a:grpFill/>
                <a:ln w="9525" cap="flat">
                  <a:noFill/>
                  <a:prstDash val="solid"/>
                  <a:miter/>
                </a:ln>
              </p:spPr>
              <p:txBody>
                <a:bodyPr rtlCol="0" anchor="ctr"/>
                <a:lstStyle/>
                <a:p>
                  <a:endParaRPr lang="ja-JP" altLang="en-US">
                    <a:solidFill>
                      <a:prstClr val="black"/>
                    </a:solidFill>
                  </a:endParaRPr>
                </a:p>
              </p:txBody>
            </p:sp>
            <p:sp>
              <p:nvSpPr>
                <p:cNvPr id="121" name="フリーフォーム: 図形 46">
                  <a:extLst>
                    <a:ext uri="{FF2B5EF4-FFF2-40B4-BE49-F238E27FC236}">
                      <a16:creationId xmlns:a16="http://schemas.microsoft.com/office/drawing/2014/main" id="{371C8AB4-DCE5-4256-A608-0298511FB4C3}"/>
                    </a:ext>
                  </a:extLst>
                </p:cNvPr>
                <p:cNvSpPr/>
                <p:nvPr/>
              </p:nvSpPr>
              <p:spPr>
                <a:xfrm>
                  <a:off x="948762" y="5886475"/>
                  <a:ext cx="66675" cy="76200"/>
                </a:xfrm>
                <a:custGeom>
                  <a:avLst/>
                  <a:gdLst>
                    <a:gd name="connsiteX0" fmla="*/ 7144 w 66675"/>
                    <a:gd name="connsiteY0" fmla="*/ 42358 h 76200"/>
                    <a:gd name="connsiteX1" fmla="*/ 36843 w 66675"/>
                    <a:gd name="connsiteY1" fmla="*/ 7144 h 76200"/>
                    <a:gd name="connsiteX2" fmla="*/ 66694 w 66675"/>
                    <a:gd name="connsiteY2" fmla="*/ 42358 h 76200"/>
                    <a:gd name="connsiteX3" fmla="*/ 36843 w 66675"/>
                    <a:gd name="connsiteY3" fmla="*/ 77571 h 76200"/>
                    <a:gd name="connsiteX4" fmla="*/ 7144 w 66675"/>
                    <a:gd name="connsiteY4" fmla="*/ 42358 h 76200"/>
                    <a:gd name="connsiteX5" fmla="*/ 36843 w 66675"/>
                    <a:gd name="connsiteY5" fmla="*/ 71647 h 76200"/>
                    <a:gd name="connsiteX6" fmla="*/ 51130 w 66675"/>
                    <a:gd name="connsiteY6" fmla="*/ 42367 h 76200"/>
                    <a:gd name="connsiteX7" fmla="*/ 36843 w 66675"/>
                    <a:gd name="connsiteY7" fmla="*/ 13087 h 76200"/>
                    <a:gd name="connsiteX8" fmla="*/ 22708 w 66675"/>
                    <a:gd name="connsiteY8" fmla="*/ 42367 h 76200"/>
                    <a:gd name="connsiteX9" fmla="*/ 36843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40" y="7144"/>
                        <a:pt x="36843" y="7144"/>
                      </a:cubicBezTo>
                      <a:cubicBezTo>
                        <a:pt x="56645" y="7144"/>
                        <a:pt x="66694" y="19593"/>
                        <a:pt x="66694" y="42358"/>
                      </a:cubicBezTo>
                      <a:cubicBezTo>
                        <a:pt x="66694" y="65122"/>
                        <a:pt x="56645" y="77571"/>
                        <a:pt x="36843" y="77571"/>
                      </a:cubicBezTo>
                      <a:cubicBezTo>
                        <a:pt x="17040" y="77571"/>
                        <a:pt x="7144" y="65132"/>
                        <a:pt x="7144" y="42358"/>
                      </a:cubicBezTo>
                      <a:close/>
                      <a:moveTo>
                        <a:pt x="36843" y="71647"/>
                      </a:moveTo>
                      <a:cubicBezTo>
                        <a:pt x="49578" y="71647"/>
                        <a:pt x="51130" y="54683"/>
                        <a:pt x="51130" y="42367"/>
                      </a:cubicBezTo>
                      <a:cubicBezTo>
                        <a:pt x="51130" y="30070"/>
                        <a:pt x="49578" y="13087"/>
                        <a:pt x="36843" y="13087"/>
                      </a:cubicBezTo>
                      <a:cubicBezTo>
                        <a:pt x="24260" y="13087"/>
                        <a:pt x="22708" y="30070"/>
                        <a:pt x="22708" y="42367"/>
                      </a:cubicBezTo>
                      <a:cubicBezTo>
                        <a:pt x="22698" y="54673"/>
                        <a:pt x="24251" y="71647"/>
                        <a:pt x="36843" y="71647"/>
                      </a:cubicBezTo>
                      <a:close/>
                    </a:path>
                  </a:pathLst>
                </a:custGeom>
                <a:grpFill/>
                <a:ln w="9525" cap="flat">
                  <a:noFill/>
                  <a:prstDash val="solid"/>
                  <a:miter/>
                </a:ln>
              </p:spPr>
              <p:txBody>
                <a:bodyPr rtlCol="0" anchor="ctr"/>
                <a:lstStyle/>
                <a:p>
                  <a:endParaRPr lang="ja-JP" altLang="en-US">
                    <a:solidFill>
                      <a:prstClr val="black"/>
                    </a:solidFill>
                  </a:endParaRPr>
                </a:p>
              </p:txBody>
            </p:sp>
            <p:sp>
              <p:nvSpPr>
                <p:cNvPr id="122" name="フリーフォーム: 図形 47">
                  <a:extLst>
                    <a:ext uri="{FF2B5EF4-FFF2-40B4-BE49-F238E27FC236}">
                      <a16:creationId xmlns:a16="http://schemas.microsoft.com/office/drawing/2014/main" id="{1FB3BF4D-5FD8-496B-8B3D-C93A4BC042E7}"/>
                    </a:ext>
                  </a:extLst>
                </p:cNvPr>
                <p:cNvSpPr/>
                <p:nvPr/>
              </p:nvSpPr>
              <p:spPr>
                <a:xfrm>
                  <a:off x="1017637" y="5856214"/>
                  <a:ext cx="57150" cy="104775"/>
                </a:xfrm>
                <a:custGeom>
                  <a:avLst/>
                  <a:gdLst>
                    <a:gd name="connsiteX0" fmla="*/ 18878 w 57150"/>
                    <a:gd name="connsiteY0" fmla="*/ 46320 h 104775"/>
                    <a:gd name="connsiteX1" fmla="*/ 7144 w 57150"/>
                    <a:gd name="connsiteY1" fmla="*/ 46320 h 104775"/>
                    <a:gd name="connsiteX2" fmla="*/ 7144 w 57150"/>
                    <a:gd name="connsiteY2" fmla="*/ 38976 h 104775"/>
                    <a:gd name="connsiteX3" fmla="*/ 18878 w 57150"/>
                    <a:gd name="connsiteY3" fmla="*/ 38976 h 104775"/>
                    <a:gd name="connsiteX4" fmla="*/ 18878 w 57150"/>
                    <a:gd name="connsiteY4" fmla="*/ 32613 h 104775"/>
                    <a:gd name="connsiteX5" fmla="*/ 44482 w 57150"/>
                    <a:gd name="connsiteY5" fmla="*/ 7144 h 104775"/>
                    <a:gd name="connsiteX6" fmla="*/ 58769 w 57150"/>
                    <a:gd name="connsiteY6" fmla="*/ 8706 h 104775"/>
                    <a:gd name="connsiteX7" fmla="*/ 58769 w 57150"/>
                    <a:gd name="connsiteY7" fmla="*/ 18450 h 104775"/>
                    <a:gd name="connsiteX8" fmla="*/ 46177 w 57150"/>
                    <a:gd name="connsiteY8" fmla="*/ 15345 h 104775"/>
                    <a:gd name="connsiteX9" fmla="*/ 33166 w 57150"/>
                    <a:gd name="connsiteY9" fmla="*/ 30899 h 104775"/>
                    <a:gd name="connsiteX10" fmla="*/ 33166 w 57150"/>
                    <a:gd name="connsiteY10" fmla="*/ 38976 h 104775"/>
                    <a:gd name="connsiteX11" fmla="*/ 52264 w 57150"/>
                    <a:gd name="connsiteY11" fmla="*/ 38976 h 104775"/>
                    <a:gd name="connsiteX12" fmla="*/ 52264 w 57150"/>
                    <a:gd name="connsiteY12" fmla="*/ 46320 h 104775"/>
                    <a:gd name="connsiteX13" fmla="*/ 33166 w 57150"/>
                    <a:gd name="connsiteY13" fmla="*/ 46320 h 104775"/>
                    <a:gd name="connsiteX14" fmla="*/ 33166 w 57150"/>
                    <a:gd name="connsiteY14" fmla="*/ 106299 h 104775"/>
                    <a:gd name="connsiteX15" fmla="*/ 18878 w 57150"/>
                    <a:gd name="connsiteY15" fmla="*/ 106299 h 104775"/>
                    <a:gd name="connsiteX16" fmla="*/ 18878 w 57150"/>
                    <a:gd name="connsiteY16" fmla="*/ 463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18878" y="46320"/>
                      </a:moveTo>
                      <a:lnTo>
                        <a:pt x="7144" y="46320"/>
                      </a:lnTo>
                      <a:lnTo>
                        <a:pt x="7144" y="38976"/>
                      </a:lnTo>
                      <a:lnTo>
                        <a:pt x="18878" y="38976"/>
                      </a:lnTo>
                      <a:lnTo>
                        <a:pt x="18878" y="32613"/>
                      </a:lnTo>
                      <a:cubicBezTo>
                        <a:pt x="18878" y="20145"/>
                        <a:pt x="21860" y="7144"/>
                        <a:pt x="44482" y="7144"/>
                      </a:cubicBezTo>
                      <a:cubicBezTo>
                        <a:pt x="50273" y="7144"/>
                        <a:pt x="55378" y="8001"/>
                        <a:pt x="58769" y="8706"/>
                      </a:cubicBezTo>
                      <a:lnTo>
                        <a:pt x="58769" y="18450"/>
                      </a:lnTo>
                      <a:cubicBezTo>
                        <a:pt x="55788" y="17183"/>
                        <a:pt x="51978" y="15345"/>
                        <a:pt x="46177" y="15345"/>
                      </a:cubicBezTo>
                      <a:cubicBezTo>
                        <a:pt x="34576" y="15345"/>
                        <a:pt x="33166" y="23698"/>
                        <a:pt x="33166" y="30899"/>
                      </a:cubicBezTo>
                      <a:lnTo>
                        <a:pt x="33166" y="38976"/>
                      </a:lnTo>
                      <a:lnTo>
                        <a:pt x="52264" y="38976"/>
                      </a:lnTo>
                      <a:lnTo>
                        <a:pt x="52264" y="46320"/>
                      </a:lnTo>
                      <a:lnTo>
                        <a:pt x="33166" y="46320"/>
                      </a:lnTo>
                      <a:lnTo>
                        <a:pt x="33166" y="106299"/>
                      </a:lnTo>
                      <a:lnTo>
                        <a:pt x="18878" y="106299"/>
                      </a:lnTo>
                      <a:lnTo>
                        <a:pt x="18878" y="46320"/>
                      </a:lnTo>
                      <a:close/>
                    </a:path>
                  </a:pathLst>
                </a:custGeom>
                <a:grpFill/>
                <a:ln w="9525" cap="flat">
                  <a:noFill/>
                  <a:prstDash val="solid"/>
                  <a:miter/>
                </a:ln>
              </p:spPr>
              <p:txBody>
                <a:bodyPr rtlCol="0" anchor="ctr"/>
                <a:lstStyle/>
                <a:p>
                  <a:endParaRPr lang="ja-JP" altLang="en-US">
                    <a:solidFill>
                      <a:prstClr val="black"/>
                    </a:solidFill>
                  </a:endParaRPr>
                </a:p>
              </p:txBody>
            </p:sp>
            <p:sp>
              <p:nvSpPr>
                <p:cNvPr id="123" name="フリーフォーム: 図形 48">
                  <a:extLst>
                    <a:ext uri="{FF2B5EF4-FFF2-40B4-BE49-F238E27FC236}">
                      <a16:creationId xmlns:a16="http://schemas.microsoft.com/office/drawing/2014/main" id="{84518A65-C672-4F1E-805B-28AD874BDFD6}"/>
                    </a:ext>
                  </a:extLst>
                </p:cNvPr>
                <p:cNvSpPr/>
                <p:nvPr/>
              </p:nvSpPr>
              <p:spPr>
                <a:xfrm>
                  <a:off x="1114811" y="5857776"/>
                  <a:ext cx="57150" cy="104775"/>
                </a:xfrm>
                <a:custGeom>
                  <a:avLst/>
                  <a:gdLst>
                    <a:gd name="connsiteX0" fmla="*/ 7144 w 57150"/>
                    <a:gd name="connsiteY0" fmla="*/ 7144 h 104775"/>
                    <a:gd name="connsiteX1" fmla="*/ 22708 w 57150"/>
                    <a:gd name="connsiteY1" fmla="*/ 7144 h 104775"/>
                    <a:gd name="connsiteX2" fmla="*/ 22708 w 57150"/>
                    <a:gd name="connsiteY2" fmla="*/ 94545 h 104775"/>
                    <a:gd name="connsiteX3" fmla="*/ 58769 w 57150"/>
                    <a:gd name="connsiteY3" fmla="*/ 94545 h 104775"/>
                    <a:gd name="connsiteX4" fmla="*/ 58769 w 57150"/>
                    <a:gd name="connsiteY4" fmla="*/ 104737 h 104775"/>
                    <a:gd name="connsiteX5" fmla="*/ 7144 w 57150"/>
                    <a:gd name="connsiteY5" fmla="*/ 104737 h 104775"/>
                    <a:gd name="connsiteX6" fmla="*/ 7144 w 57150"/>
                    <a:gd name="connsiteY6" fmla="*/ 71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0" h="104775">
                      <a:moveTo>
                        <a:pt x="7144" y="7144"/>
                      </a:moveTo>
                      <a:lnTo>
                        <a:pt x="22708" y="7144"/>
                      </a:lnTo>
                      <a:lnTo>
                        <a:pt x="22708" y="94545"/>
                      </a:lnTo>
                      <a:lnTo>
                        <a:pt x="58769" y="94545"/>
                      </a:lnTo>
                      <a:lnTo>
                        <a:pt x="58769" y="104737"/>
                      </a:lnTo>
                      <a:lnTo>
                        <a:pt x="7144" y="104737"/>
                      </a:lnTo>
                      <a:lnTo>
                        <a:pt x="7144" y="7144"/>
                      </a:lnTo>
                      <a:close/>
                    </a:path>
                  </a:pathLst>
                </a:custGeom>
                <a:grpFill/>
                <a:ln w="9525" cap="flat">
                  <a:noFill/>
                  <a:prstDash val="solid"/>
                  <a:miter/>
                </a:ln>
              </p:spPr>
              <p:txBody>
                <a:bodyPr rtlCol="0" anchor="ctr"/>
                <a:lstStyle/>
                <a:p>
                  <a:endParaRPr lang="ja-JP" altLang="en-US">
                    <a:solidFill>
                      <a:prstClr val="black"/>
                    </a:solidFill>
                  </a:endParaRPr>
                </a:p>
              </p:txBody>
            </p:sp>
            <p:sp>
              <p:nvSpPr>
                <p:cNvPr id="124" name="フリーフォーム: 図形 49">
                  <a:extLst>
                    <a:ext uri="{FF2B5EF4-FFF2-40B4-BE49-F238E27FC236}">
                      <a16:creationId xmlns:a16="http://schemas.microsoft.com/office/drawing/2014/main" id="{83B1F61D-8BE3-4431-B0D0-4481C927DB4F}"/>
                    </a:ext>
                  </a:extLst>
                </p:cNvPr>
                <p:cNvSpPr/>
                <p:nvPr/>
              </p:nvSpPr>
              <p:spPr>
                <a:xfrm>
                  <a:off x="1172523" y="5886475"/>
                  <a:ext cx="57150" cy="76200"/>
                </a:xfrm>
                <a:custGeom>
                  <a:avLst/>
                  <a:gdLst>
                    <a:gd name="connsiteX0" fmla="*/ 44768 w 57150"/>
                    <a:gd name="connsiteY0" fmla="*/ 66694 h 76200"/>
                    <a:gd name="connsiteX1" fmla="*/ 44491 w 57150"/>
                    <a:gd name="connsiteY1" fmla="*/ 66694 h 76200"/>
                    <a:gd name="connsiteX2" fmla="*/ 25537 w 57150"/>
                    <a:gd name="connsiteY2" fmla="*/ 77581 h 76200"/>
                    <a:gd name="connsiteX3" fmla="*/ 7144 w 57150"/>
                    <a:gd name="connsiteY3" fmla="*/ 60760 h 76200"/>
                    <a:gd name="connsiteX4" fmla="*/ 44768 w 57150"/>
                    <a:gd name="connsiteY4" fmla="*/ 38548 h 76200"/>
                    <a:gd name="connsiteX5" fmla="*/ 44768 w 57150"/>
                    <a:gd name="connsiteY5" fmla="*/ 32613 h 76200"/>
                    <a:gd name="connsiteX6" fmla="*/ 35290 w 57150"/>
                    <a:gd name="connsiteY6" fmla="*/ 13078 h 76200"/>
                    <a:gd name="connsiteX7" fmla="*/ 24394 w 57150"/>
                    <a:gd name="connsiteY7" fmla="*/ 27794 h 76200"/>
                    <a:gd name="connsiteX8" fmla="*/ 9401 w 57150"/>
                    <a:gd name="connsiteY8" fmla="*/ 27794 h 76200"/>
                    <a:gd name="connsiteX9" fmla="*/ 35290 w 57150"/>
                    <a:gd name="connsiteY9" fmla="*/ 7144 h 76200"/>
                    <a:gd name="connsiteX10" fmla="*/ 59055 w 57150"/>
                    <a:gd name="connsiteY10" fmla="*/ 32613 h 76200"/>
                    <a:gd name="connsiteX11" fmla="*/ 59055 w 57150"/>
                    <a:gd name="connsiteY11" fmla="*/ 76038 h 76200"/>
                    <a:gd name="connsiteX12" fmla="*/ 44768 w 57150"/>
                    <a:gd name="connsiteY12" fmla="*/ 76038 h 76200"/>
                    <a:gd name="connsiteX13" fmla="*/ 44768 w 57150"/>
                    <a:gd name="connsiteY13" fmla="*/ 66694 h 76200"/>
                    <a:gd name="connsiteX14" fmla="*/ 44768 w 57150"/>
                    <a:gd name="connsiteY14" fmla="*/ 44482 h 76200"/>
                    <a:gd name="connsiteX15" fmla="*/ 22708 w 57150"/>
                    <a:gd name="connsiteY15" fmla="*/ 58636 h 76200"/>
                    <a:gd name="connsiteX16" fmla="*/ 30909 w 57150"/>
                    <a:gd name="connsiteY16" fmla="*/ 68666 h 76200"/>
                    <a:gd name="connsiteX17" fmla="*/ 44768 w 57150"/>
                    <a:gd name="connsiteY17" fmla="*/ 52406 h 76200"/>
                    <a:gd name="connsiteX18" fmla="*/ 44768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68" y="66694"/>
                      </a:moveTo>
                      <a:lnTo>
                        <a:pt x="44491" y="66694"/>
                      </a:lnTo>
                      <a:cubicBezTo>
                        <a:pt x="42224" y="70656"/>
                        <a:pt x="36290" y="77581"/>
                        <a:pt x="25537" y="77581"/>
                      </a:cubicBezTo>
                      <a:cubicBezTo>
                        <a:pt x="14926" y="77581"/>
                        <a:pt x="7144" y="70085"/>
                        <a:pt x="7144" y="60760"/>
                      </a:cubicBezTo>
                      <a:cubicBezTo>
                        <a:pt x="7144" y="39957"/>
                        <a:pt x="35862" y="38976"/>
                        <a:pt x="44768" y="38548"/>
                      </a:cubicBezTo>
                      <a:lnTo>
                        <a:pt x="44768" y="32613"/>
                      </a:lnTo>
                      <a:cubicBezTo>
                        <a:pt x="44768" y="25251"/>
                        <a:pt x="44768" y="13078"/>
                        <a:pt x="35290" y="13078"/>
                      </a:cubicBezTo>
                      <a:cubicBezTo>
                        <a:pt x="26518" y="13078"/>
                        <a:pt x="24965" y="19869"/>
                        <a:pt x="24394" y="27794"/>
                      </a:cubicBezTo>
                      <a:lnTo>
                        <a:pt x="9401" y="27794"/>
                      </a:lnTo>
                      <a:cubicBezTo>
                        <a:pt x="10106" y="17745"/>
                        <a:pt x="14069" y="7144"/>
                        <a:pt x="35290" y="7144"/>
                      </a:cubicBezTo>
                      <a:cubicBezTo>
                        <a:pt x="57217" y="7144"/>
                        <a:pt x="59055" y="19440"/>
                        <a:pt x="59055" y="32613"/>
                      </a:cubicBezTo>
                      <a:lnTo>
                        <a:pt x="59055" y="76038"/>
                      </a:lnTo>
                      <a:lnTo>
                        <a:pt x="44768" y="76038"/>
                      </a:lnTo>
                      <a:lnTo>
                        <a:pt x="44768" y="66694"/>
                      </a:lnTo>
                      <a:close/>
                      <a:moveTo>
                        <a:pt x="44768" y="44482"/>
                      </a:moveTo>
                      <a:cubicBezTo>
                        <a:pt x="38824" y="44910"/>
                        <a:pt x="22708" y="46177"/>
                        <a:pt x="22708" y="58636"/>
                      </a:cubicBezTo>
                      <a:cubicBezTo>
                        <a:pt x="22708" y="64703"/>
                        <a:pt x="26241" y="68666"/>
                        <a:pt x="30909" y="68666"/>
                      </a:cubicBezTo>
                      <a:cubicBezTo>
                        <a:pt x="35862" y="68666"/>
                        <a:pt x="44768" y="63865"/>
                        <a:pt x="44768" y="52406"/>
                      </a:cubicBezTo>
                      <a:lnTo>
                        <a:pt x="44768" y="44482"/>
                      </a:lnTo>
                      <a:close/>
                    </a:path>
                  </a:pathLst>
                </a:custGeom>
                <a:grpFill/>
                <a:ln w="9525" cap="flat">
                  <a:noFill/>
                  <a:prstDash val="solid"/>
                  <a:miter/>
                </a:ln>
              </p:spPr>
              <p:txBody>
                <a:bodyPr rtlCol="0" anchor="ctr"/>
                <a:lstStyle/>
                <a:p>
                  <a:endParaRPr lang="ja-JP" altLang="en-US">
                    <a:solidFill>
                      <a:prstClr val="black"/>
                    </a:solidFill>
                  </a:endParaRPr>
                </a:p>
              </p:txBody>
            </p:sp>
            <p:sp>
              <p:nvSpPr>
                <p:cNvPr id="125" name="フリーフォーム: 図形 50">
                  <a:extLst>
                    <a:ext uri="{FF2B5EF4-FFF2-40B4-BE49-F238E27FC236}">
                      <a16:creationId xmlns:a16="http://schemas.microsoft.com/office/drawing/2014/main" id="{8B9EE32A-DCFD-45AD-B758-27B97FAD7835}"/>
                    </a:ext>
                  </a:extLst>
                </p:cNvPr>
                <p:cNvSpPr/>
                <p:nvPr/>
              </p:nvSpPr>
              <p:spPr>
                <a:xfrm>
                  <a:off x="1245075"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03 w 66675"/>
                    <a:gd name="connsiteY5" fmla="*/ 26803 h 76200"/>
                    <a:gd name="connsiteX6" fmla="*/ 62303 w 66675"/>
                    <a:gd name="connsiteY6" fmla="*/ 76029 h 76200"/>
                    <a:gd name="connsiteX7" fmla="*/ 48016 w 66675"/>
                    <a:gd name="connsiteY7" fmla="*/ 76029 h 76200"/>
                    <a:gd name="connsiteX8" fmla="*/ 48016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74" y="19736"/>
                        <a:pt x="30489" y="7144"/>
                        <a:pt x="45339" y="7144"/>
                      </a:cubicBezTo>
                      <a:cubicBezTo>
                        <a:pt x="57217" y="7144"/>
                        <a:pt x="62303" y="17040"/>
                        <a:pt x="62303" y="26803"/>
                      </a:cubicBezTo>
                      <a:lnTo>
                        <a:pt x="62303" y="76029"/>
                      </a:lnTo>
                      <a:lnTo>
                        <a:pt x="48016" y="76029"/>
                      </a:lnTo>
                      <a:lnTo>
                        <a:pt x="48016" y="33871"/>
                      </a:lnTo>
                      <a:cubicBezTo>
                        <a:pt x="48016" y="25384"/>
                        <a:pt x="46749" y="17745"/>
                        <a:pt x="39529" y="17745"/>
                      </a:cubicBezTo>
                      <a:cubicBezTo>
                        <a:pt x="25384" y="17745"/>
                        <a:pt x="21431" y="39805"/>
                        <a:pt x="21431" y="48158"/>
                      </a:cubicBezTo>
                      <a:lnTo>
                        <a:pt x="21431" y="76029"/>
                      </a:lnTo>
                      <a:lnTo>
                        <a:pt x="7144" y="76029"/>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26" name="フリーフォーム: 図形 51">
                  <a:extLst>
                    <a:ext uri="{FF2B5EF4-FFF2-40B4-BE49-F238E27FC236}">
                      <a16:creationId xmlns:a16="http://schemas.microsoft.com/office/drawing/2014/main" id="{61D4ABC4-D296-46D5-AF02-615228026135}"/>
                    </a:ext>
                  </a:extLst>
                </p:cNvPr>
                <p:cNvSpPr/>
                <p:nvPr/>
              </p:nvSpPr>
              <p:spPr>
                <a:xfrm>
                  <a:off x="1316379" y="5857776"/>
                  <a:ext cx="66675" cy="104775"/>
                </a:xfrm>
                <a:custGeom>
                  <a:avLst/>
                  <a:gdLst>
                    <a:gd name="connsiteX0" fmla="*/ 50283 w 66675"/>
                    <a:gd name="connsiteY0" fmla="*/ 93697 h 104775"/>
                    <a:gd name="connsiteX1" fmla="*/ 49997 w 66675"/>
                    <a:gd name="connsiteY1" fmla="*/ 93697 h 104775"/>
                    <a:gd name="connsiteX2" fmla="*/ 32461 w 66675"/>
                    <a:gd name="connsiteY2" fmla="*/ 106270 h 104775"/>
                    <a:gd name="connsiteX3" fmla="*/ 7144 w 66675"/>
                    <a:gd name="connsiteY3" fmla="*/ 71056 h 104775"/>
                    <a:gd name="connsiteX4" fmla="*/ 32461 w 66675"/>
                    <a:gd name="connsiteY4" fmla="*/ 35843 h 104775"/>
                    <a:gd name="connsiteX5" fmla="*/ 49997 w 66675"/>
                    <a:gd name="connsiteY5" fmla="*/ 46729 h 104775"/>
                    <a:gd name="connsiteX6" fmla="*/ 50283 w 66675"/>
                    <a:gd name="connsiteY6" fmla="*/ 46729 h 104775"/>
                    <a:gd name="connsiteX7" fmla="*/ 50283 w 66675"/>
                    <a:gd name="connsiteY7" fmla="*/ 7144 h 104775"/>
                    <a:gd name="connsiteX8" fmla="*/ 64570 w 66675"/>
                    <a:gd name="connsiteY8" fmla="*/ 7144 h 104775"/>
                    <a:gd name="connsiteX9" fmla="*/ 64570 w 66675"/>
                    <a:gd name="connsiteY9" fmla="*/ 104737 h 104775"/>
                    <a:gd name="connsiteX10" fmla="*/ 50283 w 66675"/>
                    <a:gd name="connsiteY10" fmla="*/ 104737 h 104775"/>
                    <a:gd name="connsiteX11" fmla="*/ 50283 w 66675"/>
                    <a:gd name="connsiteY11" fmla="*/ 93697 h 104775"/>
                    <a:gd name="connsiteX12" fmla="*/ 36271 w 66675"/>
                    <a:gd name="connsiteY12" fmla="*/ 97241 h 104775"/>
                    <a:gd name="connsiteX13" fmla="*/ 49711 w 66675"/>
                    <a:gd name="connsiteY13" fmla="*/ 71066 h 104775"/>
                    <a:gd name="connsiteX14" fmla="*/ 36271 w 66675"/>
                    <a:gd name="connsiteY14" fmla="*/ 44053 h 104775"/>
                    <a:gd name="connsiteX15" fmla="*/ 22689 w 66675"/>
                    <a:gd name="connsiteY15" fmla="*/ 71066 h 104775"/>
                    <a:gd name="connsiteX16" fmla="*/ 36271 w 66675"/>
                    <a:gd name="connsiteY16" fmla="*/ 9724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0283" y="93697"/>
                      </a:moveTo>
                      <a:lnTo>
                        <a:pt x="49997" y="93697"/>
                      </a:lnTo>
                      <a:cubicBezTo>
                        <a:pt x="48016" y="98222"/>
                        <a:pt x="43358" y="106270"/>
                        <a:pt x="32461" y="106270"/>
                      </a:cubicBezTo>
                      <a:cubicBezTo>
                        <a:pt x="13078" y="106270"/>
                        <a:pt x="7144" y="90440"/>
                        <a:pt x="7144" y="71056"/>
                      </a:cubicBezTo>
                      <a:cubicBezTo>
                        <a:pt x="7144" y="50835"/>
                        <a:pt x="14640" y="35843"/>
                        <a:pt x="32461" y="35843"/>
                      </a:cubicBezTo>
                      <a:cubicBezTo>
                        <a:pt x="43910" y="35843"/>
                        <a:pt x="48016" y="43062"/>
                        <a:pt x="49997" y="46729"/>
                      </a:cubicBezTo>
                      <a:lnTo>
                        <a:pt x="50283" y="46729"/>
                      </a:lnTo>
                      <a:lnTo>
                        <a:pt x="50283" y="7144"/>
                      </a:lnTo>
                      <a:lnTo>
                        <a:pt x="64570" y="7144"/>
                      </a:lnTo>
                      <a:lnTo>
                        <a:pt x="64570" y="104737"/>
                      </a:lnTo>
                      <a:lnTo>
                        <a:pt x="50283" y="104737"/>
                      </a:lnTo>
                      <a:lnTo>
                        <a:pt x="50283" y="93697"/>
                      </a:lnTo>
                      <a:close/>
                      <a:moveTo>
                        <a:pt x="36271" y="97241"/>
                      </a:moveTo>
                      <a:cubicBezTo>
                        <a:pt x="48006" y="97241"/>
                        <a:pt x="49711" y="82248"/>
                        <a:pt x="49711" y="71066"/>
                      </a:cubicBezTo>
                      <a:cubicBezTo>
                        <a:pt x="49711" y="59331"/>
                        <a:pt x="48578" y="44053"/>
                        <a:pt x="36271" y="44053"/>
                      </a:cubicBezTo>
                      <a:cubicBezTo>
                        <a:pt x="25098" y="44053"/>
                        <a:pt x="22689" y="59331"/>
                        <a:pt x="22689" y="71066"/>
                      </a:cubicBezTo>
                      <a:cubicBezTo>
                        <a:pt x="22689" y="82239"/>
                        <a:pt x="24822" y="97241"/>
                        <a:pt x="36271" y="97241"/>
                      </a:cubicBezTo>
                      <a:close/>
                    </a:path>
                  </a:pathLst>
                </a:custGeom>
                <a:grpFill/>
                <a:ln w="9525" cap="flat">
                  <a:noFill/>
                  <a:prstDash val="solid"/>
                  <a:miter/>
                </a:ln>
              </p:spPr>
              <p:txBody>
                <a:bodyPr rtlCol="0" anchor="ctr"/>
                <a:lstStyle/>
                <a:p>
                  <a:endParaRPr lang="ja-JP" altLang="en-US">
                    <a:solidFill>
                      <a:prstClr val="black"/>
                    </a:solidFill>
                  </a:endParaRPr>
                </a:p>
              </p:txBody>
            </p:sp>
            <p:sp>
              <p:nvSpPr>
                <p:cNvPr id="127" name="フリーフォーム: 図形 52">
                  <a:extLst>
                    <a:ext uri="{FF2B5EF4-FFF2-40B4-BE49-F238E27FC236}">
                      <a16:creationId xmlns:a16="http://schemas.microsoft.com/office/drawing/2014/main" id="{6885CB9A-4C72-420B-9A76-3CB6C883C928}"/>
                    </a:ext>
                  </a:extLst>
                </p:cNvPr>
                <p:cNvSpPr/>
                <p:nvPr/>
              </p:nvSpPr>
              <p:spPr>
                <a:xfrm>
                  <a:off x="1392189" y="5938252"/>
                  <a:ext cx="28575" cy="38100"/>
                </a:xfrm>
                <a:custGeom>
                  <a:avLst/>
                  <a:gdLst>
                    <a:gd name="connsiteX0" fmla="*/ 8411 w 28575"/>
                    <a:gd name="connsiteY0" fmla="*/ 7144 h 38100"/>
                    <a:gd name="connsiteX1" fmla="*/ 24822 w 28575"/>
                    <a:gd name="connsiteY1" fmla="*/ 7144 h 38100"/>
                    <a:gd name="connsiteX2" fmla="*/ 18459 w 28575"/>
                    <a:gd name="connsiteY2" fmla="*/ 39253 h 38100"/>
                    <a:gd name="connsiteX3" fmla="*/ 7144 w 28575"/>
                    <a:gd name="connsiteY3" fmla="*/ 39253 h 38100"/>
                    <a:gd name="connsiteX4" fmla="*/ 8411 w 28575"/>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8411" y="7144"/>
                      </a:moveTo>
                      <a:lnTo>
                        <a:pt x="24822" y="7144"/>
                      </a:lnTo>
                      <a:lnTo>
                        <a:pt x="18459" y="39253"/>
                      </a:lnTo>
                      <a:lnTo>
                        <a:pt x="7144" y="39253"/>
                      </a:lnTo>
                      <a:lnTo>
                        <a:pt x="8411" y="7144"/>
                      </a:lnTo>
                      <a:close/>
                    </a:path>
                  </a:pathLst>
                </a:custGeom>
                <a:grpFill/>
                <a:ln w="9525" cap="flat">
                  <a:noFill/>
                  <a:prstDash val="solid"/>
                  <a:miter/>
                </a:ln>
              </p:spPr>
              <p:txBody>
                <a:bodyPr rtlCol="0" anchor="ctr"/>
                <a:lstStyle/>
                <a:p>
                  <a:endParaRPr lang="ja-JP" altLang="en-US">
                    <a:solidFill>
                      <a:prstClr val="black"/>
                    </a:solidFill>
                  </a:endParaRPr>
                </a:p>
              </p:txBody>
            </p:sp>
            <p:sp>
              <p:nvSpPr>
                <p:cNvPr id="128" name="フリーフォーム: 図形 53">
                  <a:extLst>
                    <a:ext uri="{FF2B5EF4-FFF2-40B4-BE49-F238E27FC236}">
                      <a16:creationId xmlns:a16="http://schemas.microsoft.com/office/drawing/2014/main" id="{944CEF4F-B915-474B-B8F1-F585D656B8B1}"/>
                    </a:ext>
                  </a:extLst>
                </p:cNvPr>
                <p:cNvSpPr/>
                <p:nvPr/>
              </p:nvSpPr>
              <p:spPr>
                <a:xfrm>
                  <a:off x="1466722" y="5857776"/>
                  <a:ext cx="28575" cy="104775"/>
                </a:xfrm>
                <a:custGeom>
                  <a:avLst/>
                  <a:gdLst>
                    <a:gd name="connsiteX0" fmla="*/ 7144 w 28575"/>
                    <a:gd name="connsiteY0" fmla="*/ 7144 h 104775"/>
                    <a:gd name="connsiteX1" fmla="*/ 22708 w 28575"/>
                    <a:gd name="connsiteY1" fmla="*/ 7144 h 104775"/>
                    <a:gd name="connsiteX2" fmla="*/ 22708 w 28575"/>
                    <a:gd name="connsiteY2" fmla="*/ 104737 h 104775"/>
                    <a:gd name="connsiteX3" fmla="*/ 7144 w 28575"/>
                    <a:gd name="connsiteY3" fmla="*/ 104737 h 104775"/>
                    <a:gd name="connsiteX4" fmla="*/ 7144 w 28575"/>
                    <a:gd name="connsiteY4" fmla="*/ 714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104775">
                      <a:moveTo>
                        <a:pt x="7144" y="7144"/>
                      </a:moveTo>
                      <a:lnTo>
                        <a:pt x="22708" y="7144"/>
                      </a:lnTo>
                      <a:lnTo>
                        <a:pt x="22708" y="104737"/>
                      </a:lnTo>
                      <a:lnTo>
                        <a:pt x="7144" y="104737"/>
                      </a:lnTo>
                      <a:lnTo>
                        <a:pt x="7144" y="7144"/>
                      </a:lnTo>
                      <a:close/>
                    </a:path>
                  </a:pathLst>
                </a:custGeom>
                <a:grpFill/>
                <a:ln w="9525" cap="flat">
                  <a:noFill/>
                  <a:prstDash val="solid"/>
                  <a:miter/>
                </a:ln>
              </p:spPr>
              <p:txBody>
                <a:bodyPr rtlCol="0" anchor="ctr"/>
                <a:lstStyle/>
                <a:p>
                  <a:endParaRPr lang="ja-JP" altLang="en-US">
                    <a:solidFill>
                      <a:prstClr val="black"/>
                    </a:solidFill>
                  </a:endParaRPr>
                </a:p>
              </p:txBody>
            </p:sp>
            <p:sp>
              <p:nvSpPr>
                <p:cNvPr id="129" name="フリーフォーム: 図形 54">
                  <a:extLst>
                    <a:ext uri="{FF2B5EF4-FFF2-40B4-BE49-F238E27FC236}">
                      <a16:creationId xmlns:a16="http://schemas.microsoft.com/office/drawing/2014/main" id="{2D38D432-6ECF-43D5-A340-5E62E8B12FC8}"/>
                    </a:ext>
                  </a:extLst>
                </p:cNvPr>
                <p:cNvSpPr/>
                <p:nvPr/>
              </p:nvSpPr>
              <p:spPr>
                <a:xfrm>
                  <a:off x="1504622"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13 w 66675"/>
                    <a:gd name="connsiteY5" fmla="*/ 26803 h 76200"/>
                    <a:gd name="connsiteX6" fmla="*/ 62313 w 66675"/>
                    <a:gd name="connsiteY6" fmla="*/ 76029 h 76200"/>
                    <a:gd name="connsiteX7" fmla="*/ 48025 w 66675"/>
                    <a:gd name="connsiteY7" fmla="*/ 76029 h 76200"/>
                    <a:gd name="connsiteX8" fmla="*/ 48025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84" y="19736"/>
                        <a:pt x="30490" y="7144"/>
                        <a:pt x="45339" y="7144"/>
                      </a:cubicBezTo>
                      <a:cubicBezTo>
                        <a:pt x="57217" y="7144"/>
                        <a:pt x="62313" y="17040"/>
                        <a:pt x="62313" y="26803"/>
                      </a:cubicBezTo>
                      <a:lnTo>
                        <a:pt x="62313" y="76029"/>
                      </a:lnTo>
                      <a:lnTo>
                        <a:pt x="48025" y="76029"/>
                      </a:lnTo>
                      <a:lnTo>
                        <a:pt x="48025" y="33871"/>
                      </a:lnTo>
                      <a:cubicBezTo>
                        <a:pt x="48025" y="25384"/>
                        <a:pt x="46749" y="17745"/>
                        <a:pt x="39529" y="17745"/>
                      </a:cubicBezTo>
                      <a:cubicBezTo>
                        <a:pt x="25394" y="17745"/>
                        <a:pt x="21431" y="39805"/>
                        <a:pt x="21431" y="48158"/>
                      </a:cubicBezTo>
                      <a:lnTo>
                        <a:pt x="21431" y="76029"/>
                      </a:lnTo>
                      <a:lnTo>
                        <a:pt x="7144" y="76029"/>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30" name="フリーフォーム: 図形 55">
                  <a:extLst>
                    <a:ext uri="{FF2B5EF4-FFF2-40B4-BE49-F238E27FC236}">
                      <a16:creationId xmlns:a16="http://schemas.microsoft.com/office/drawing/2014/main" id="{F6E0011F-AD13-4A4D-BBA4-E4576338016F}"/>
                    </a:ext>
                  </a:extLst>
                </p:cNvPr>
                <p:cNvSpPr/>
                <p:nvPr/>
              </p:nvSpPr>
              <p:spPr>
                <a:xfrm>
                  <a:off x="1573945" y="5856214"/>
                  <a:ext cx="57150" cy="104775"/>
                </a:xfrm>
                <a:custGeom>
                  <a:avLst/>
                  <a:gdLst>
                    <a:gd name="connsiteX0" fmla="*/ 18878 w 57150"/>
                    <a:gd name="connsiteY0" fmla="*/ 46320 h 104775"/>
                    <a:gd name="connsiteX1" fmla="*/ 7144 w 57150"/>
                    <a:gd name="connsiteY1" fmla="*/ 46320 h 104775"/>
                    <a:gd name="connsiteX2" fmla="*/ 7144 w 57150"/>
                    <a:gd name="connsiteY2" fmla="*/ 38976 h 104775"/>
                    <a:gd name="connsiteX3" fmla="*/ 18878 w 57150"/>
                    <a:gd name="connsiteY3" fmla="*/ 38976 h 104775"/>
                    <a:gd name="connsiteX4" fmla="*/ 18878 w 57150"/>
                    <a:gd name="connsiteY4" fmla="*/ 32613 h 104775"/>
                    <a:gd name="connsiteX5" fmla="*/ 44482 w 57150"/>
                    <a:gd name="connsiteY5" fmla="*/ 7144 h 104775"/>
                    <a:gd name="connsiteX6" fmla="*/ 58769 w 57150"/>
                    <a:gd name="connsiteY6" fmla="*/ 8706 h 104775"/>
                    <a:gd name="connsiteX7" fmla="*/ 58769 w 57150"/>
                    <a:gd name="connsiteY7" fmla="*/ 18450 h 104775"/>
                    <a:gd name="connsiteX8" fmla="*/ 46177 w 57150"/>
                    <a:gd name="connsiteY8" fmla="*/ 15345 h 104775"/>
                    <a:gd name="connsiteX9" fmla="*/ 33166 w 57150"/>
                    <a:gd name="connsiteY9" fmla="*/ 30899 h 104775"/>
                    <a:gd name="connsiteX10" fmla="*/ 33166 w 57150"/>
                    <a:gd name="connsiteY10" fmla="*/ 38976 h 104775"/>
                    <a:gd name="connsiteX11" fmla="*/ 52264 w 57150"/>
                    <a:gd name="connsiteY11" fmla="*/ 38976 h 104775"/>
                    <a:gd name="connsiteX12" fmla="*/ 52264 w 57150"/>
                    <a:gd name="connsiteY12" fmla="*/ 46320 h 104775"/>
                    <a:gd name="connsiteX13" fmla="*/ 33166 w 57150"/>
                    <a:gd name="connsiteY13" fmla="*/ 46320 h 104775"/>
                    <a:gd name="connsiteX14" fmla="*/ 33166 w 57150"/>
                    <a:gd name="connsiteY14" fmla="*/ 106299 h 104775"/>
                    <a:gd name="connsiteX15" fmla="*/ 18878 w 57150"/>
                    <a:gd name="connsiteY15" fmla="*/ 106299 h 104775"/>
                    <a:gd name="connsiteX16" fmla="*/ 18878 w 57150"/>
                    <a:gd name="connsiteY16" fmla="*/ 4632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18878" y="46320"/>
                      </a:moveTo>
                      <a:lnTo>
                        <a:pt x="7144" y="46320"/>
                      </a:lnTo>
                      <a:lnTo>
                        <a:pt x="7144" y="38976"/>
                      </a:lnTo>
                      <a:lnTo>
                        <a:pt x="18878" y="38976"/>
                      </a:lnTo>
                      <a:lnTo>
                        <a:pt x="18878" y="32613"/>
                      </a:lnTo>
                      <a:cubicBezTo>
                        <a:pt x="18878" y="20145"/>
                        <a:pt x="21860" y="7144"/>
                        <a:pt x="44482" y="7144"/>
                      </a:cubicBezTo>
                      <a:cubicBezTo>
                        <a:pt x="50273" y="7144"/>
                        <a:pt x="55378" y="8001"/>
                        <a:pt x="58769" y="8706"/>
                      </a:cubicBezTo>
                      <a:lnTo>
                        <a:pt x="58769" y="18450"/>
                      </a:lnTo>
                      <a:cubicBezTo>
                        <a:pt x="55788" y="17183"/>
                        <a:pt x="51978" y="15345"/>
                        <a:pt x="46177" y="15345"/>
                      </a:cubicBezTo>
                      <a:cubicBezTo>
                        <a:pt x="34576" y="15345"/>
                        <a:pt x="33166" y="23698"/>
                        <a:pt x="33166" y="30899"/>
                      </a:cubicBezTo>
                      <a:lnTo>
                        <a:pt x="33166" y="38976"/>
                      </a:lnTo>
                      <a:lnTo>
                        <a:pt x="52264" y="38976"/>
                      </a:lnTo>
                      <a:lnTo>
                        <a:pt x="52264" y="46320"/>
                      </a:lnTo>
                      <a:lnTo>
                        <a:pt x="33166" y="46320"/>
                      </a:lnTo>
                      <a:lnTo>
                        <a:pt x="33166" y="106299"/>
                      </a:lnTo>
                      <a:lnTo>
                        <a:pt x="18878" y="106299"/>
                      </a:lnTo>
                      <a:lnTo>
                        <a:pt x="18878" y="46320"/>
                      </a:lnTo>
                      <a:close/>
                    </a:path>
                  </a:pathLst>
                </a:custGeom>
                <a:grpFill/>
                <a:ln w="9525" cap="flat">
                  <a:noFill/>
                  <a:prstDash val="solid"/>
                  <a:miter/>
                </a:ln>
              </p:spPr>
              <p:txBody>
                <a:bodyPr rtlCol="0" anchor="ctr"/>
                <a:lstStyle/>
                <a:p>
                  <a:endParaRPr lang="ja-JP" altLang="en-US">
                    <a:solidFill>
                      <a:prstClr val="black"/>
                    </a:solidFill>
                  </a:endParaRPr>
                </a:p>
              </p:txBody>
            </p:sp>
            <p:sp>
              <p:nvSpPr>
                <p:cNvPr id="131" name="フリーフォーム: 図形 56">
                  <a:extLst>
                    <a:ext uri="{FF2B5EF4-FFF2-40B4-BE49-F238E27FC236}">
                      <a16:creationId xmlns:a16="http://schemas.microsoft.com/office/drawing/2014/main" id="{34089865-F721-4220-90A0-529C03F502AF}"/>
                    </a:ext>
                  </a:extLst>
                </p:cNvPr>
                <p:cNvSpPr/>
                <p:nvPr/>
              </p:nvSpPr>
              <p:spPr>
                <a:xfrm>
                  <a:off x="1630943"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1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1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32" name="フリーフォーム: 図形 57">
                  <a:extLst>
                    <a:ext uri="{FF2B5EF4-FFF2-40B4-BE49-F238E27FC236}">
                      <a16:creationId xmlns:a16="http://schemas.microsoft.com/office/drawing/2014/main" id="{7770C859-062D-4E73-A8AB-689CFB071BB3}"/>
                    </a:ext>
                  </a:extLst>
                </p:cNvPr>
                <p:cNvSpPr/>
                <p:nvPr/>
              </p:nvSpPr>
              <p:spPr>
                <a:xfrm>
                  <a:off x="1676348" y="5886475"/>
                  <a:ext cx="57150" cy="76200"/>
                </a:xfrm>
                <a:custGeom>
                  <a:avLst/>
                  <a:gdLst>
                    <a:gd name="connsiteX0" fmla="*/ 44758 w 57150"/>
                    <a:gd name="connsiteY0" fmla="*/ 66694 h 76200"/>
                    <a:gd name="connsiteX1" fmla="*/ 44482 w 57150"/>
                    <a:gd name="connsiteY1" fmla="*/ 66694 h 76200"/>
                    <a:gd name="connsiteX2" fmla="*/ 25527 w 57150"/>
                    <a:gd name="connsiteY2" fmla="*/ 77581 h 76200"/>
                    <a:gd name="connsiteX3" fmla="*/ 7144 w 57150"/>
                    <a:gd name="connsiteY3" fmla="*/ 60760 h 76200"/>
                    <a:gd name="connsiteX4" fmla="*/ 44758 w 57150"/>
                    <a:gd name="connsiteY4" fmla="*/ 38548 h 76200"/>
                    <a:gd name="connsiteX5" fmla="*/ 44758 w 57150"/>
                    <a:gd name="connsiteY5" fmla="*/ 32613 h 76200"/>
                    <a:gd name="connsiteX6" fmla="*/ 35290 w 57150"/>
                    <a:gd name="connsiteY6" fmla="*/ 13078 h 76200"/>
                    <a:gd name="connsiteX7" fmla="*/ 24393 w 57150"/>
                    <a:gd name="connsiteY7" fmla="*/ 27794 h 76200"/>
                    <a:gd name="connsiteX8" fmla="*/ 9401 w 57150"/>
                    <a:gd name="connsiteY8" fmla="*/ 27794 h 76200"/>
                    <a:gd name="connsiteX9" fmla="*/ 35290 w 57150"/>
                    <a:gd name="connsiteY9" fmla="*/ 7144 h 76200"/>
                    <a:gd name="connsiteX10" fmla="*/ 59045 w 57150"/>
                    <a:gd name="connsiteY10" fmla="*/ 32613 h 76200"/>
                    <a:gd name="connsiteX11" fmla="*/ 59045 w 57150"/>
                    <a:gd name="connsiteY11" fmla="*/ 76038 h 76200"/>
                    <a:gd name="connsiteX12" fmla="*/ 44758 w 57150"/>
                    <a:gd name="connsiteY12" fmla="*/ 76038 h 76200"/>
                    <a:gd name="connsiteX13" fmla="*/ 44758 w 57150"/>
                    <a:gd name="connsiteY13" fmla="*/ 66694 h 76200"/>
                    <a:gd name="connsiteX14" fmla="*/ 44758 w 57150"/>
                    <a:gd name="connsiteY14" fmla="*/ 44482 h 76200"/>
                    <a:gd name="connsiteX15" fmla="*/ 22698 w 57150"/>
                    <a:gd name="connsiteY15" fmla="*/ 58636 h 76200"/>
                    <a:gd name="connsiteX16" fmla="*/ 30899 w 57150"/>
                    <a:gd name="connsiteY16" fmla="*/ 68666 h 76200"/>
                    <a:gd name="connsiteX17" fmla="*/ 44758 w 57150"/>
                    <a:gd name="connsiteY17" fmla="*/ 52406 h 76200"/>
                    <a:gd name="connsiteX18" fmla="*/ 44758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58" y="66694"/>
                      </a:moveTo>
                      <a:lnTo>
                        <a:pt x="44482" y="66694"/>
                      </a:lnTo>
                      <a:cubicBezTo>
                        <a:pt x="42224" y="70656"/>
                        <a:pt x="36281" y="77581"/>
                        <a:pt x="25527" y="77581"/>
                      </a:cubicBezTo>
                      <a:cubicBezTo>
                        <a:pt x="14916" y="77581"/>
                        <a:pt x="7144" y="70085"/>
                        <a:pt x="7144" y="60760"/>
                      </a:cubicBezTo>
                      <a:cubicBezTo>
                        <a:pt x="7144" y="39957"/>
                        <a:pt x="35852" y="38976"/>
                        <a:pt x="44758" y="38548"/>
                      </a:cubicBezTo>
                      <a:lnTo>
                        <a:pt x="44758" y="32613"/>
                      </a:lnTo>
                      <a:cubicBezTo>
                        <a:pt x="44758" y="25251"/>
                        <a:pt x="44758" y="13078"/>
                        <a:pt x="35290" y="13078"/>
                      </a:cubicBezTo>
                      <a:cubicBezTo>
                        <a:pt x="26518" y="13078"/>
                        <a:pt x="24965" y="19869"/>
                        <a:pt x="24393" y="27794"/>
                      </a:cubicBezTo>
                      <a:lnTo>
                        <a:pt x="9401" y="27794"/>
                      </a:lnTo>
                      <a:cubicBezTo>
                        <a:pt x="10106" y="17745"/>
                        <a:pt x="14068" y="7144"/>
                        <a:pt x="35290" y="7144"/>
                      </a:cubicBezTo>
                      <a:cubicBezTo>
                        <a:pt x="57217" y="7144"/>
                        <a:pt x="59045" y="19440"/>
                        <a:pt x="59045" y="32613"/>
                      </a:cubicBezTo>
                      <a:lnTo>
                        <a:pt x="59045" y="76038"/>
                      </a:lnTo>
                      <a:lnTo>
                        <a:pt x="44758" y="76038"/>
                      </a:lnTo>
                      <a:lnTo>
                        <a:pt x="44758" y="66694"/>
                      </a:lnTo>
                      <a:close/>
                      <a:moveTo>
                        <a:pt x="44758" y="44482"/>
                      </a:moveTo>
                      <a:cubicBezTo>
                        <a:pt x="38824" y="44910"/>
                        <a:pt x="22698" y="46177"/>
                        <a:pt x="22698" y="58636"/>
                      </a:cubicBezTo>
                      <a:cubicBezTo>
                        <a:pt x="22698" y="64703"/>
                        <a:pt x="26232" y="68666"/>
                        <a:pt x="30899" y="68666"/>
                      </a:cubicBezTo>
                      <a:cubicBezTo>
                        <a:pt x="35852" y="68666"/>
                        <a:pt x="44758" y="63865"/>
                        <a:pt x="44758" y="52406"/>
                      </a:cubicBezTo>
                      <a:lnTo>
                        <a:pt x="44758" y="44482"/>
                      </a:lnTo>
                      <a:close/>
                    </a:path>
                  </a:pathLst>
                </a:custGeom>
                <a:grpFill/>
                <a:ln w="9525" cap="flat">
                  <a:noFill/>
                  <a:prstDash val="solid"/>
                  <a:miter/>
                </a:ln>
              </p:spPr>
              <p:txBody>
                <a:bodyPr rtlCol="0" anchor="ctr"/>
                <a:lstStyle/>
                <a:p>
                  <a:endParaRPr lang="ja-JP" altLang="en-US">
                    <a:solidFill>
                      <a:prstClr val="black"/>
                    </a:solidFill>
                  </a:endParaRPr>
                </a:p>
              </p:txBody>
            </p:sp>
            <p:sp>
              <p:nvSpPr>
                <p:cNvPr id="133" name="フリーフォーム: 図形 58">
                  <a:extLst>
                    <a:ext uri="{FF2B5EF4-FFF2-40B4-BE49-F238E27FC236}">
                      <a16:creationId xmlns:a16="http://schemas.microsoft.com/office/drawing/2014/main" id="{7F255FA4-CFED-436E-96CB-BF9F764B6D35}"/>
                    </a:ext>
                  </a:extLst>
                </p:cNvPr>
                <p:cNvSpPr/>
                <p:nvPr/>
              </p:nvSpPr>
              <p:spPr>
                <a:xfrm>
                  <a:off x="1745938" y="5886465"/>
                  <a:ext cx="57150" cy="76200"/>
                </a:xfrm>
                <a:custGeom>
                  <a:avLst/>
                  <a:gdLst>
                    <a:gd name="connsiteX0" fmla="*/ 46606 w 57150"/>
                    <a:gd name="connsiteY0" fmla="*/ 22003 h 76200"/>
                    <a:gd name="connsiteX1" fmla="*/ 29632 w 57150"/>
                    <a:gd name="connsiteY1" fmla="*/ 15364 h 76200"/>
                    <a:gd name="connsiteX2" fmla="*/ 20021 w 57150"/>
                    <a:gd name="connsiteY2" fmla="*/ 22431 h 76200"/>
                    <a:gd name="connsiteX3" fmla="*/ 50844 w 57150"/>
                    <a:gd name="connsiteY3" fmla="*/ 57236 h 76200"/>
                    <a:gd name="connsiteX4" fmla="*/ 25241 w 57150"/>
                    <a:gd name="connsiteY4" fmla="*/ 77591 h 76200"/>
                    <a:gd name="connsiteX5" fmla="*/ 7277 w 57150"/>
                    <a:gd name="connsiteY5" fmla="*/ 74628 h 76200"/>
                    <a:gd name="connsiteX6" fmla="*/ 7277 w 57150"/>
                    <a:gd name="connsiteY6" fmla="*/ 61474 h 76200"/>
                    <a:gd name="connsiteX7" fmla="*/ 25946 w 57150"/>
                    <a:gd name="connsiteY7" fmla="*/ 68542 h 76200"/>
                    <a:gd name="connsiteX8" fmla="*/ 37547 w 57150"/>
                    <a:gd name="connsiteY8" fmla="*/ 60055 h 76200"/>
                    <a:gd name="connsiteX9" fmla="*/ 7144 w 57150"/>
                    <a:gd name="connsiteY9" fmla="*/ 26527 h 76200"/>
                    <a:gd name="connsiteX10" fmla="*/ 3075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06" y="22003"/>
                      </a:moveTo>
                      <a:cubicBezTo>
                        <a:pt x="41796" y="18745"/>
                        <a:pt x="36423" y="15364"/>
                        <a:pt x="29632" y="15364"/>
                      </a:cubicBezTo>
                      <a:cubicBezTo>
                        <a:pt x="25098" y="15364"/>
                        <a:pt x="20021" y="17336"/>
                        <a:pt x="20021" y="22431"/>
                      </a:cubicBezTo>
                      <a:cubicBezTo>
                        <a:pt x="20021" y="34595"/>
                        <a:pt x="50844" y="35728"/>
                        <a:pt x="50844" y="57236"/>
                      </a:cubicBezTo>
                      <a:cubicBezTo>
                        <a:pt x="50844" y="71656"/>
                        <a:pt x="39529" y="77591"/>
                        <a:pt x="25241" y="77591"/>
                      </a:cubicBezTo>
                      <a:cubicBezTo>
                        <a:pt x="16621" y="77591"/>
                        <a:pt x="10678" y="75771"/>
                        <a:pt x="7277" y="74628"/>
                      </a:cubicBezTo>
                      <a:lnTo>
                        <a:pt x="7277" y="61474"/>
                      </a:lnTo>
                      <a:cubicBezTo>
                        <a:pt x="11382" y="64303"/>
                        <a:pt x="18031" y="68542"/>
                        <a:pt x="25946" y="68542"/>
                      </a:cubicBezTo>
                      <a:cubicBezTo>
                        <a:pt x="34147" y="68542"/>
                        <a:pt x="37547" y="64303"/>
                        <a:pt x="37547" y="60055"/>
                      </a:cubicBezTo>
                      <a:cubicBezTo>
                        <a:pt x="37547" y="48168"/>
                        <a:pt x="7144" y="45768"/>
                        <a:pt x="7144" y="26527"/>
                      </a:cubicBezTo>
                      <a:cubicBezTo>
                        <a:pt x="7144" y="16335"/>
                        <a:pt x="13935" y="7144"/>
                        <a:pt x="30756" y="7144"/>
                      </a:cubicBezTo>
                      <a:cubicBezTo>
                        <a:pt x="37976" y="7144"/>
                        <a:pt x="44196" y="9115"/>
                        <a:pt x="46606" y="9820"/>
                      </a:cubicBezTo>
                      <a:lnTo>
                        <a:pt x="46606" y="22003"/>
                      </a:lnTo>
                      <a:close/>
                    </a:path>
                  </a:pathLst>
                </a:custGeom>
                <a:grpFill/>
                <a:ln w="9525" cap="flat">
                  <a:noFill/>
                  <a:prstDash val="solid"/>
                  <a:miter/>
                </a:ln>
              </p:spPr>
              <p:txBody>
                <a:bodyPr rtlCol="0" anchor="ctr"/>
                <a:lstStyle/>
                <a:p>
                  <a:endParaRPr lang="ja-JP" altLang="en-US">
                    <a:solidFill>
                      <a:prstClr val="black"/>
                    </a:solidFill>
                  </a:endParaRPr>
                </a:p>
              </p:txBody>
            </p:sp>
            <p:sp>
              <p:nvSpPr>
                <p:cNvPr id="134" name="フリーフォーム: 図形 59">
                  <a:extLst>
                    <a:ext uri="{FF2B5EF4-FFF2-40B4-BE49-F238E27FC236}">
                      <a16:creationId xmlns:a16="http://schemas.microsoft.com/office/drawing/2014/main" id="{90534B6C-94AA-4B6F-8EE6-E6FDB2E08DBD}"/>
                    </a:ext>
                  </a:extLst>
                </p:cNvPr>
                <p:cNvSpPr/>
                <p:nvPr/>
              </p:nvSpPr>
              <p:spPr>
                <a:xfrm>
                  <a:off x="1799678" y="5863567"/>
                  <a:ext cx="57150" cy="104775"/>
                </a:xfrm>
                <a:custGeom>
                  <a:avLst/>
                  <a:gdLst>
                    <a:gd name="connsiteX0" fmla="*/ 49016 w 57150"/>
                    <a:gd name="connsiteY0" fmla="*/ 99498 h 104775"/>
                    <a:gd name="connsiteX1" fmla="*/ 39119 w 57150"/>
                    <a:gd name="connsiteY1" fmla="*/ 100489 h 104775"/>
                    <a:gd name="connsiteX2" fmla="*/ 17897 w 57150"/>
                    <a:gd name="connsiteY2" fmla="*/ 83372 h 104775"/>
                    <a:gd name="connsiteX3" fmla="*/ 17897 w 57150"/>
                    <a:gd name="connsiteY3" fmla="*/ 38967 h 104775"/>
                    <a:gd name="connsiteX4" fmla="*/ 7144 w 57150"/>
                    <a:gd name="connsiteY4" fmla="*/ 38967 h 104775"/>
                    <a:gd name="connsiteX5" fmla="*/ 7144 w 57150"/>
                    <a:gd name="connsiteY5" fmla="*/ 31623 h 104775"/>
                    <a:gd name="connsiteX6" fmla="*/ 17897 w 57150"/>
                    <a:gd name="connsiteY6" fmla="*/ 31623 h 104775"/>
                    <a:gd name="connsiteX7" fmla="*/ 17897 w 57150"/>
                    <a:gd name="connsiteY7" fmla="*/ 15773 h 104775"/>
                    <a:gd name="connsiteX8" fmla="*/ 32185 w 57150"/>
                    <a:gd name="connsiteY8" fmla="*/ 7144 h 104775"/>
                    <a:gd name="connsiteX9" fmla="*/ 32185 w 57150"/>
                    <a:gd name="connsiteY9" fmla="*/ 31623 h 104775"/>
                    <a:gd name="connsiteX10" fmla="*/ 50578 w 57150"/>
                    <a:gd name="connsiteY10" fmla="*/ 31623 h 104775"/>
                    <a:gd name="connsiteX11" fmla="*/ 50578 w 57150"/>
                    <a:gd name="connsiteY11" fmla="*/ 38967 h 104775"/>
                    <a:gd name="connsiteX12" fmla="*/ 32185 w 57150"/>
                    <a:gd name="connsiteY12" fmla="*/ 38967 h 104775"/>
                    <a:gd name="connsiteX13" fmla="*/ 32185 w 57150"/>
                    <a:gd name="connsiteY13" fmla="*/ 77714 h 104775"/>
                    <a:gd name="connsiteX14" fmla="*/ 42376 w 57150"/>
                    <a:gd name="connsiteY14" fmla="*/ 92430 h 104775"/>
                    <a:gd name="connsiteX15" fmla="*/ 49016 w 57150"/>
                    <a:gd name="connsiteY15" fmla="*/ 91297 h 104775"/>
                    <a:gd name="connsiteX16" fmla="*/ 4901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76" y="100489"/>
                        <a:pt x="39119" y="100489"/>
                      </a:cubicBezTo>
                      <a:cubicBezTo>
                        <a:pt x="25679" y="100489"/>
                        <a:pt x="17897" y="96393"/>
                        <a:pt x="17897" y="83372"/>
                      </a:cubicBezTo>
                      <a:lnTo>
                        <a:pt x="17897" y="38967"/>
                      </a:lnTo>
                      <a:lnTo>
                        <a:pt x="7144" y="38967"/>
                      </a:lnTo>
                      <a:lnTo>
                        <a:pt x="7144" y="31623"/>
                      </a:lnTo>
                      <a:lnTo>
                        <a:pt x="17897" y="31623"/>
                      </a:lnTo>
                      <a:lnTo>
                        <a:pt x="17897" y="15773"/>
                      </a:lnTo>
                      <a:lnTo>
                        <a:pt x="32185" y="7144"/>
                      </a:lnTo>
                      <a:lnTo>
                        <a:pt x="32185" y="31623"/>
                      </a:lnTo>
                      <a:lnTo>
                        <a:pt x="50578" y="31623"/>
                      </a:lnTo>
                      <a:lnTo>
                        <a:pt x="50578" y="38967"/>
                      </a:lnTo>
                      <a:lnTo>
                        <a:pt x="32185" y="38967"/>
                      </a:lnTo>
                      <a:lnTo>
                        <a:pt x="32185" y="77714"/>
                      </a:lnTo>
                      <a:cubicBezTo>
                        <a:pt x="32185" y="87611"/>
                        <a:pt x="33176" y="92430"/>
                        <a:pt x="42376" y="92430"/>
                      </a:cubicBezTo>
                      <a:cubicBezTo>
                        <a:pt x="44634" y="92430"/>
                        <a:pt x="47044" y="92154"/>
                        <a:pt x="49016" y="91297"/>
                      </a:cubicBezTo>
                      <a:lnTo>
                        <a:pt x="49016" y="99498"/>
                      </a:lnTo>
                      <a:close/>
                    </a:path>
                  </a:pathLst>
                </a:custGeom>
                <a:grpFill/>
                <a:ln w="9525" cap="flat">
                  <a:noFill/>
                  <a:prstDash val="solid"/>
                  <a:miter/>
                </a:ln>
              </p:spPr>
              <p:txBody>
                <a:bodyPr rtlCol="0" anchor="ctr"/>
                <a:lstStyle/>
                <a:p>
                  <a:endParaRPr lang="ja-JP" altLang="en-US">
                    <a:solidFill>
                      <a:prstClr val="black"/>
                    </a:solidFill>
                  </a:endParaRPr>
                </a:p>
              </p:txBody>
            </p:sp>
            <p:sp>
              <p:nvSpPr>
                <p:cNvPr id="135" name="フリーフォーム: 図形 60">
                  <a:extLst>
                    <a:ext uri="{FF2B5EF4-FFF2-40B4-BE49-F238E27FC236}">
                      <a16:creationId xmlns:a16="http://schemas.microsoft.com/office/drawing/2014/main" id="{A5190D53-C199-480E-BAE3-063045A2C5B4}"/>
                    </a:ext>
                  </a:extLst>
                </p:cNvPr>
                <p:cNvSpPr/>
                <p:nvPr/>
              </p:nvSpPr>
              <p:spPr>
                <a:xfrm>
                  <a:off x="1855837"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1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1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36" name="フリーフォーム: 図形 61">
                  <a:extLst>
                    <a:ext uri="{FF2B5EF4-FFF2-40B4-BE49-F238E27FC236}">
                      <a16:creationId xmlns:a16="http://schemas.microsoft.com/office/drawing/2014/main" id="{83C5D7D2-277A-4D13-898E-68E37A502516}"/>
                    </a:ext>
                  </a:extLst>
                </p:cNvPr>
                <p:cNvSpPr/>
                <p:nvPr/>
              </p:nvSpPr>
              <p:spPr>
                <a:xfrm>
                  <a:off x="1905634" y="5888037"/>
                  <a:ext cx="66675" cy="76200"/>
                </a:xfrm>
                <a:custGeom>
                  <a:avLst/>
                  <a:gdLst>
                    <a:gd name="connsiteX0" fmla="*/ 47873 w 66675"/>
                    <a:gd name="connsiteY0" fmla="*/ 58493 h 76200"/>
                    <a:gd name="connsiteX1" fmla="*/ 47597 w 66675"/>
                    <a:gd name="connsiteY1" fmla="*/ 58493 h 76200"/>
                    <a:gd name="connsiteX2" fmla="*/ 24117 w 66675"/>
                    <a:gd name="connsiteY2" fmla="*/ 76019 h 76200"/>
                    <a:gd name="connsiteX3" fmla="*/ 7144 w 66675"/>
                    <a:gd name="connsiteY3" fmla="*/ 56369 h 76200"/>
                    <a:gd name="connsiteX4" fmla="*/ 7144 w 66675"/>
                    <a:gd name="connsiteY4" fmla="*/ 7144 h 76200"/>
                    <a:gd name="connsiteX5" fmla="*/ 21431 w 66675"/>
                    <a:gd name="connsiteY5" fmla="*/ 7144 h 76200"/>
                    <a:gd name="connsiteX6" fmla="*/ 21431 w 66675"/>
                    <a:gd name="connsiteY6" fmla="*/ 49282 h 76200"/>
                    <a:gd name="connsiteX7" fmla="*/ 29918 w 66675"/>
                    <a:gd name="connsiteY7" fmla="*/ 65408 h 76200"/>
                    <a:gd name="connsiteX8" fmla="*/ 48015 w 66675"/>
                    <a:gd name="connsiteY8" fmla="*/ 34995 h 76200"/>
                    <a:gd name="connsiteX9" fmla="*/ 48015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7" y="58493"/>
                      </a:lnTo>
                      <a:cubicBezTo>
                        <a:pt x="45339" y="63446"/>
                        <a:pt x="38967" y="76019"/>
                        <a:pt x="24117" y="76019"/>
                      </a:cubicBezTo>
                      <a:cubicBezTo>
                        <a:pt x="12230" y="76019"/>
                        <a:pt x="7144" y="66122"/>
                        <a:pt x="7144" y="56369"/>
                      </a:cubicBezTo>
                      <a:lnTo>
                        <a:pt x="7144" y="7144"/>
                      </a:lnTo>
                      <a:lnTo>
                        <a:pt x="21431" y="7144"/>
                      </a:lnTo>
                      <a:lnTo>
                        <a:pt x="21431" y="49282"/>
                      </a:lnTo>
                      <a:cubicBezTo>
                        <a:pt x="21431" y="57788"/>
                        <a:pt x="22708" y="65408"/>
                        <a:pt x="29918" y="65408"/>
                      </a:cubicBezTo>
                      <a:cubicBezTo>
                        <a:pt x="44063" y="65408"/>
                        <a:pt x="48015" y="43348"/>
                        <a:pt x="48015" y="34995"/>
                      </a:cubicBezTo>
                      <a:lnTo>
                        <a:pt x="48015" y="7144"/>
                      </a:lnTo>
                      <a:lnTo>
                        <a:pt x="62303" y="7144"/>
                      </a:lnTo>
                      <a:lnTo>
                        <a:pt x="62303" y="74466"/>
                      </a:lnTo>
                      <a:lnTo>
                        <a:pt x="47873" y="74466"/>
                      </a:lnTo>
                      <a:lnTo>
                        <a:pt x="47873" y="58493"/>
                      </a:lnTo>
                      <a:close/>
                    </a:path>
                  </a:pathLst>
                </a:custGeom>
                <a:grpFill/>
                <a:ln w="9525" cap="flat">
                  <a:noFill/>
                  <a:prstDash val="solid"/>
                  <a:miter/>
                </a:ln>
              </p:spPr>
              <p:txBody>
                <a:bodyPr rtlCol="0" anchor="ctr"/>
                <a:lstStyle/>
                <a:p>
                  <a:endParaRPr lang="ja-JP" altLang="en-US">
                    <a:solidFill>
                      <a:prstClr val="black"/>
                    </a:solidFill>
                  </a:endParaRPr>
                </a:p>
              </p:txBody>
            </p:sp>
            <p:sp>
              <p:nvSpPr>
                <p:cNvPr id="137" name="フリーフォーム: 図形 62">
                  <a:extLst>
                    <a:ext uri="{FF2B5EF4-FFF2-40B4-BE49-F238E27FC236}">
                      <a16:creationId xmlns:a16="http://schemas.microsoft.com/office/drawing/2014/main" id="{B41410D5-D3CA-4B80-A938-FD1486E35285}"/>
                    </a:ext>
                  </a:extLst>
                </p:cNvPr>
                <p:cNvSpPr/>
                <p:nvPr/>
              </p:nvSpPr>
              <p:spPr>
                <a:xfrm>
                  <a:off x="1976776" y="5886465"/>
                  <a:ext cx="66675" cy="76200"/>
                </a:xfrm>
                <a:custGeom>
                  <a:avLst/>
                  <a:gdLst>
                    <a:gd name="connsiteX0" fmla="*/ 58912 w 66675"/>
                    <a:gd name="connsiteY0" fmla="*/ 74200 h 76200"/>
                    <a:gd name="connsiteX1" fmla="*/ 40948 w 66675"/>
                    <a:gd name="connsiteY1" fmla="*/ 77581 h 76200"/>
                    <a:gd name="connsiteX2" fmla="*/ 7144 w 66675"/>
                    <a:gd name="connsiteY2" fmla="*/ 39681 h 76200"/>
                    <a:gd name="connsiteX3" fmla="*/ 35709 w 66675"/>
                    <a:gd name="connsiteY3" fmla="*/ 7144 h 76200"/>
                    <a:gd name="connsiteX4" fmla="*/ 59893 w 66675"/>
                    <a:gd name="connsiteY4" fmla="*/ 30623 h 76200"/>
                    <a:gd name="connsiteX5" fmla="*/ 44910 w 66675"/>
                    <a:gd name="connsiteY5" fmla="*/ 30623 h 76200"/>
                    <a:gd name="connsiteX6" fmla="*/ 35147 w 66675"/>
                    <a:gd name="connsiteY6" fmla="*/ 13078 h 76200"/>
                    <a:gd name="connsiteX7" fmla="*/ 22698 w 66675"/>
                    <a:gd name="connsiteY7" fmla="*/ 34862 h 76200"/>
                    <a:gd name="connsiteX8" fmla="*/ 46892 w 66675"/>
                    <a:gd name="connsiteY8" fmla="*/ 70075 h 76200"/>
                    <a:gd name="connsiteX9" fmla="*/ 58912 w 66675"/>
                    <a:gd name="connsiteY9" fmla="*/ 67542 h 76200"/>
                    <a:gd name="connsiteX10" fmla="*/ 58912 w 66675"/>
                    <a:gd name="connsiteY10" fmla="*/ 7420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 h="76200">
                      <a:moveTo>
                        <a:pt x="58912" y="74200"/>
                      </a:moveTo>
                      <a:cubicBezTo>
                        <a:pt x="53121" y="76324"/>
                        <a:pt x="47034" y="77581"/>
                        <a:pt x="40948" y="77581"/>
                      </a:cubicBezTo>
                      <a:cubicBezTo>
                        <a:pt x="19593" y="77581"/>
                        <a:pt x="7144" y="64703"/>
                        <a:pt x="7144" y="39681"/>
                      </a:cubicBezTo>
                      <a:cubicBezTo>
                        <a:pt x="7144" y="19593"/>
                        <a:pt x="16335" y="7144"/>
                        <a:pt x="35709" y="7144"/>
                      </a:cubicBezTo>
                      <a:cubicBezTo>
                        <a:pt x="53816" y="7144"/>
                        <a:pt x="59893" y="16764"/>
                        <a:pt x="59893" y="30623"/>
                      </a:cubicBezTo>
                      <a:lnTo>
                        <a:pt x="44910" y="30623"/>
                      </a:lnTo>
                      <a:cubicBezTo>
                        <a:pt x="44910" y="22565"/>
                        <a:pt x="44053" y="13078"/>
                        <a:pt x="35147" y="13078"/>
                      </a:cubicBezTo>
                      <a:cubicBezTo>
                        <a:pt x="26946" y="13078"/>
                        <a:pt x="22698" y="22698"/>
                        <a:pt x="22698" y="34862"/>
                      </a:cubicBezTo>
                      <a:cubicBezTo>
                        <a:pt x="22698" y="51273"/>
                        <a:pt x="29632" y="70075"/>
                        <a:pt x="46892" y="70075"/>
                      </a:cubicBezTo>
                      <a:cubicBezTo>
                        <a:pt x="50987" y="70075"/>
                        <a:pt x="54950" y="69085"/>
                        <a:pt x="58912" y="67542"/>
                      </a:cubicBezTo>
                      <a:lnTo>
                        <a:pt x="58912" y="74200"/>
                      </a:lnTo>
                      <a:close/>
                    </a:path>
                  </a:pathLst>
                </a:custGeom>
                <a:grpFill/>
                <a:ln w="9525" cap="flat">
                  <a:noFill/>
                  <a:prstDash val="solid"/>
                  <a:miter/>
                </a:ln>
              </p:spPr>
              <p:txBody>
                <a:bodyPr rtlCol="0" anchor="ctr"/>
                <a:lstStyle/>
                <a:p>
                  <a:endParaRPr lang="ja-JP" altLang="en-US">
                    <a:solidFill>
                      <a:prstClr val="black"/>
                    </a:solidFill>
                  </a:endParaRPr>
                </a:p>
              </p:txBody>
            </p:sp>
            <p:sp>
              <p:nvSpPr>
                <p:cNvPr id="138" name="フリーフォーム: 図形 63">
                  <a:extLst>
                    <a:ext uri="{FF2B5EF4-FFF2-40B4-BE49-F238E27FC236}">
                      <a16:creationId xmlns:a16="http://schemas.microsoft.com/office/drawing/2014/main" id="{CFC0431D-2937-4FF8-B401-29EA859953E0}"/>
                    </a:ext>
                  </a:extLst>
                </p:cNvPr>
                <p:cNvSpPr/>
                <p:nvPr/>
              </p:nvSpPr>
              <p:spPr>
                <a:xfrm>
                  <a:off x="2035469" y="5863567"/>
                  <a:ext cx="57150" cy="104775"/>
                </a:xfrm>
                <a:custGeom>
                  <a:avLst/>
                  <a:gdLst>
                    <a:gd name="connsiteX0" fmla="*/ 49016 w 57150"/>
                    <a:gd name="connsiteY0" fmla="*/ 99498 h 104775"/>
                    <a:gd name="connsiteX1" fmla="*/ 39119 w 57150"/>
                    <a:gd name="connsiteY1" fmla="*/ 100489 h 104775"/>
                    <a:gd name="connsiteX2" fmla="*/ 17898 w 57150"/>
                    <a:gd name="connsiteY2" fmla="*/ 83372 h 104775"/>
                    <a:gd name="connsiteX3" fmla="*/ 17898 w 57150"/>
                    <a:gd name="connsiteY3" fmla="*/ 38967 h 104775"/>
                    <a:gd name="connsiteX4" fmla="*/ 7144 w 57150"/>
                    <a:gd name="connsiteY4" fmla="*/ 38967 h 104775"/>
                    <a:gd name="connsiteX5" fmla="*/ 7144 w 57150"/>
                    <a:gd name="connsiteY5" fmla="*/ 31623 h 104775"/>
                    <a:gd name="connsiteX6" fmla="*/ 17898 w 57150"/>
                    <a:gd name="connsiteY6" fmla="*/ 31623 h 104775"/>
                    <a:gd name="connsiteX7" fmla="*/ 17898 w 57150"/>
                    <a:gd name="connsiteY7" fmla="*/ 15773 h 104775"/>
                    <a:gd name="connsiteX8" fmla="*/ 32185 w 57150"/>
                    <a:gd name="connsiteY8" fmla="*/ 7144 h 104775"/>
                    <a:gd name="connsiteX9" fmla="*/ 32185 w 57150"/>
                    <a:gd name="connsiteY9" fmla="*/ 31623 h 104775"/>
                    <a:gd name="connsiteX10" fmla="*/ 50568 w 57150"/>
                    <a:gd name="connsiteY10" fmla="*/ 31623 h 104775"/>
                    <a:gd name="connsiteX11" fmla="*/ 50568 w 57150"/>
                    <a:gd name="connsiteY11" fmla="*/ 38967 h 104775"/>
                    <a:gd name="connsiteX12" fmla="*/ 32185 w 57150"/>
                    <a:gd name="connsiteY12" fmla="*/ 38967 h 104775"/>
                    <a:gd name="connsiteX13" fmla="*/ 32185 w 57150"/>
                    <a:gd name="connsiteY13" fmla="*/ 77714 h 104775"/>
                    <a:gd name="connsiteX14" fmla="*/ 42358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87" y="100203"/>
                        <a:pt x="42367" y="100489"/>
                        <a:pt x="39119" y="100489"/>
                      </a:cubicBezTo>
                      <a:cubicBezTo>
                        <a:pt x="25680" y="100489"/>
                        <a:pt x="17898" y="96393"/>
                        <a:pt x="17898" y="83372"/>
                      </a:cubicBezTo>
                      <a:lnTo>
                        <a:pt x="17898" y="38967"/>
                      </a:lnTo>
                      <a:lnTo>
                        <a:pt x="7144" y="38967"/>
                      </a:lnTo>
                      <a:lnTo>
                        <a:pt x="7144" y="31623"/>
                      </a:lnTo>
                      <a:lnTo>
                        <a:pt x="17898" y="31623"/>
                      </a:lnTo>
                      <a:lnTo>
                        <a:pt x="17898" y="15773"/>
                      </a:lnTo>
                      <a:lnTo>
                        <a:pt x="32185" y="7144"/>
                      </a:lnTo>
                      <a:lnTo>
                        <a:pt x="32185" y="31623"/>
                      </a:lnTo>
                      <a:lnTo>
                        <a:pt x="50568" y="31623"/>
                      </a:lnTo>
                      <a:lnTo>
                        <a:pt x="50568" y="38967"/>
                      </a:lnTo>
                      <a:lnTo>
                        <a:pt x="32185" y="38967"/>
                      </a:lnTo>
                      <a:lnTo>
                        <a:pt x="32185" y="77714"/>
                      </a:lnTo>
                      <a:cubicBezTo>
                        <a:pt x="32185" y="87611"/>
                        <a:pt x="33176" y="92430"/>
                        <a:pt x="42358" y="92430"/>
                      </a:cubicBezTo>
                      <a:cubicBezTo>
                        <a:pt x="44625" y="92430"/>
                        <a:pt x="47025" y="92154"/>
                        <a:pt x="49006" y="91297"/>
                      </a:cubicBezTo>
                      <a:lnTo>
                        <a:pt x="49006" y="99498"/>
                      </a:lnTo>
                      <a:close/>
                    </a:path>
                  </a:pathLst>
                </a:custGeom>
                <a:grpFill/>
                <a:ln w="9525" cap="flat">
                  <a:noFill/>
                  <a:prstDash val="solid"/>
                  <a:miter/>
                </a:ln>
              </p:spPr>
              <p:txBody>
                <a:bodyPr rtlCol="0" anchor="ctr"/>
                <a:lstStyle/>
                <a:p>
                  <a:endParaRPr lang="ja-JP" altLang="en-US">
                    <a:solidFill>
                      <a:prstClr val="black"/>
                    </a:solidFill>
                  </a:endParaRPr>
                </a:p>
              </p:txBody>
            </p:sp>
            <p:sp>
              <p:nvSpPr>
                <p:cNvPr id="139" name="フリーフォーム: 図形 64">
                  <a:extLst>
                    <a:ext uri="{FF2B5EF4-FFF2-40B4-BE49-F238E27FC236}">
                      <a16:creationId xmlns:a16="http://schemas.microsoft.com/office/drawing/2014/main" id="{854844E9-EE71-44DF-866E-CBBF73CB9195}"/>
                    </a:ext>
                  </a:extLst>
                </p:cNvPr>
                <p:cNvSpPr/>
                <p:nvPr/>
              </p:nvSpPr>
              <p:spPr>
                <a:xfrm>
                  <a:off x="2091629" y="5888037"/>
                  <a:ext cx="66675" cy="76200"/>
                </a:xfrm>
                <a:custGeom>
                  <a:avLst/>
                  <a:gdLst>
                    <a:gd name="connsiteX0" fmla="*/ 47873 w 66675"/>
                    <a:gd name="connsiteY0" fmla="*/ 58493 h 76200"/>
                    <a:gd name="connsiteX1" fmla="*/ 47596 w 66675"/>
                    <a:gd name="connsiteY1" fmla="*/ 58493 h 76200"/>
                    <a:gd name="connsiteX2" fmla="*/ 24117 w 66675"/>
                    <a:gd name="connsiteY2" fmla="*/ 76019 h 76200"/>
                    <a:gd name="connsiteX3" fmla="*/ 7144 w 66675"/>
                    <a:gd name="connsiteY3" fmla="*/ 56369 h 76200"/>
                    <a:gd name="connsiteX4" fmla="*/ 7144 w 66675"/>
                    <a:gd name="connsiteY4" fmla="*/ 7144 h 76200"/>
                    <a:gd name="connsiteX5" fmla="*/ 21431 w 66675"/>
                    <a:gd name="connsiteY5" fmla="*/ 7144 h 76200"/>
                    <a:gd name="connsiteX6" fmla="*/ 21431 w 66675"/>
                    <a:gd name="connsiteY6" fmla="*/ 49282 h 76200"/>
                    <a:gd name="connsiteX7" fmla="*/ 29918 w 66675"/>
                    <a:gd name="connsiteY7" fmla="*/ 65408 h 76200"/>
                    <a:gd name="connsiteX8" fmla="*/ 48025 w 66675"/>
                    <a:gd name="connsiteY8" fmla="*/ 34995 h 76200"/>
                    <a:gd name="connsiteX9" fmla="*/ 48025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6" y="58493"/>
                      </a:lnTo>
                      <a:cubicBezTo>
                        <a:pt x="45339" y="63446"/>
                        <a:pt x="38967" y="76019"/>
                        <a:pt x="24117" y="76019"/>
                      </a:cubicBezTo>
                      <a:cubicBezTo>
                        <a:pt x="12230" y="76019"/>
                        <a:pt x="7144" y="66122"/>
                        <a:pt x="7144" y="56369"/>
                      </a:cubicBezTo>
                      <a:lnTo>
                        <a:pt x="7144" y="7144"/>
                      </a:lnTo>
                      <a:lnTo>
                        <a:pt x="21431" y="7144"/>
                      </a:lnTo>
                      <a:lnTo>
                        <a:pt x="21431" y="49282"/>
                      </a:lnTo>
                      <a:cubicBezTo>
                        <a:pt x="21431" y="57788"/>
                        <a:pt x="22708" y="65408"/>
                        <a:pt x="29918" y="65408"/>
                      </a:cubicBezTo>
                      <a:cubicBezTo>
                        <a:pt x="44062" y="65408"/>
                        <a:pt x="48025" y="43348"/>
                        <a:pt x="48025" y="34995"/>
                      </a:cubicBezTo>
                      <a:lnTo>
                        <a:pt x="48025" y="7144"/>
                      </a:lnTo>
                      <a:lnTo>
                        <a:pt x="62303" y="7144"/>
                      </a:lnTo>
                      <a:lnTo>
                        <a:pt x="62303" y="74466"/>
                      </a:lnTo>
                      <a:lnTo>
                        <a:pt x="47873" y="74466"/>
                      </a:lnTo>
                      <a:lnTo>
                        <a:pt x="47873" y="58493"/>
                      </a:lnTo>
                      <a:close/>
                    </a:path>
                  </a:pathLst>
                </a:custGeom>
                <a:grpFill/>
                <a:ln w="9525" cap="flat">
                  <a:noFill/>
                  <a:prstDash val="solid"/>
                  <a:miter/>
                </a:ln>
              </p:spPr>
              <p:txBody>
                <a:bodyPr rtlCol="0" anchor="ctr"/>
                <a:lstStyle/>
                <a:p>
                  <a:endParaRPr lang="ja-JP" altLang="en-US">
                    <a:solidFill>
                      <a:prstClr val="black"/>
                    </a:solidFill>
                  </a:endParaRPr>
                </a:p>
              </p:txBody>
            </p:sp>
            <p:sp>
              <p:nvSpPr>
                <p:cNvPr id="140" name="フリーフォーム: 図形 65">
                  <a:extLst>
                    <a:ext uri="{FF2B5EF4-FFF2-40B4-BE49-F238E27FC236}">
                      <a16:creationId xmlns:a16="http://schemas.microsoft.com/office/drawing/2014/main" id="{350FFC09-DE5A-440B-A719-E0E3468ED97B}"/>
                    </a:ext>
                  </a:extLst>
                </p:cNvPr>
                <p:cNvSpPr/>
                <p:nvPr/>
              </p:nvSpPr>
              <p:spPr>
                <a:xfrm>
                  <a:off x="2167724"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41" name="フリーフォーム: 図形 66">
                  <a:extLst>
                    <a:ext uri="{FF2B5EF4-FFF2-40B4-BE49-F238E27FC236}">
                      <a16:creationId xmlns:a16="http://schemas.microsoft.com/office/drawing/2014/main" id="{F946BD97-810F-48A2-BB49-01C86F4D0E95}"/>
                    </a:ext>
                  </a:extLst>
                </p:cNvPr>
                <p:cNvSpPr/>
                <p:nvPr/>
              </p:nvSpPr>
              <p:spPr>
                <a:xfrm>
                  <a:off x="2212568" y="5886465"/>
                  <a:ext cx="66675" cy="76200"/>
                </a:xfrm>
                <a:custGeom>
                  <a:avLst/>
                  <a:gdLst>
                    <a:gd name="connsiteX0" fmla="*/ 60465 w 66675"/>
                    <a:gd name="connsiteY0" fmla="*/ 73771 h 76200"/>
                    <a:gd name="connsiteX1" fmla="*/ 40805 w 66675"/>
                    <a:gd name="connsiteY1" fmla="*/ 77581 h 76200"/>
                    <a:gd name="connsiteX2" fmla="*/ 7144 w 66675"/>
                    <a:gd name="connsiteY2" fmla="*/ 39405 h 76200"/>
                    <a:gd name="connsiteX3" fmla="*/ 35861 w 66675"/>
                    <a:gd name="connsiteY3" fmla="*/ 7144 h 76200"/>
                    <a:gd name="connsiteX4" fmla="*/ 61751 w 66675"/>
                    <a:gd name="connsiteY4" fmla="*/ 34728 h 76200"/>
                    <a:gd name="connsiteX5" fmla="*/ 21441 w 66675"/>
                    <a:gd name="connsiteY5" fmla="*/ 34728 h 76200"/>
                    <a:gd name="connsiteX6" fmla="*/ 47606 w 66675"/>
                    <a:gd name="connsiteY6" fmla="*/ 70075 h 76200"/>
                    <a:gd name="connsiteX7" fmla="*/ 60484 w 66675"/>
                    <a:gd name="connsiteY7" fmla="*/ 67246 h 76200"/>
                    <a:gd name="connsiteX8" fmla="*/ 60484 w 66675"/>
                    <a:gd name="connsiteY8" fmla="*/ 73771 h 76200"/>
                    <a:gd name="connsiteX9" fmla="*/ 47730 w 66675"/>
                    <a:gd name="connsiteY9" fmla="*/ 28232 h 76200"/>
                    <a:gd name="connsiteX10" fmla="*/ 35281 w 66675"/>
                    <a:gd name="connsiteY10" fmla="*/ 13087 h 76200"/>
                    <a:gd name="connsiteX11" fmla="*/ 21850 w 66675"/>
                    <a:gd name="connsiteY11" fmla="*/ 28232 h 76200"/>
                    <a:gd name="connsiteX12" fmla="*/ 47730 w 66675"/>
                    <a:gd name="connsiteY12" fmla="*/ 2823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75" h="76200">
                      <a:moveTo>
                        <a:pt x="60465" y="73771"/>
                      </a:moveTo>
                      <a:cubicBezTo>
                        <a:pt x="54521" y="76172"/>
                        <a:pt x="49292" y="77581"/>
                        <a:pt x="40805" y="77581"/>
                      </a:cubicBezTo>
                      <a:cubicBezTo>
                        <a:pt x="22136" y="77581"/>
                        <a:pt x="7144" y="66551"/>
                        <a:pt x="7144" y="39405"/>
                      </a:cubicBezTo>
                      <a:cubicBezTo>
                        <a:pt x="7144" y="20726"/>
                        <a:pt x="14640" y="7144"/>
                        <a:pt x="35861" y="7144"/>
                      </a:cubicBezTo>
                      <a:cubicBezTo>
                        <a:pt x="57645" y="7144"/>
                        <a:pt x="61751" y="21707"/>
                        <a:pt x="61751" y="34728"/>
                      </a:cubicBezTo>
                      <a:lnTo>
                        <a:pt x="21441" y="34728"/>
                      </a:lnTo>
                      <a:cubicBezTo>
                        <a:pt x="21441" y="48015"/>
                        <a:pt x="27384" y="70075"/>
                        <a:pt x="47606" y="70075"/>
                      </a:cubicBezTo>
                      <a:cubicBezTo>
                        <a:pt x="51997" y="70075"/>
                        <a:pt x="56236" y="69237"/>
                        <a:pt x="60484" y="67246"/>
                      </a:cubicBezTo>
                      <a:lnTo>
                        <a:pt x="60484" y="73771"/>
                      </a:lnTo>
                      <a:close/>
                      <a:moveTo>
                        <a:pt x="47730" y="28232"/>
                      </a:moveTo>
                      <a:cubicBezTo>
                        <a:pt x="47730" y="23003"/>
                        <a:pt x="45901" y="13087"/>
                        <a:pt x="35281" y="13087"/>
                      </a:cubicBezTo>
                      <a:cubicBezTo>
                        <a:pt x="24251" y="13087"/>
                        <a:pt x="22127" y="24412"/>
                        <a:pt x="21850" y="28232"/>
                      </a:cubicBezTo>
                      <a:lnTo>
                        <a:pt x="47730" y="28232"/>
                      </a:lnTo>
                      <a:close/>
                    </a:path>
                  </a:pathLst>
                </a:custGeom>
                <a:grpFill/>
                <a:ln w="9525" cap="flat">
                  <a:noFill/>
                  <a:prstDash val="solid"/>
                  <a:miter/>
                </a:ln>
              </p:spPr>
              <p:txBody>
                <a:bodyPr rtlCol="0" anchor="ctr"/>
                <a:lstStyle/>
                <a:p>
                  <a:endParaRPr lang="ja-JP" altLang="en-US">
                    <a:solidFill>
                      <a:prstClr val="black"/>
                    </a:solidFill>
                  </a:endParaRPr>
                </a:p>
              </p:txBody>
            </p:sp>
            <p:sp>
              <p:nvSpPr>
                <p:cNvPr id="142" name="フリーフォーム: 図形 67">
                  <a:extLst>
                    <a:ext uri="{FF2B5EF4-FFF2-40B4-BE49-F238E27FC236}">
                      <a16:creationId xmlns:a16="http://schemas.microsoft.com/office/drawing/2014/main" id="{92EDC592-05AB-4CC5-A560-BA875F02ACFA}"/>
                    </a:ext>
                  </a:extLst>
                </p:cNvPr>
                <p:cNvSpPr/>
                <p:nvPr/>
              </p:nvSpPr>
              <p:spPr>
                <a:xfrm>
                  <a:off x="2280605" y="5938252"/>
                  <a:ext cx="28575" cy="38100"/>
                </a:xfrm>
                <a:custGeom>
                  <a:avLst/>
                  <a:gdLst>
                    <a:gd name="connsiteX0" fmla="*/ 8411 w 28575"/>
                    <a:gd name="connsiteY0" fmla="*/ 7144 h 38100"/>
                    <a:gd name="connsiteX1" fmla="*/ 24822 w 28575"/>
                    <a:gd name="connsiteY1" fmla="*/ 7144 h 38100"/>
                    <a:gd name="connsiteX2" fmla="*/ 18459 w 28575"/>
                    <a:gd name="connsiteY2" fmla="*/ 39253 h 38100"/>
                    <a:gd name="connsiteX3" fmla="*/ 7144 w 28575"/>
                    <a:gd name="connsiteY3" fmla="*/ 39253 h 38100"/>
                    <a:gd name="connsiteX4" fmla="*/ 8411 w 28575"/>
                    <a:gd name="connsiteY4" fmla="*/ 7144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38100">
                      <a:moveTo>
                        <a:pt x="8411" y="7144"/>
                      </a:moveTo>
                      <a:lnTo>
                        <a:pt x="24822" y="7144"/>
                      </a:lnTo>
                      <a:lnTo>
                        <a:pt x="18459" y="39253"/>
                      </a:lnTo>
                      <a:lnTo>
                        <a:pt x="7144" y="39253"/>
                      </a:lnTo>
                      <a:lnTo>
                        <a:pt x="8411" y="7144"/>
                      </a:lnTo>
                      <a:close/>
                    </a:path>
                  </a:pathLst>
                </a:custGeom>
                <a:grpFill/>
                <a:ln w="9525" cap="flat">
                  <a:noFill/>
                  <a:prstDash val="solid"/>
                  <a:miter/>
                </a:ln>
              </p:spPr>
              <p:txBody>
                <a:bodyPr rtlCol="0" anchor="ctr"/>
                <a:lstStyle/>
                <a:p>
                  <a:endParaRPr lang="ja-JP" altLang="en-US">
                    <a:solidFill>
                      <a:prstClr val="black"/>
                    </a:solidFill>
                  </a:endParaRPr>
                </a:p>
              </p:txBody>
            </p:sp>
            <p:sp>
              <p:nvSpPr>
                <p:cNvPr id="143" name="フリーフォーム: 図形 68">
                  <a:extLst>
                    <a:ext uri="{FF2B5EF4-FFF2-40B4-BE49-F238E27FC236}">
                      <a16:creationId xmlns:a16="http://schemas.microsoft.com/office/drawing/2014/main" id="{BDF6B956-73F8-450C-BB61-047A525E6F9D}"/>
                    </a:ext>
                  </a:extLst>
                </p:cNvPr>
                <p:cNvSpPr/>
                <p:nvPr/>
              </p:nvSpPr>
              <p:spPr>
                <a:xfrm>
                  <a:off x="2343260" y="5857766"/>
                  <a:ext cx="76200" cy="104775"/>
                </a:xfrm>
                <a:custGeom>
                  <a:avLst/>
                  <a:gdLst>
                    <a:gd name="connsiteX0" fmla="*/ 30756 w 76200"/>
                    <a:gd name="connsiteY0" fmla="*/ 16469 h 104775"/>
                    <a:gd name="connsiteX1" fmla="*/ 7144 w 76200"/>
                    <a:gd name="connsiteY1" fmla="*/ 16469 h 104775"/>
                    <a:gd name="connsiteX2" fmla="*/ 7144 w 76200"/>
                    <a:gd name="connsiteY2" fmla="*/ 7144 h 104775"/>
                    <a:gd name="connsiteX3" fmla="*/ 69942 w 76200"/>
                    <a:gd name="connsiteY3" fmla="*/ 7144 h 104775"/>
                    <a:gd name="connsiteX4" fmla="*/ 69942 w 76200"/>
                    <a:gd name="connsiteY4" fmla="*/ 16469 h 104775"/>
                    <a:gd name="connsiteX5" fmla="*/ 46329 w 76200"/>
                    <a:gd name="connsiteY5" fmla="*/ 16469 h 104775"/>
                    <a:gd name="connsiteX6" fmla="*/ 46329 w 76200"/>
                    <a:gd name="connsiteY6" fmla="*/ 104747 h 104775"/>
                    <a:gd name="connsiteX7" fmla="*/ 30766 w 76200"/>
                    <a:gd name="connsiteY7" fmla="*/ 104747 h 104775"/>
                    <a:gd name="connsiteX8" fmla="*/ 30766 w 76200"/>
                    <a:gd name="connsiteY8" fmla="*/ 164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4775">
                      <a:moveTo>
                        <a:pt x="30756" y="16469"/>
                      </a:moveTo>
                      <a:lnTo>
                        <a:pt x="7144" y="16469"/>
                      </a:lnTo>
                      <a:lnTo>
                        <a:pt x="7144" y="7144"/>
                      </a:lnTo>
                      <a:lnTo>
                        <a:pt x="69942" y="7144"/>
                      </a:lnTo>
                      <a:lnTo>
                        <a:pt x="69942" y="16469"/>
                      </a:lnTo>
                      <a:lnTo>
                        <a:pt x="46329" y="16469"/>
                      </a:lnTo>
                      <a:lnTo>
                        <a:pt x="46329" y="104747"/>
                      </a:lnTo>
                      <a:lnTo>
                        <a:pt x="30766" y="104747"/>
                      </a:lnTo>
                      <a:lnTo>
                        <a:pt x="30766" y="16469"/>
                      </a:lnTo>
                      <a:close/>
                    </a:path>
                  </a:pathLst>
                </a:custGeom>
                <a:grpFill/>
                <a:ln w="9525" cap="flat">
                  <a:noFill/>
                  <a:prstDash val="solid"/>
                  <a:miter/>
                </a:ln>
              </p:spPr>
              <p:txBody>
                <a:bodyPr rtlCol="0" anchor="ctr"/>
                <a:lstStyle/>
                <a:p>
                  <a:endParaRPr lang="ja-JP" altLang="en-US">
                    <a:solidFill>
                      <a:prstClr val="black"/>
                    </a:solidFill>
                  </a:endParaRPr>
                </a:p>
              </p:txBody>
            </p:sp>
            <p:sp>
              <p:nvSpPr>
                <p:cNvPr id="144" name="フリーフォーム: 図形 69">
                  <a:extLst>
                    <a:ext uri="{FF2B5EF4-FFF2-40B4-BE49-F238E27FC236}">
                      <a16:creationId xmlns:a16="http://schemas.microsoft.com/office/drawing/2014/main" id="{993B96EA-05E1-4922-B9F7-A01387ACC0BF}"/>
                    </a:ext>
                  </a:extLst>
                </p:cNvPr>
                <p:cNvSpPr/>
                <p:nvPr/>
              </p:nvSpPr>
              <p:spPr>
                <a:xfrm>
                  <a:off x="2416669" y="5886475"/>
                  <a:ext cx="47625" cy="76200"/>
                </a:xfrm>
                <a:custGeom>
                  <a:avLst/>
                  <a:gdLst>
                    <a:gd name="connsiteX0" fmla="*/ 7144 w 47625"/>
                    <a:gd name="connsiteY0" fmla="*/ 8706 h 76200"/>
                    <a:gd name="connsiteX1" fmla="*/ 21431 w 47625"/>
                    <a:gd name="connsiteY1" fmla="*/ 8706 h 76200"/>
                    <a:gd name="connsiteX2" fmla="*/ 2143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31 w 47625"/>
                    <a:gd name="connsiteY6" fmla="*/ 45196 h 76200"/>
                    <a:gd name="connsiteX7" fmla="*/ 2143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31" y="8706"/>
                      </a:lnTo>
                      <a:lnTo>
                        <a:pt x="21431" y="25822"/>
                      </a:lnTo>
                      <a:lnTo>
                        <a:pt x="21707" y="25822"/>
                      </a:lnTo>
                      <a:cubicBezTo>
                        <a:pt x="26241" y="16764"/>
                        <a:pt x="31185" y="8134"/>
                        <a:pt x="43491" y="7144"/>
                      </a:cubicBezTo>
                      <a:lnTo>
                        <a:pt x="43491" y="21993"/>
                      </a:lnTo>
                      <a:cubicBezTo>
                        <a:pt x="29775" y="22422"/>
                        <a:pt x="21431" y="27089"/>
                        <a:pt x="21431" y="45196"/>
                      </a:cubicBezTo>
                      <a:lnTo>
                        <a:pt x="21431" y="76038"/>
                      </a:lnTo>
                      <a:lnTo>
                        <a:pt x="7144" y="76038"/>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45" name="フリーフォーム: 図形 70">
                  <a:extLst>
                    <a:ext uri="{FF2B5EF4-FFF2-40B4-BE49-F238E27FC236}">
                      <a16:creationId xmlns:a16="http://schemas.microsoft.com/office/drawing/2014/main" id="{56B140CF-5D3A-4452-A362-6C2FDB57483A}"/>
                    </a:ext>
                  </a:extLst>
                </p:cNvPr>
                <p:cNvSpPr/>
                <p:nvPr/>
              </p:nvSpPr>
              <p:spPr>
                <a:xfrm>
                  <a:off x="2462075" y="5886475"/>
                  <a:ext cx="57150" cy="76200"/>
                </a:xfrm>
                <a:custGeom>
                  <a:avLst/>
                  <a:gdLst>
                    <a:gd name="connsiteX0" fmla="*/ 44777 w 57150"/>
                    <a:gd name="connsiteY0" fmla="*/ 66694 h 76200"/>
                    <a:gd name="connsiteX1" fmla="*/ 44482 w 57150"/>
                    <a:gd name="connsiteY1" fmla="*/ 66694 h 76200"/>
                    <a:gd name="connsiteX2" fmla="*/ 25537 w 57150"/>
                    <a:gd name="connsiteY2" fmla="*/ 77581 h 76200"/>
                    <a:gd name="connsiteX3" fmla="*/ 7144 w 57150"/>
                    <a:gd name="connsiteY3" fmla="*/ 60760 h 76200"/>
                    <a:gd name="connsiteX4" fmla="*/ 44777 w 57150"/>
                    <a:gd name="connsiteY4" fmla="*/ 38548 h 76200"/>
                    <a:gd name="connsiteX5" fmla="*/ 44777 w 57150"/>
                    <a:gd name="connsiteY5" fmla="*/ 32613 h 76200"/>
                    <a:gd name="connsiteX6" fmla="*/ 35290 w 57150"/>
                    <a:gd name="connsiteY6" fmla="*/ 13078 h 76200"/>
                    <a:gd name="connsiteX7" fmla="*/ 24394 w 57150"/>
                    <a:gd name="connsiteY7" fmla="*/ 27794 h 76200"/>
                    <a:gd name="connsiteX8" fmla="*/ 9401 w 57150"/>
                    <a:gd name="connsiteY8" fmla="*/ 27794 h 76200"/>
                    <a:gd name="connsiteX9" fmla="*/ 35290 w 57150"/>
                    <a:gd name="connsiteY9" fmla="*/ 7144 h 76200"/>
                    <a:gd name="connsiteX10" fmla="*/ 59064 w 57150"/>
                    <a:gd name="connsiteY10" fmla="*/ 32613 h 76200"/>
                    <a:gd name="connsiteX11" fmla="*/ 59064 w 57150"/>
                    <a:gd name="connsiteY11" fmla="*/ 76038 h 76200"/>
                    <a:gd name="connsiteX12" fmla="*/ 44777 w 57150"/>
                    <a:gd name="connsiteY12" fmla="*/ 76038 h 76200"/>
                    <a:gd name="connsiteX13" fmla="*/ 44777 w 57150"/>
                    <a:gd name="connsiteY13" fmla="*/ 66694 h 76200"/>
                    <a:gd name="connsiteX14" fmla="*/ 44777 w 57150"/>
                    <a:gd name="connsiteY14" fmla="*/ 44482 h 76200"/>
                    <a:gd name="connsiteX15" fmla="*/ 22708 w 57150"/>
                    <a:gd name="connsiteY15" fmla="*/ 58636 h 76200"/>
                    <a:gd name="connsiteX16" fmla="*/ 30899 w 57150"/>
                    <a:gd name="connsiteY16" fmla="*/ 68666 h 76200"/>
                    <a:gd name="connsiteX17" fmla="*/ 44777 w 57150"/>
                    <a:gd name="connsiteY17" fmla="*/ 52406 h 76200"/>
                    <a:gd name="connsiteX18" fmla="*/ 44777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77" y="66694"/>
                      </a:moveTo>
                      <a:lnTo>
                        <a:pt x="44482" y="66694"/>
                      </a:lnTo>
                      <a:cubicBezTo>
                        <a:pt x="42224" y="70656"/>
                        <a:pt x="36281" y="77581"/>
                        <a:pt x="25537" y="77581"/>
                      </a:cubicBezTo>
                      <a:cubicBezTo>
                        <a:pt x="14926" y="77581"/>
                        <a:pt x="7144" y="70085"/>
                        <a:pt x="7144" y="60760"/>
                      </a:cubicBezTo>
                      <a:cubicBezTo>
                        <a:pt x="7144" y="39957"/>
                        <a:pt x="35861" y="38976"/>
                        <a:pt x="44777" y="38548"/>
                      </a:cubicBezTo>
                      <a:lnTo>
                        <a:pt x="44777" y="32613"/>
                      </a:lnTo>
                      <a:cubicBezTo>
                        <a:pt x="44777" y="25251"/>
                        <a:pt x="44777" y="13078"/>
                        <a:pt x="35290" y="13078"/>
                      </a:cubicBezTo>
                      <a:cubicBezTo>
                        <a:pt x="26518" y="13078"/>
                        <a:pt x="24965" y="19869"/>
                        <a:pt x="24394" y="27794"/>
                      </a:cubicBezTo>
                      <a:lnTo>
                        <a:pt x="9401" y="27794"/>
                      </a:lnTo>
                      <a:cubicBezTo>
                        <a:pt x="10106" y="17745"/>
                        <a:pt x="14068" y="7144"/>
                        <a:pt x="35290" y="7144"/>
                      </a:cubicBezTo>
                      <a:cubicBezTo>
                        <a:pt x="57217" y="7144"/>
                        <a:pt x="59064" y="19440"/>
                        <a:pt x="59064" y="32613"/>
                      </a:cubicBezTo>
                      <a:lnTo>
                        <a:pt x="59064" y="76038"/>
                      </a:lnTo>
                      <a:lnTo>
                        <a:pt x="44777" y="76038"/>
                      </a:lnTo>
                      <a:lnTo>
                        <a:pt x="44777" y="66694"/>
                      </a:lnTo>
                      <a:close/>
                      <a:moveTo>
                        <a:pt x="44777" y="44482"/>
                      </a:moveTo>
                      <a:cubicBezTo>
                        <a:pt x="38824" y="44910"/>
                        <a:pt x="22708" y="46177"/>
                        <a:pt x="22708" y="58636"/>
                      </a:cubicBezTo>
                      <a:cubicBezTo>
                        <a:pt x="22708" y="64703"/>
                        <a:pt x="26241" y="68666"/>
                        <a:pt x="30899" y="68666"/>
                      </a:cubicBezTo>
                      <a:cubicBezTo>
                        <a:pt x="35861" y="68666"/>
                        <a:pt x="44777" y="63865"/>
                        <a:pt x="44777" y="52406"/>
                      </a:cubicBezTo>
                      <a:lnTo>
                        <a:pt x="44777" y="44482"/>
                      </a:lnTo>
                      <a:close/>
                    </a:path>
                  </a:pathLst>
                </a:custGeom>
                <a:grpFill/>
                <a:ln w="9525" cap="flat">
                  <a:noFill/>
                  <a:prstDash val="solid"/>
                  <a:miter/>
                </a:ln>
              </p:spPr>
              <p:txBody>
                <a:bodyPr rtlCol="0" anchor="ctr"/>
                <a:lstStyle/>
                <a:p>
                  <a:endParaRPr lang="ja-JP" altLang="en-US">
                    <a:solidFill>
                      <a:prstClr val="black"/>
                    </a:solidFill>
                  </a:endParaRPr>
                </a:p>
              </p:txBody>
            </p:sp>
            <p:sp>
              <p:nvSpPr>
                <p:cNvPr id="146" name="フリーフォーム: 図形 71">
                  <a:extLst>
                    <a:ext uri="{FF2B5EF4-FFF2-40B4-BE49-F238E27FC236}">
                      <a16:creationId xmlns:a16="http://schemas.microsoft.com/office/drawing/2014/main" id="{072E516E-D9E6-4E9E-A4CA-CECCF90B60C1}"/>
                    </a:ext>
                  </a:extLst>
                </p:cNvPr>
                <p:cNvSpPr/>
                <p:nvPr/>
              </p:nvSpPr>
              <p:spPr>
                <a:xfrm>
                  <a:off x="2534627" y="5886475"/>
                  <a:ext cx="66675" cy="76200"/>
                </a:xfrm>
                <a:custGeom>
                  <a:avLst/>
                  <a:gdLst>
                    <a:gd name="connsiteX0" fmla="*/ 7153 w 66675"/>
                    <a:gd name="connsiteY0" fmla="*/ 8706 h 76200"/>
                    <a:gd name="connsiteX1" fmla="*/ 21431 w 66675"/>
                    <a:gd name="connsiteY1" fmla="*/ 8706 h 76200"/>
                    <a:gd name="connsiteX2" fmla="*/ 21431 w 66675"/>
                    <a:gd name="connsiteY2" fmla="*/ 24689 h 76200"/>
                    <a:gd name="connsiteX3" fmla="*/ 21717 w 66675"/>
                    <a:gd name="connsiteY3" fmla="*/ 24689 h 76200"/>
                    <a:gd name="connsiteX4" fmla="*/ 45329 w 66675"/>
                    <a:gd name="connsiteY4" fmla="*/ 7144 h 76200"/>
                    <a:gd name="connsiteX5" fmla="*/ 62303 w 66675"/>
                    <a:gd name="connsiteY5" fmla="*/ 26803 h 76200"/>
                    <a:gd name="connsiteX6" fmla="*/ 62303 w 66675"/>
                    <a:gd name="connsiteY6" fmla="*/ 76029 h 76200"/>
                    <a:gd name="connsiteX7" fmla="*/ 48015 w 66675"/>
                    <a:gd name="connsiteY7" fmla="*/ 76029 h 76200"/>
                    <a:gd name="connsiteX8" fmla="*/ 48015 w 66675"/>
                    <a:gd name="connsiteY8" fmla="*/ 33871 h 76200"/>
                    <a:gd name="connsiteX9" fmla="*/ 39529 w 66675"/>
                    <a:gd name="connsiteY9" fmla="*/ 17745 h 76200"/>
                    <a:gd name="connsiteX10" fmla="*/ 21422 w 66675"/>
                    <a:gd name="connsiteY10" fmla="*/ 48158 h 76200"/>
                    <a:gd name="connsiteX11" fmla="*/ 21422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31" y="8706"/>
                      </a:lnTo>
                      <a:lnTo>
                        <a:pt x="21431" y="24689"/>
                      </a:lnTo>
                      <a:lnTo>
                        <a:pt x="21717" y="24689"/>
                      </a:lnTo>
                      <a:cubicBezTo>
                        <a:pt x="23974" y="19736"/>
                        <a:pt x="30489" y="7144"/>
                        <a:pt x="45329" y="7144"/>
                      </a:cubicBezTo>
                      <a:cubicBezTo>
                        <a:pt x="57217" y="7144"/>
                        <a:pt x="62303" y="17040"/>
                        <a:pt x="62303" y="26803"/>
                      </a:cubicBezTo>
                      <a:lnTo>
                        <a:pt x="62303" y="76029"/>
                      </a:lnTo>
                      <a:lnTo>
                        <a:pt x="48015" y="76029"/>
                      </a:lnTo>
                      <a:lnTo>
                        <a:pt x="48015" y="33871"/>
                      </a:lnTo>
                      <a:cubicBezTo>
                        <a:pt x="48015" y="25384"/>
                        <a:pt x="46739" y="17745"/>
                        <a:pt x="39529" y="17745"/>
                      </a:cubicBezTo>
                      <a:cubicBezTo>
                        <a:pt x="25384" y="17745"/>
                        <a:pt x="21422" y="39805"/>
                        <a:pt x="21422" y="48158"/>
                      </a:cubicBezTo>
                      <a:lnTo>
                        <a:pt x="21422" y="76029"/>
                      </a:lnTo>
                      <a:lnTo>
                        <a:pt x="7144" y="76029"/>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47" name="フリーフォーム: 図形 72">
                  <a:extLst>
                    <a:ext uri="{FF2B5EF4-FFF2-40B4-BE49-F238E27FC236}">
                      <a16:creationId xmlns:a16="http://schemas.microsoft.com/office/drawing/2014/main" id="{4AEA0352-F612-4D79-87F2-DB20E980E7A6}"/>
                    </a:ext>
                  </a:extLst>
                </p:cNvPr>
                <p:cNvSpPr/>
                <p:nvPr/>
              </p:nvSpPr>
              <p:spPr>
                <a:xfrm>
                  <a:off x="2607750" y="5886465"/>
                  <a:ext cx="57150" cy="76200"/>
                </a:xfrm>
                <a:custGeom>
                  <a:avLst/>
                  <a:gdLst>
                    <a:gd name="connsiteX0" fmla="*/ 46615 w 57150"/>
                    <a:gd name="connsiteY0" fmla="*/ 22003 h 76200"/>
                    <a:gd name="connsiteX1" fmla="*/ 29642 w 57150"/>
                    <a:gd name="connsiteY1" fmla="*/ 15364 h 76200"/>
                    <a:gd name="connsiteX2" fmla="*/ 20022 w 57150"/>
                    <a:gd name="connsiteY2" fmla="*/ 22431 h 76200"/>
                    <a:gd name="connsiteX3" fmla="*/ 50854 w 57150"/>
                    <a:gd name="connsiteY3" fmla="*/ 57236 h 76200"/>
                    <a:gd name="connsiteX4" fmla="*/ 25251 w 57150"/>
                    <a:gd name="connsiteY4" fmla="*/ 77591 h 76200"/>
                    <a:gd name="connsiteX5" fmla="*/ 7277 w 57150"/>
                    <a:gd name="connsiteY5" fmla="*/ 74628 h 76200"/>
                    <a:gd name="connsiteX6" fmla="*/ 7277 w 57150"/>
                    <a:gd name="connsiteY6" fmla="*/ 61474 h 76200"/>
                    <a:gd name="connsiteX7" fmla="*/ 25956 w 57150"/>
                    <a:gd name="connsiteY7" fmla="*/ 68542 h 76200"/>
                    <a:gd name="connsiteX8" fmla="*/ 37557 w 57150"/>
                    <a:gd name="connsiteY8" fmla="*/ 60055 h 76200"/>
                    <a:gd name="connsiteX9" fmla="*/ 7144 w 57150"/>
                    <a:gd name="connsiteY9" fmla="*/ 26527 h 76200"/>
                    <a:gd name="connsiteX10" fmla="*/ 3076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15" y="22003"/>
                      </a:moveTo>
                      <a:cubicBezTo>
                        <a:pt x="41805" y="18745"/>
                        <a:pt x="36433" y="15364"/>
                        <a:pt x="29642" y="15364"/>
                      </a:cubicBezTo>
                      <a:cubicBezTo>
                        <a:pt x="25108" y="15364"/>
                        <a:pt x="20022" y="17336"/>
                        <a:pt x="20022" y="22431"/>
                      </a:cubicBezTo>
                      <a:cubicBezTo>
                        <a:pt x="20022" y="34595"/>
                        <a:pt x="50854" y="35728"/>
                        <a:pt x="50854" y="57236"/>
                      </a:cubicBezTo>
                      <a:cubicBezTo>
                        <a:pt x="50854" y="71656"/>
                        <a:pt x="39538" y="77591"/>
                        <a:pt x="25251" y="77591"/>
                      </a:cubicBezTo>
                      <a:cubicBezTo>
                        <a:pt x="16621" y="77591"/>
                        <a:pt x="10678" y="75771"/>
                        <a:pt x="7277" y="74628"/>
                      </a:cubicBezTo>
                      <a:lnTo>
                        <a:pt x="7277" y="61474"/>
                      </a:lnTo>
                      <a:cubicBezTo>
                        <a:pt x="11382" y="64303"/>
                        <a:pt x="18031" y="68542"/>
                        <a:pt x="25956" y="68542"/>
                      </a:cubicBezTo>
                      <a:cubicBezTo>
                        <a:pt x="34157" y="68542"/>
                        <a:pt x="37557" y="64303"/>
                        <a:pt x="37557" y="60055"/>
                      </a:cubicBezTo>
                      <a:cubicBezTo>
                        <a:pt x="37557" y="48168"/>
                        <a:pt x="7144" y="45768"/>
                        <a:pt x="7144" y="26527"/>
                      </a:cubicBezTo>
                      <a:cubicBezTo>
                        <a:pt x="7144" y="16335"/>
                        <a:pt x="13935" y="7144"/>
                        <a:pt x="30766" y="7144"/>
                      </a:cubicBezTo>
                      <a:cubicBezTo>
                        <a:pt x="37976" y="7144"/>
                        <a:pt x="44196" y="9115"/>
                        <a:pt x="46606" y="9820"/>
                      </a:cubicBezTo>
                      <a:lnTo>
                        <a:pt x="46606" y="22003"/>
                      </a:lnTo>
                      <a:close/>
                    </a:path>
                  </a:pathLst>
                </a:custGeom>
                <a:grpFill/>
                <a:ln w="9525" cap="flat">
                  <a:noFill/>
                  <a:prstDash val="solid"/>
                  <a:miter/>
                </a:ln>
              </p:spPr>
              <p:txBody>
                <a:bodyPr rtlCol="0" anchor="ctr"/>
                <a:lstStyle/>
                <a:p>
                  <a:endParaRPr lang="ja-JP" altLang="en-US">
                    <a:solidFill>
                      <a:prstClr val="black"/>
                    </a:solidFill>
                  </a:endParaRPr>
                </a:p>
              </p:txBody>
            </p:sp>
            <p:sp>
              <p:nvSpPr>
                <p:cNvPr id="148" name="フリーフォーム: 図形 73">
                  <a:extLst>
                    <a:ext uri="{FF2B5EF4-FFF2-40B4-BE49-F238E27FC236}">
                      <a16:creationId xmlns:a16="http://schemas.microsoft.com/office/drawing/2014/main" id="{D3AB9D52-439C-4EDC-A059-81CB00D3E00C}"/>
                    </a:ext>
                  </a:extLst>
                </p:cNvPr>
                <p:cNvSpPr/>
                <p:nvPr/>
              </p:nvSpPr>
              <p:spPr>
                <a:xfrm>
                  <a:off x="2668015" y="5886475"/>
                  <a:ext cx="66675" cy="104775"/>
                </a:xfrm>
                <a:custGeom>
                  <a:avLst/>
                  <a:gdLst>
                    <a:gd name="connsiteX0" fmla="*/ 7144 w 66675"/>
                    <a:gd name="connsiteY0" fmla="*/ 8706 h 104775"/>
                    <a:gd name="connsiteX1" fmla="*/ 21431 w 66675"/>
                    <a:gd name="connsiteY1" fmla="*/ 8706 h 104775"/>
                    <a:gd name="connsiteX2" fmla="*/ 21431 w 66675"/>
                    <a:gd name="connsiteY2" fmla="*/ 19736 h 104775"/>
                    <a:gd name="connsiteX3" fmla="*/ 21707 w 66675"/>
                    <a:gd name="connsiteY3" fmla="*/ 19736 h 104775"/>
                    <a:gd name="connsiteX4" fmla="*/ 39110 w 66675"/>
                    <a:gd name="connsiteY4" fmla="*/ 7144 h 104775"/>
                    <a:gd name="connsiteX5" fmla="*/ 64570 w 66675"/>
                    <a:gd name="connsiteY5" fmla="*/ 42358 h 104775"/>
                    <a:gd name="connsiteX6" fmla="*/ 39110 w 66675"/>
                    <a:gd name="connsiteY6" fmla="*/ 77571 h 104775"/>
                    <a:gd name="connsiteX7" fmla="*/ 21707 w 66675"/>
                    <a:gd name="connsiteY7" fmla="*/ 66684 h 104775"/>
                    <a:gd name="connsiteX8" fmla="*/ 21431 w 66675"/>
                    <a:gd name="connsiteY8" fmla="*/ 66684 h 104775"/>
                    <a:gd name="connsiteX9" fmla="*/ 21431 w 66675"/>
                    <a:gd name="connsiteY9" fmla="*/ 106289 h 104775"/>
                    <a:gd name="connsiteX10" fmla="*/ 7144 w 66675"/>
                    <a:gd name="connsiteY10" fmla="*/ 106289 h 104775"/>
                    <a:gd name="connsiteX11" fmla="*/ 7144 w 66675"/>
                    <a:gd name="connsiteY11" fmla="*/ 8706 h 104775"/>
                    <a:gd name="connsiteX12" fmla="*/ 35423 w 66675"/>
                    <a:gd name="connsiteY12" fmla="*/ 69370 h 104775"/>
                    <a:gd name="connsiteX13" fmla="*/ 49006 w 66675"/>
                    <a:gd name="connsiteY13" fmla="*/ 42358 h 104775"/>
                    <a:gd name="connsiteX14" fmla="*/ 35423 w 66675"/>
                    <a:gd name="connsiteY14" fmla="*/ 16202 h 104775"/>
                    <a:gd name="connsiteX15" fmla="*/ 21993 w 66675"/>
                    <a:gd name="connsiteY15" fmla="*/ 42358 h 104775"/>
                    <a:gd name="connsiteX16" fmla="*/ 35423 w 66675"/>
                    <a:gd name="connsiteY16" fmla="*/ 69370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7144" y="8706"/>
                      </a:moveTo>
                      <a:lnTo>
                        <a:pt x="21431" y="8706"/>
                      </a:lnTo>
                      <a:lnTo>
                        <a:pt x="21431" y="19736"/>
                      </a:lnTo>
                      <a:lnTo>
                        <a:pt x="21707" y="19736"/>
                      </a:lnTo>
                      <a:cubicBezTo>
                        <a:pt x="23689" y="15192"/>
                        <a:pt x="28356" y="7144"/>
                        <a:pt x="39110" y="7144"/>
                      </a:cubicBezTo>
                      <a:cubicBezTo>
                        <a:pt x="58626" y="7144"/>
                        <a:pt x="64570" y="22993"/>
                        <a:pt x="64570" y="42358"/>
                      </a:cubicBezTo>
                      <a:cubicBezTo>
                        <a:pt x="64570" y="62579"/>
                        <a:pt x="57074" y="77571"/>
                        <a:pt x="39110" y="77571"/>
                      </a:cubicBezTo>
                      <a:cubicBezTo>
                        <a:pt x="27794" y="77571"/>
                        <a:pt x="23689" y="70371"/>
                        <a:pt x="21707" y="66684"/>
                      </a:cubicBezTo>
                      <a:lnTo>
                        <a:pt x="21431" y="66684"/>
                      </a:lnTo>
                      <a:lnTo>
                        <a:pt x="21431" y="106289"/>
                      </a:lnTo>
                      <a:lnTo>
                        <a:pt x="7144" y="106289"/>
                      </a:lnTo>
                      <a:lnTo>
                        <a:pt x="7144" y="8706"/>
                      </a:lnTo>
                      <a:close/>
                      <a:moveTo>
                        <a:pt x="35423" y="69370"/>
                      </a:moveTo>
                      <a:cubicBezTo>
                        <a:pt x="46606" y="69370"/>
                        <a:pt x="49006" y="54092"/>
                        <a:pt x="49006" y="42358"/>
                      </a:cubicBezTo>
                      <a:cubicBezTo>
                        <a:pt x="49006" y="31194"/>
                        <a:pt x="46882" y="16202"/>
                        <a:pt x="35423" y="16202"/>
                      </a:cubicBezTo>
                      <a:cubicBezTo>
                        <a:pt x="23689" y="16202"/>
                        <a:pt x="21993" y="31194"/>
                        <a:pt x="21993" y="42358"/>
                      </a:cubicBezTo>
                      <a:cubicBezTo>
                        <a:pt x="21993" y="54102"/>
                        <a:pt x="23117" y="69370"/>
                        <a:pt x="35423" y="69370"/>
                      </a:cubicBezTo>
                      <a:close/>
                    </a:path>
                  </a:pathLst>
                </a:custGeom>
                <a:grpFill/>
                <a:ln w="9525" cap="flat">
                  <a:noFill/>
                  <a:prstDash val="solid"/>
                  <a:miter/>
                </a:ln>
              </p:spPr>
              <p:txBody>
                <a:bodyPr rtlCol="0" anchor="ctr"/>
                <a:lstStyle/>
                <a:p>
                  <a:endParaRPr lang="ja-JP" altLang="en-US">
                    <a:solidFill>
                      <a:prstClr val="black"/>
                    </a:solidFill>
                  </a:endParaRPr>
                </a:p>
              </p:txBody>
            </p:sp>
            <p:sp>
              <p:nvSpPr>
                <p:cNvPr id="149" name="フリーフォーム: 図形 74">
                  <a:extLst>
                    <a:ext uri="{FF2B5EF4-FFF2-40B4-BE49-F238E27FC236}">
                      <a16:creationId xmlns:a16="http://schemas.microsoft.com/office/drawing/2014/main" id="{F3A4744E-4AEE-49B0-B574-1B4B5E970725}"/>
                    </a:ext>
                  </a:extLst>
                </p:cNvPr>
                <p:cNvSpPr/>
                <p:nvPr/>
              </p:nvSpPr>
              <p:spPr>
                <a:xfrm>
                  <a:off x="2736614" y="5886475"/>
                  <a:ext cx="66675" cy="76200"/>
                </a:xfrm>
                <a:custGeom>
                  <a:avLst/>
                  <a:gdLst>
                    <a:gd name="connsiteX0" fmla="*/ 7144 w 66675"/>
                    <a:gd name="connsiteY0" fmla="*/ 42358 h 76200"/>
                    <a:gd name="connsiteX1" fmla="*/ 36852 w 66675"/>
                    <a:gd name="connsiteY1" fmla="*/ 7144 h 76200"/>
                    <a:gd name="connsiteX2" fmla="*/ 66694 w 66675"/>
                    <a:gd name="connsiteY2" fmla="*/ 42358 h 76200"/>
                    <a:gd name="connsiteX3" fmla="*/ 36852 w 66675"/>
                    <a:gd name="connsiteY3" fmla="*/ 77571 h 76200"/>
                    <a:gd name="connsiteX4" fmla="*/ 7144 w 66675"/>
                    <a:gd name="connsiteY4" fmla="*/ 42358 h 76200"/>
                    <a:gd name="connsiteX5" fmla="*/ 36852 w 66675"/>
                    <a:gd name="connsiteY5" fmla="*/ 71647 h 76200"/>
                    <a:gd name="connsiteX6" fmla="*/ 51130 w 66675"/>
                    <a:gd name="connsiteY6" fmla="*/ 42367 h 76200"/>
                    <a:gd name="connsiteX7" fmla="*/ 36852 w 66675"/>
                    <a:gd name="connsiteY7" fmla="*/ 13087 h 76200"/>
                    <a:gd name="connsiteX8" fmla="*/ 22708 w 66675"/>
                    <a:gd name="connsiteY8" fmla="*/ 42367 h 76200"/>
                    <a:gd name="connsiteX9" fmla="*/ 36852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50" y="7144"/>
                        <a:pt x="36852" y="7144"/>
                      </a:cubicBezTo>
                      <a:cubicBezTo>
                        <a:pt x="56645" y="7144"/>
                        <a:pt x="66694" y="19593"/>
                        <a:pt x="66694" y="42358"/>
                      </a:cubicBezTo>
                      <a:cubicBezTo>
                        <a:pt x="66694" y="65122"/>
                        <a:pt x="56645" y="77571"/>
                        <a:pt x="36852" y="77571"/>
                      </a:cubicBezTo>
                      <a:cubicBezTo>
                        <a:pt x="17050" y="77581"/>
                        <a:pt x="7144" y="65132"/>
                        <a:pt x="7144" y="42358"/>
                      </a:cubicBezTo>
                      <a:close/>
                      <a:moveTo>
                        <a:pt x="36852" y="71647"/>
                      </a:moveTo>
                      <a:cubicBezTo>
                        <a:pt x="49577" y="71647"/>
                        <a:pt x="51130" y="54683"/>
                        <a:pt x="51130" y="42367"/>
                      </a:cubicBezTo>
                      <a:cubicBezTo>
                        <a:pt x="51130" y="30070"/>
                        <a:pt x="49577" y="13087"/>
                        <a:pt x="36852" y="13087"/>
                      </a:cubicBezTo>
                      <a:cubicBezTo>
                        <a:pt x="24260" y="13087"/>
                        <a:pt x="22708" y="30070"/>
                        <a:pt x="22708" y="42367"/>
                      </a:cubicBezTo>
                      <a:cubicBezTo>
                        <a:pt x="22698" y="54673"/>
                        <a:pt x="24260" y="71647"/>
                        <a:pt x="36852" y="71647"/>
                      </a:cubicBezTo>
                      <a:close/>
                    </a:path>
                  </a:pathLst>
                </a:custGeom>
                <a:grpFill/>
                <a:ln w="9525" cap="flat">
                  <a:noFill/>
                  <a:prstDash val="solid"/>
                  <a:miter/>
                </a:ln>
              </p:spPr>
              <p:txBody>
                <a:bodyPr rtlCol="0" anchor="ctr"/>
                <a:lstStyle/>
                <a:p>
                  <a:endParaRPr lang="ja-JP" altLang="en-US">
                    <a:solidFill>
                      <a:prstClr val="black"/>
                    </a:solidFill>
                  </a:endParaRPr>
                </a:p>
              </p:txBody>
            </p:sp>
            <p:sp>
              <p:nvSpPr>
                <p:cNvPr id="150" name="フリーフォーム: 図形 75">
                  <a:extLst>
                    <a:ext uri="{FF2B5EF4-FFF2-40B4-BE49-F238E27FC236}">
                      <a16:creationId xmlns:a16="http://schemas.microsoft.com/office/drawing/2014/main" id="{E9261859-6F89-41EA-AE2D-3C416CE827D7}"/>
                    </a:ext>
                  </a:extLst>
                </p:cNvPr>
                <p:cNvSpPr/>
                <p:nvPr/>
              </p:nvSpPr>
              <p:spPr>
                <a:xfrm>
                  <a:off x="2812290" y="5886475"/>
                  <a:ext cx="47625" cy="76200"/>
                </a:xfrm>
                <a:custGeom>
                  <a:avLst/>
                  <a:gdLst>
                    <a:gd name="connsiteX0" fmla="*/ 7144 w 47625"/>
                    <a:gd name="connsiteY0" fmla="*/ 8706 h 76200"/>
                    <a:gd name="connsiteX1" fmla="*/ 21422 w 47625"/>
                    <a:gd name="connsiteY1" fmla="*/ 8706 h 76200"/>
                    <a:gd name="connsiteX2" fmla="*/ 21422 w 47625"/>
                    <a:gd name="connsiteY2" fmla="*/ 25822 h 76200"/>
                    <a:gd name="connsiteX3" fmla="*/ 21708 w 47625"/>
                    <a:gd name="connsiteY3" fmla="*/ 25822 h 76200"/>
                    <a:gd name="connsiteX4" fmla="*/ 43491 w 47625"/>
                    <a:gd name="connsiteY4" fmla="*/ 7144 h 76200"/>
                    <a:gd name="connsiteX5" fmla="*/ 43491 w 47625"/>
                    <a:gd name="connsiteY5" fmla="*/ 21993 h 76200"/>
                    <a:gd name="connsiteX6" fmla="*/ 21422 w 47625"/>
                    <a:gd name="connsiteY6" fmla="*/ 45196 h 76200"/>
                    <a:gd name="connsiteX7" fmla="*/ 21422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22" y="8706"/>
                      </a:lnTo>
                      <a:lnTo>
                        <a:pt x="21422" y="25822"/>
                      </a:lnTo>
                      <a:lnTo>
                        <a:pt x="21708" y="25822"/>
                      </a:lnTo>
                      <a:cubicBezTo>
                        <a:pt x="26232" y="16764"/>
                        <a:pt x="31185" y="8134"/>
                        <a:pt x="43491" y="7144"/>
                      </a:cubicBezTo>
                      <a:lnTo>
                        <a:pt x="43491" y="21993"/>
                      </a:lnTo>
                      <a:cubicBezTo>
                        <a:pt x="29775" y="22422"/>
                        <a:pt x="21422" y="27089"/>
                        <a:pt x="21422" y="45196"/>
                      </a:cubicBezTo>
                      <a:lnTo>
                        <a:pt x="21422" y="76038"/>
                      </a:lnTo>
                      <a:lnTo>
                        <a:pt x="7144" y="76038"/>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51" name="フリーフォーム: 図形 76">
                  <a:extLst>
                    <a:ext uri="{FF2B5EF4-FFF2-40B4-BE49-F238E27FC236}">
                      <a16:creationId xmlns:a16="http://schemas.microsoft.com/office/drawing/2014/main" id="{86E2A9C9-4F31-4B96-B9BE-F604B47D2567}"/>
                    </a:ext>
                  </a:extLst>
                </p:cNvPr>
                <p:cNvSpPr/>
                <p:nvPr/>
              </p:nvSpPr>
              <p:spPr>
                <a:xfrm>
                  <a:off x="2855562" y="5863567"/>
                  <a:ext cx="57150" cy="104775"/>
                </a:xfrm>
                <a:custGeom>
                  <a:avLst/>
                  <a:gdLst>
                    <a:gd name="connsiteX0" fmla="*/ 49016 w 57150"/>
                    <a:gd name="connsiteY0" fmla="*/ 99498 h 104775"/>
                    <a:gd name="connsiteX1" fmla="*/ 39110 w 57150"/>
                    <a:gd name="connsiteY1" fmla="*/ 100489 h 104775"/>
                    <a:gd name="connsiteX2" fmla="*/ 17888 w 57150"/>
                    <a:gd name="connsiteY2" fmla="*/ 83372 h 104775"/>
                    <a:gd name="connsiteX3" fmla="*/ 17888 w 57150"/>
                    <a:gd name="connsiteY3" fmla="*/ 38967 h 104775"/>
                    <a:gd name="connsiteX4" fmla="*/ 7144 w 57150"/>
                    <a:gd name="connsiteY4" fmla="*/ 38967 h 104775"/>
                    <a:gd name="connsiteX5" fmla="*/ 7144 w 57150"/>
                    <a:gd name="connsiteY5" fmla="*/ 31623 h 104775"/>
                    <a:gd name="connsiteX6" fmla="*/ 17888 w 57150"/>
                    <a:gd name="connsiteY6" fmla="*/ 31623 h 104775"/>
                    <a:gd name="connsiteX7" fmla="*/ 17888 w 57150"/>
                    <a:gd name="connsiteY7" fmla="*/ 15773 h 104775"/>
                    <a:gd name="connsiteX8" fmla="*/ 32175 w 57150"/>
                    <a:gd name="connsiteY8" fmla="*/ 7144 h 104775"/>
                    <a:gd name="connsiteX9" fmla="*/ 32175 w 57150"/>
                    <a:gd name="connsiteY9" fmla="*/ 31623 h 104775"/>
                    <a:gd name="connsiteX10" fmla="*/ 50568 w 57150"/>
                    <a:gd name="connsiteY10" fmla="*/ 31623 h 104775"/>
                    <a:gd name="connsiteX11" fmla="*/ 50568 w 57150"/>
                    <a:gd name="connsiteY11" fmla="*/ 38967 h 104775"/>
                    <a:gd name="connsiteX12" fmla="*/ 32175 w 57150"/>
                    <a:gd name="connsiteY12" fmla="*/ 38967 h 104775"/>
                    <a:gd name="connsiteX13" fmla="*/ 32175 w 57150"/>
                    <a:gd name="connsiteY13" fmla="*/ 77714 h 104775"/>
                    <a:gd name="connsiteX14" fmla="*/ 42358 w 57150"/>
                    <a:gd name="connsiteY14" fmla="*/ 92430 h 104775"/>
                    <a:gd name="connsiteX15" fmla="*/ 49006 w 57150"/>
                    <a:gd name="connsiteY15" fmla="*/ 91297 h 104775"/>
                    <a:gd name="connsiteX16" fmla="*/ 49006 w 57150"/>
                    <a:gd name="connsiteY16" fmla="*/ 99498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50" h="104775">
                      <a:moveTo>
                        <a:pt x="49016" y="99498"/>
                      </a:moveTo>
                      <a:cubicBezTo>
                        <a:pt x="46177" y="100203"/>
                        <a:pt x="42367" y="100489"/>
                        <a:pt x="39110" y="100489"/>
                      </a:cubicBezTo>
                      <a:cubicBezTo>
                        <a:pt x="25679" y="100489"/>
                        <a:pt x="17888" y="96393"/>
                        <a:pt x="17888" y="83372"/>
                      </a:cubicBezTo>
                      <a:lnTo>
                        <a:pt x="17888" y="38967"/>
                      </a:lnTo>
                      <a:lnTo>
                        <a:pt x="7144" y="38967"/>
                      </a:lnTo>
                      <a:lnTo>
                        <a:pt x="7144" y="31623"/>
                      </a:lnTo>
                      <a:lnTo>
                        <a:pt x="17888" y="31623"/>
                      </a:lnTo>
                      <a:lnTo>
                        <a:pt x="17888" y="15773"/>
                      </a:lnTo>
                      <a:lnTo>
                        <a:pt x="32175" y="7144"/>
                      </a:lnTo>
                      <a:lnTo>
                        <a:pt x="32175" y="31623"/>
                      </a:lnTo>
                      <a:lnTo>
                        <a:pt x="50568" y="31623"/>
                      </a:lnTo>
                      <a:lnTo>
                        <a:pt x="50568" y="38967"/>
                      </a:lnTo>
                      <a:lnTo>
                        <a:pt x="32175" y="38967"/>
                      </a:lnTo>
                      <a:lnTo>
                        <a:pt x="32175" y="77714"/>
                      </a:lnTo>
                      <a:cubicBezTo>
                        <a:pt x="32175" y="87611"/>
                        <a:pt x="33166" y="92430"/>
                        <a:pt x="42358" y="92430"/>
                      </a:cubicBezTo>
                      <a:cubicBezTo>
                        <a:pt x="44615" y="92430"/>
                        <a:pt x="47025" y="92154"/>
                        <a:pt x="49006" y="91297"/>
                      </a:cubicBezTo>
                      <a:lnTo>
                        <a:pt x="49006" y="99498"/>
                      </a:lnTo>
                      <a:close/>
                    </a:path>
                  </a:pathLst>
                </a:custGeom>
                <a:grpFill/>
                <a:ln w="9525" cap="flat">
                  <a:noFill/>
                  <a:prstDash val="solid"/>
                  <a:miter/>
                </a:ln>
              </p:spPr>
              <p:txBody>
                <a:bodyPr rtlCol="0" anchor="ctr"/>
                <a:lstStyle/>
                <a:p>
                  <a:endParaRPr lang="ja-JP" altLang="en-US">
                    <a:solidFill>
                      <a:prstClr val="black"/>
                    </a:solidFill>
                  </a:endParaRPr>
                </a:p>
              </p:txBody>
            </p:sp>
            <p:sp>
              <p:nvSpPr>
                <p:cNvPr id="152" name="フリーフォーム: 図形 77">
                  <a:extLst>
                    <a:ext uri="{FF2B5EF4-FFF2-40B4-BE49-F238E27FC236}">
                      <a16:creationId xmlns:a16="http://schemas.microsoft.com/office/drawing/2014/main" id="{93306D85-BA49-4DAF-A1FE-0B507C4A3020}"/>
                    </a:ext>
                  </a:extLst>
                </p:cNvPr>
                <p:cNvSpPr/>
                <p:nvPr/>
              </p:nvSpPr>
              <p:spPr>
                <a:xfrm>
                  <a:off x="2946659" y="5886475"/>
                  <a:ext cx="57150" cy="76200"/>
                </a:xfrm>
                <a:custGeom>
                  <a:avLst/>
                  <a:gdLst>
                    <a:gd name="connsiteX0" fmla="*/ 44767 w 57150"/>
                    <a:gd name="connsiteY0" fmla="*/ 66694 h 76200"/>
                    <a:gd name="connsiteX1" fmla="*/ 44491 w 57150"/>
                    <a:gd name="connsiteY1" fmla="*/ 66694 h 76200"/>
                    <a:gd name="connsiteX2" fmla="*/ 25537 w 57150"/>
                    <a:gd name="connsiteY2" fmla="*/ 77581 h 76200"/>
                    <a:gd name="connsiteX3" fmla="*/ 7144 w 57150"/>
                    <a:gd name="connsiteY3" fmla="*/ 60760 h 76200"/>
                    <a:gd name="connsiteX4" fmla="*/ 44767 w 57150"/>
                    <a:gd name="connsiteY4" fmla="*/ 38548 h 76200"/>
                    <a:gd name="connsiteX5" fmla="*/ 44767 w 57150"/>
                    <a:gd name="connsiteY5" fmla="*/ 32613 h 76200"/>
                    <a:gd name="connsiteX6" fmla="*/ 35290 w 57150"/>
                    <a:gd name="connsiteY6" fmla="*/ 13078 h 76200"/>
                    <a:gd name="connsiteX7" fmla="*/ 24403 w 57150"/>
                    <a:gd name="connsiteY7" fmla="*/ 27794 h 76200"/>
                    <a:gd name="connsiteX8" fmla="*/ 9410 w 57150"/>
                    <a:gd name="connsiteY8" fmla="*/ 27794 h 76200"/>
                    <a:gd name="connsiteX9" fmla="*/ 35290 w 57150"/>
                    <a:gd name="connsiteY9" fmla="*/ 7144 h 76200"/>
                    <a:gd name="connsiteX10" fmla="*/ 59055 w 57150"/>
                    <a:gd name="connsiteY10" fmla="*/ 32613 h 76200"/>
                    <a:gd name="connsiteX11" fmla="*/ 59055 w 57150"/>
                    <a:gd name="connsiteY11" fmla="*/ 76038 h 76200"/>
                    <a:gd name="connsiteX12" fmla="*/ 44767 w 57150"/>
                    <a:gd name="connsiteY12" fmla="*/ 76038 h 76200"/>
                    <a:gd name="connsiteX13" fmla="*/ 44767 w 57150"/>
                    <a:gd name="connsiteY13" fmla="*/ 66694 h 76200"/>
                    <a:gd name="connsiteX14" fmla="*/ 44767 w 57150"/>
                    <a:gd name="connsiteY14" fmla="*/ 44482 h 76200"/>
                    <a:gd name="connsiteX15" fmla="*/ 22708 w 57150"/>
                    <a:gd name="connsiteY15" fmla="*/ 58636 h 76200"/>
                    <a:gd name="connsiteX16" fmla="*/ 30909 w 57150"/>
                    <a:gd name="connsiteY16" fmla="*/ 68666 h 76200"/>
                    <a:gd name="connsiteX17" fmla="*/ 44767 w 57150"/>
                    <a:gd name="connsiteY17" fmla="*/ 52406 h 76200"/>
                    <a:gd name="connsiteX18" fmla="*/ 44767 w 57150"/>
                    <a:gd name="connsiteY18" fmla="*/ 44482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150" h="76200">
                      <a:moveTo>
                        <a:pt x="44767" y="66694"/>
                      </a:moveTo>
                      <a:lnTo>
                        <a:pt x="44491" y="66694"/>
                      </a:lnTo>
                      <a:cubicBezTo>
                        <a:pt x="42234" y="70656"/>
                        <a:pt x="36290" y="77581"/>
                        <a:pt x="25537" y="77581"/>
                      </a:cubicBezTo>
                      <a:cubicBezTo>
                        <a:pt x="14935" y="77581"/>
                        <a:pt x="7144" y="70085"/>
                        <a:pt x="7144" y="60760"/>
                      </a:cubicBezTo>
                      <a:cubicBezTo>
                        <a:pt x="7144" y="39957"/>
                        <a:pt x="35861" y="38976"/>
                        <a:pt x="44767" y="38548"/>
                      </a:cubicBezTo>
                      <a:lnTo>
                        <a:pt x="44767" y="32613"/>
                      </a:lnTo>
                      <a:cubicBezTo>
                        <a:pt x="44767" y="25251"/>
                        <a:pt x="44767" y="13078"/>
                        <a:pt x="35290" y="13078"/>
                      </a:cubicBezTo>
                      <a:cubicBezTo>
                        <a:pt x="26527" y="13078"/>
                        <a:pt x="24965" y="19869"/>
                        <a:pt x="24403" y="27794"/>
                      </a:cubicBezTo>
                      <a:lnTo>
                        <a:pt x="9410" y="27794"/>
                      </a:lnTo>
                      <a:cubicBezTo>
                        <a:pt x="10115" y="17745"/>
                        <a:pt x="14078" y="7144"/>
                        <a:pt x="35290" y="7144"/>
                      </a:cubicBezTo>
                      <a:cubicBezTo>
                        <a:pt x="57217" y="7144"/>
                        <a:pt x="59055" y="19440"/>
                        <a:pt x="59055" y="32613"/>
                      </a:cubicBezTo>
                      <a:lnTo>
                        <a:pt x="59055" y="76038"/>
                      </a:lnTo>
                      <a:lnTo>
                        <a:pt x="44767" y="76038"/>
                      </a:lnTo>
                      <a:lnTo>
                        <a:pt x="44767" y="66694"/>
                      </a:lnTo>
                      <a:close/>
                      <a:moveTo>
                        <a:pt x="44767" y="44482"/>
                      </a:moveTo>
                      <a:cubicBezTo>
                        <a:pt x="38833" y="44910"/>
                        <a:pt x="22708" y="46177"/>
                        <a:pt x="22708" y="58636"/>
                      </a:cubicBezTo>
                      <a:cubicBezTo>
                        <a:pt x="22708" y="64703"/>
                        <a:pt x="26241" y="68666"/>
                        <a:pt x="30909" y="68666"/>
                      </a:cubicBezTo>
                      <a:cubicBezTo>
                        <a:pt x="35861" y="68666"/>
                        <a:pt x="44767" y="63865"/>
                        <a:pt x="44767" y="52406"/>
                      </a:cubicBezTo>
                      <a:lnTo>
                        <a:pt x="44767" y="44482"/>
                      </a:lnTo>
                      <a:close/>
                    </a:path>
                  </a:pathLst>
                </a:custGeom>
                <a:grpFill/>
                <a:ln w="9525" cap="flat">
                  <a:noFill/>
                  <a:prstDash val="solid"/>
                  <a:miter/>
                </a:ln>
              </p:spPr>
              <p:txBody>
                <a:bodyPr rtlCol="0" anchor="ctr"/>
                <a:lstStyle/>
                <a:p>
                  <a:endParaRPr lang="ja-JP" altLang="en-US">
                    <a:solidFill>
                      <a:prstClr val="black"/>
                    </a:solidFill>
                  </a:endParaRPr>
                </a:p>
              </p:txBody>
            </p:sp>
            <p:sp>
              <p:nvSpPr>
                <p:cNvPr id="153" name="フリーフォーム: 図形 78">
                  <a:extLst>
                    <a:ext uri="{FF2B5EF4-FFF2-40B4-BE49-F238E27FC236}">
                      <a16:creationId xmlns:a16="http://schemas.microsoft.com/office/drawing/2014/main" id="{7415E9B0-0F81-4717-9EEE-758332BBBC8A}"/>
                    </a:ext>
                  </a:extLst>
                </p:cNvPr>
                <p:cNvSpPr/>
                <p:nvPr/>
              </p:nvSpPr>
              <p:spPr>
                <a:xfrm>
                  <a:off x="3019221" y="5886475"/>
                  <a:ext cx="66675" cy="76200"/>
                </a:xfrm>
                <a:custGeom>
                  <a:avLst/>
                  <a:gdLst>
                    <a:gd name="connsiteX0" fmla="*/ 7153 w 66675"/>
                    <a:gd name="connsiteY0" fmla="*/ 8706 h 76200"/>
                    <a:gd name="connsiteX1" fmla="*/ 21441 w 66675"/>
                    <a:gd name="connsiteY1" fmla="*/ 8706 h 76200"/>
                    <a:gd name="connsiteX2" fmla="*/ 21441 w 66675"/>
                    <a:gd name="connsiteY2" fmla="*/ 24689 h 76200"/>
                    <a:gd name="connsiteX3" fmla="*/ 21717 w 66675"/>
                    <a:gd name="connsiteY3" fmla="*/ 24689 h 76200"/>
                    <a:gd name="connsiteX4" fmla="*/ 45339 w 66675"/>
                    <a:gd name="connsiteY4" fmla="*/ 7144 h 76200"/>
                    <a:gd name="connsiteX5" fmla="*/ 62313 w 66675"/>
                    <a:gd name="connsiteY5" fmla="*/ 26803 h 76200"/>
                    <a:gd name="connsiteX6" fmla="*/ 62313 w 66675"/>
                    <a:gd name="connsiteY6" fmla="*/ 76029 h 76200"/>
                    <a:gd name="connsiteX7" fmla="*/ 48025 w 66675"/>
                    <a:gd name="connsiteY7" fmla="*/ 76029 h 76200"/>
                    <a:gd name="connsiteX8" fmla="*/ 48025 w 66675"/>
                    <a:gd name="connsiteY8" fmla="*/ 33871 h 76200"/>
                    <a:gd name="connsiteX9" fmla="*/ 39529 w 66675"/>
                    <a:gd name="connsiteY9" fmla="*/ 17745 h 76200"/>
                    <a:gd name="connsiteX10" fmla="*/ 21431 w 66675"/>
                    <a:gd name="connsiteY10" fmla="*/ 48158 h 76200"/>
                    <a:gd name="connsiteX11" fmla="*/ 21431 w 66675"/>
                    <a:gd name="connsiteY11" fmla="*/ 76029 h 76200"/>
                    <a:gd name="connsiteX12" fmla="*/ 7144 w 66675"/>
                    <a:gd name="connsiteY12" fmla="*/ 76029 h 76200"/>
                    <a:gd name="connsiteX13" fmla="*/ 7144 w 66675"/>
                    <a:gd name="connsiteY13"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7153" y="8706"/>
                      </a:moveTo>
                      <a:lnTo>
                        <a:pt x="21441" y="8706"/>
                      </a:lnTo>
                      <a:lnTo>
                        <a:pt x="21441" y="24689"/>
                      </a:lnTo>
                      <a:lnTo>
                        <a:pt x="21717" y="24689"/>
                      </a:lnTo>
                      <a:cubicBezTo>
                        <a:pt x="23984" y="19736"/>
                        <a:pt x="30490" y="7144"/>
                        <a:pt x="45339" y="7144"/>
                      </a:cubicBezTo>
                      <a:cubicBezTo>
                        <a:pt x="57217" y="7144"/>
                        <a:pt x="62313" y="17040"/>
                        <a:pt x="62313" y="26803"/>
                      </a:cubicBezTo>
                      <a:lnTo>
                        <a:pt x="62313" y="76029"/>
                      </a:lnTo>
                      <a:lnTo>
                        <a:pt x="48025" y="76029"/>
                      </a:lnTo>
                      <a:lnTo>
                        <a:pt x="48025" y="33871"/>
                      </a:lnTo>
                      <a:cubicBezTo>
                        <a:pt x="48025" y="25384"/>
                        <a:pt x="46749" y="17745"/>
                        <a:pt x="39529" y="17745"/>
                      </a:cubicBezTo>
                      <a:cubicBezTo>
                        <a:pt x="25394" y="17745"/>
                        <a:pt x="21431" y="39805"/>
                        <a:pt x="21431" y="48158"/>
                      </a:cubicBezTo>
                      <a:lnTo>
                        <a:pt x="21431" y="76029"/>
                      </a:lnTo>
                      <a:lnTo>
                        <a:pt x="7144" y="76029"/>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54" name="フリーフォーム: 図形 79">
                  <a:extLst>
                    <a:ext uri="{FF2B5EF4-FFF2-40B4-BE49-F238E27FC236}">
                      <a16:creationId xmlns:a16="http://schemas.microsoft.com/office/drawing/2014/main" id="{DB878050-265C-4BA9-8B77-7BA5B553F9D5}"/>
                    </a:ext>
                  </a:extLst>
                </p:cNvPr>
                <p:cNvSpPr/>
                <p:nvPr/>
              </p:nvSpPr>
              <p:spPr>
                <a:xfrm>
                  <a:off x="3090515" y="5857776"/>
                  <a:ext cx="66675" cy="104775"/>
                </a:xfrm>
                <a:custGeom>
                  <a:avLst/>
                  <a:gdLst>
                    <a:gd name="connsiteX0" fmla="*/ 50282 w 66675"/>
                    <a:gd name="connsiteY0" fmla="*/ 93697 h 104775"/>
                    <a:gd name="connsiteX1" fmla="*/ 50006 w 66675"/>
                    <a:gd name="connsiteY1" fmla="*/ 93697 h 104775"/>
                    <a:gd name="connsiteX2" fmla="*/ 32461 w 66675"/>
                    <a:gd name="connsiteY2" fmla="*/ 106270 h 104775"/>
                    <a:gd name="connsiteX3" fmla="*/ 7144 w 66675"/>
                    <a:gd name="connsiteY3" fmla="*/ 71056 h 104775"/>
                    <a:gd name="connsiteX4" fmla="*/ 32461 w 66675"/>
                    <a:gd name="connsiteY4" fmla="*/ 35843 h 104775"/>
                    <a:gd name="connsiteX5" fmla="*/ 50006 w 66675"/>
                    <a:gd name="connsiteY5" fmla="*/ 46729 h 104775"/>
                    <a:gd name="connsiteX6" fmla="*/ 50282 w 66675"/>
                    <a:gd name="connsiteY6" fmla="*/ 46729 h 104775"/>
                    <a:gd name="connsiteX7" fmla="*/ 50282 w 66675"/>
                    <a:gd name="connsiteY7" fmla="*/ 7144 h 104775"/>
                    <a:gd name="connsiteX8" fmla="*/ 64570 w 66675"/>
                    <a:gd name="connsiteY8" fmla="*/ 7144 h 104775"/>
                    <a:gd name="connsiteX9" fmla="*/ 64570 w 66675"/>
                    <a:gd name="connsiteY9" fmla="*/ 104737 h 104775"/>
                    <a:gd name="connsiteX10" fmla="*/ 50282 w 66675"/>
                    <a:gd name="connsiteY10" fmla="*/ 104737 h 104775"/>
                    <a:gd name="connsiteX11" fmla="*/ 50282 w 66675"/>
                    <a:gd name="connsiteY11" fmla="*/ 93697 h 104775"/>
                    <a:gd name="connsiteX12" fmla="*/ 36290 w 66675"/>
                    <a:gd name="connsiteY12" fmla="*/ 97241 h 104775"/>
                    <a:gd name="connsiteX13" fmla="*/ 49721 w 66675"/>
                    <a:gd name="connsiteY13" fmla="*/ 71066 h 104775"/>
                    <a:gd name="connsiteX14" fmla="*/ 36290 w 66675"/>
                    <a:gd name="connsiteY14" fmla="*/ 44053 h 104775"/>
                    <a:gd name="connsiteX15" fmla="*/ 22708 w 66675"/>
                    <a:gd name="connsiteY15" fmla="*/ 71066 h 104775"/>
                    <a:gd name="connsiteX16" fmla="*/ 36290 w 66675"/>
                    <a:gd name="connsiteY16" fmla="*/ 97241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675" h="104775">
                      <a:moveTo>
                        <a:pt x="50282" y="93697"/>
                      </a:moveTo>
                      <a:lnTo>
                        <a:pt x="50006" y="93697"/>
                      </a:lnTo>
                      <a:cubicBezTo>
                        <a:pt x="48025" y="98222"/>
                        <a:pt x="43358" y="106270"/>
                        <a:pt x="32461" y="106270"/>
                      </a:cubicBezTo>
                      <a:cubicBezTo>
                        <a:pt x="13087" y="106270"/>
                        <a:pt x="7144" y="90440"/>
                        <a:pt x="7144" y="71056"/>
                      </a:cubicBezTo>
                      <a:cubicBezTo>
                        <a:pt x="7144" y="50835"/>
                        <a:pt x="14640" y="35843"/>
                        <a:pt x="32461" y="35843"/>
                      </a:cubicBezTo>
                      <a:cubicBezTo>
                        <a:pt x="43920" y="35843"/>
                        <a:pt x="48025" y="43062"/>
                        <a:pt x="50006" y="46729"/>
                      </a:cubicBezTo>
                      <a:lnTo>
                        <a:pt x="50282" y="46729"/>
                      </a:lnTo>
                      <a:lnTo>
                        <a:pt x="50282" y="7144"/>
                      </a:lnTo>
                      <a:lnTo>
                        <a:pt x="64570" y="7144"/>
                      </a:lnTo>
                      <a:lnTo>
                        <a:pt x="64570" y="104737"/>
                      </a:lnTo>
                      <a:lnTo>
                        <a:pt x="50282" y="104737"/>
                      </a:lnTo>
                      <a:lnTo>
                        <a:pt x="50282" y="93697"/>
                      </a:lnTo>
                      <a:close/>
                      <a:moveTo>
                        <a:pt x="36290" y="97241"/>
                      </a:moveTo>
                      <a:cubicBezTo>
                        <a:pt x="48025" y="97241"/>
                        <a:pt x="49721" y="82248"/>
                        <a:pt x="49721" y="71066"/>
                      </a:cubicBezTo>
                      <a:cubicBezTo>
                        <a:pt x="49721" y="59331"/>
                        <a:pt x="48596" y="44053"/>
                        <a:pt x="36290" y="44053"/>
                      </a:cubicBezTo>
                      <a:cubicBezTo>
                        <a:pt x="25108" y="44053"/>
                        <a:pt x="22708" y="59331"/>
                        <a:pt x="22708" y="71066"/>
                      </a:cubicBezTo>
                      <a:cubicBezTo>
                        <a:pt x="22708" y="82239"/>
                        <a:pt x="24822" y="97241"/>
                        <a:pt x="36290" y="97241"/>
                      </a:cubicBezTo>
                      <a:close/>
                    </a:path>
                  </a:pathLst>
                </a:custGeom>
                <a:grpFill/>
                <a:ln w="9525" cap="flat">
                  <a:noFill/>
                  <a:prstDash val="solid"/>
                  <a:miter/>
                </a:ln>
              </p:spPr>
              <p:txBody>
                <a:bodyPr rtlCol="0" anchor="ctr"/>
                <a:lstStyle/>
                <a:p>
                  <a:endParaRPr lang="ja-JP" altLang="en-US">
                    <a:solidFill>
                      <a:prstClr val="black"/>
                    </a:solidFill>
                  </a:endParaRPr>
                </a:p>
              </p:txBody>
            </p:sp>
            <p:sp>
              <p:nvSpPr>
                <p:cNvPr id="155" name="フリーフォーム: 図形 80">
                  <a:extLst>
                    <a:ext uri="{FF2B5EF4-FFF2-40B4-BE49-F238E27FC236}">
                      <a16:creationId xmlns:a16="http://schemas.microsoft.com/office/drawing/2014/main" id="{A02338FF-8835-46DE-8EF5-D02F04495CEF}"/>
                    </a:ext>
                  </a:extLst>
                </p:cNvPr>
                <p:cNvSpPr/>
                <p:nvPr/>
              </p:nvSpPr>
              <p:spPr>
                <a:xfrm>
                  <a:off x="3197595" y="5857766"/>
                  <a:ext cx="76200" cy="104775"/>
                </a:xfrm>
                <a:custGeom>
                  <a:avLst/>
                  <a:gdLst>
                    <a:gd name="connsiteX0" fmla="*/ 30766 w 76200"/>
                    <a:gd name="connsiteY0" fmla="*/ 16469 h 104775"/>
                    <a:gd name="connsiteX1" fmla="*/ 7144 w 76200"/>
                    <a:gd name="connsiteY1" fmla="*/ 16469 h 104775"/>
                    <a:gd name="connsiteX2" fmla="*/ 7144 w 76200"/>
                    <a:gd name="connsiteY2" fmla="*/ 7144 h 104775"/>
                    <a:gd name="connsiteX3" fmla="*/ 69952 w 76200"/>
                    <a:gd name="connsiteY3" fmla="*/ 7144 h 104775"/>
                    <a:gd name="connsiteX4" fmla="*/ 69952 w 76200"/>
                    <a:gd name="connsiteY4" fmla="*/ 16469 h 104775"/>
                    <a:gd name="connsiteX5" fmla="*/ 46339 w 76200"/>
                    <a:gd name="connsiteY5" fmla="*/ 16469 h 104775"/>
                    <a:gd name="connsiteX6" fmla="*/ 46339 w 76200"/>
                    <a:gd name="connsiteY6" fmla="*/ 104747 h 104775"/>
                    <a:gd name="connsiteX7" fmla="*/ 30775 w 76200"/>
                    <a:gd name="connsiteY7" fmla="*/ 104747 h 104775"/>
                    <a:gd name="connsiteX8" fmla="*/ 30775 w 76200"/>
                    <a:gd name="connsiteY8" fmla="*/ 1646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4775">
                      <a:moveTo>
                        <a:pt x="30766" y="16469"/>
                      </a:moveTo>
                      <a:lnTo>
                        <a:pt x="7144" y="16469"/>
                      </a:lnTo>
                      <a:lnTo>
                        <a:pt x="7144" y="7144"/>
                      </a:lnTo>
                      <a:lnTo>
                        <a:pt x="69952" y="7144"/>
                      </a:lnTo>
                      <a:lnTo>
                        <a:pt x="69952" y="16469"/>
                      </a:lnTo>
                      <a:lnTo>
                        <a:pt x="46339" y="16469"/>
                      </a:lnTo>
                      <a:lnTo>
                        <a:pt x="46339" y="104747"/>
                      </a:lnTo>
                      <a:lnTo>
                        <a:pt x="30775" y="104747"/>
                      </a:lnTo>
                      <a:lnTo>
                        <a:pt x="30775" y="16469"/>
                      </a:lnTo>
                      <a:close/>
                    </a:path>
                  </a:pathLst>
                </a:custGeom>
                <a:grpFill/>
                <a:ln w="9525" cap="flat">
                  <a:noFill/>
                  <a:prstDash val="solid"/>
                  <a:miter/>
                </a:ln>
              </p:spPr>
              <p:txBody>
                <a:bodyPr rtlCol="0" anchor="ctr"/>
                <a:lstStyle/>
                <a:p>
                  <a:endParaRPr lang="ja-JP" altLang="en-US">
                    <a:solidFill>
                      <a:prstClr val="black"/>
                    </a:solidFill>
                  </a:endParaRPr>
                </a:p>
              </p:txBody>
            </p:sp>
            <p:sp>
              <p:nvSpPr>
                <p:cNvPr id="156" name="フリーフォーム: 図形 81">
                  <a:extLst>
                    <a:ext uri="{FF2B5EF4-FFF2-40B4-BE49-F238E27FC236}">
                      <a16:creationId xmlns:a16="http://schemas.microsoft.com/office/drawing/2014/main" id="{531A9A2C-F89E-46BF-84A8-B26615F019E2}"/>
                    </a:ext>
                  </a:extLst>
                </p:cNvPr>
                <p:cNvSpPr/>
                <p:nvPr/>
              </p:nvSpPr>
              <p:spPr>
                <a:xfrm>
                  <a:off x="3266185" y="5886475"/>
                  <a:ext cx="66675" cy="76200"/>
                </a:xfrm>
                <a:custGeom>
                  <a:avLst/>
                  <a:gdLst>
                    <a:gd name="connsiteX0" fmla="*/ 7144 w 66675"/>
                    <a:gd name="connsiteY0" fmla="*/ 42358 h 76200"/>
                    <a:gd name="connsiteX1" fmla="*/ 36852 w 66675"/>
                    <a:gd name="connsiteY1" fmla="*/ 7144 h 76200"/>
                    <a:gd name="connsiteX2" fmla="*/ 66694 w 66675"/>
                    <a:gd name="connsiteY2" fmla="*/ 42358 h 76200"/>
                    <a:gd name="connsiteX3" fmla="*/ 36852 w 66675"/>
                    <a:gd name="connsiteY3" fmla="*/ 77571 h 76200"/>
                    <a:gd name="connsiteX4" fmla="*/ 7144 w 66675"/>
                    <a:gd name="connsiteY4" fmla="*/ 42358 h 76200"/>
                    <a:gd name="connsiteX5" fmla="*/ 36852 w 66675"/>
                    <a:gd name="connsiteY5" fmla="*/ 71647 h 76200"/>
                    <a:gd name="connsiteX6" fmla="*/ 51140 w 66675"/>
                    <a:gd name="connsiteY6" fmla="*/ 42367 h 76200"/>
                    <a:gd name="connsiteX7" fmla="*/ 36852 w 66675"/>
                    <a:gd name="connsiteY7" fmla="*/ 13087 h 76200"/>
                    <a:gd name="connsiteX8" fmla="*/ 22708 w 66675"/>
                    <a:gd name="connsiteY8" fmla="*/ 42367 h 76200"/>
                    <a:gd name="connsiteX9" fmla="*/ 36852 w 66675"/>
                    <a:gd name="connsiteY9" fmla="*/ 7164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76200">
                      <a:moveTo>
                        <a:pt x="7144" y="42358"/>
                      </a:moveTo>
                      <a:cubicBezTo>
                        <a:pt x="7144" y="19583"/>
                        <a:pt x="17050" y="7144"/>
                        <a:pt x="36852" y="7144"/>
                      </a:cubicBezTo>
                      <a:cubicBezTo>
                        <a:pt x="56655" y="7144"/>
                        <a:pt x="66694" y="19593"/>
                        <a:pt x="66694" y="42358"/>
                      </a:cubicBezTo>
                      <a:cubicBezTo>
                        <a:pt x="66694" y="65122"/>
                        <a:pt x="56655" y="77571"/>
                        <a:pt x="36852" y="77571"/>
                      </a:cubicBezTo>
                      <a:cubicBezTo>
                        <a:pt x="17050" y="77571"/>
                        <a:pt x="7144" y="65132"/>
                        <a:pt x="7144" y="42358"/>
                      </a:cubicBezTo>
                      <a:close/>
                      <a:moveTo>
                        <a:pt x="36852" y="71647"/>
                      </a:moveTo>
                      <a:cubicBezTo>
                        <a:pt x="49578" y="71647"/>
                        <a:pt x="51140" y="54683"/>
                        <a:pt x="51140" y="42367"/>
                      </a:cubicBezTo>
                      <a:cubicBezTo>
                        <a:pt x="51140" y="30070"/>
                        <a:pt x="49578" y="13087"/>
                        <a:pt x="36852" y="13087"/>
                      </a:cubicBezTo>
                      <a:cubicBezTo>
                        <a:pt x="24261" y="13087"/>
                        <a:pt x="22708" y="30070"/>
                        <a:pt x="22708" y="42367"/>
                      </a:cubicBezTo>
                      <a:cubicBezTo>
                        <a:pt x="22708" y="54673"/>
                        <a:pt x="24261" y="71647"/>
                        <a:pt x="36852" y="71647"/>
                      </a:cubicBezTo>
                      <a:close/>
                    </a:path>
                  </a:pathLst>
                </a:custGeom>
                <a:grpFill/>
                <a:ln w="9525" cap="flat">
                  <a:noFill/>
                  <a:prstDash val="solid"/>
                  <a:miter/>
                </a:ln>
              </p:spPr>
              <p:txBody>
                <a:bodyPr rtlCol="0" anchor="ctr"/>
                <a:lstStyle/>
                <a:p>
                  <a:endParaRPr lang="ja-JP" altLang="en-US">
                    <a:solidFill>
                      <a:prstClr val="black"/>
                    </a:solidFill>
                  </a:endParaRPr>
                </a:p>
              </p:txBody>
            </p:sp>
            <p:sp>
              <p:nvSpPr>
                <p:cNvPr id="157" name="フリーフォーム: 図形 82">
                  <a:extLst>
                    <a:ext uri="{FF2B5EF4-FFF2-40B4-BE49-F238E27FC236}">
                      <a16:creationId xmlns:a16="http://schemas.microsoft.com/office/drawing/2014/main" id="{2C262F80-03DB-4324-84F3-A3293A86A6EC}"/>
                    </a:ext>
                  </a:extLst>
                </p:cNvPr>
                <p:cNvSpPr/>
                <p:nvPr/>
              </p:nvSpPr>
              <p:spPr>
                <a:xfrm>
                  <a:off x="3341871" y="5888037"/>
                  <a:ext cx="66675" cy="76200"/>
                </a:xfrm>
                <a:custGeom>
                  <a:avLst/>
                  <a:gdLst>
                    <a:gd name="connsiteX0" fmla="*/ 47873 w 66675"/>
                    <a:gd name="connsiteY0" fmla="*/ 58493 h 76200"/>
                    <a:gd name="connsiteX1" fmla="*/ 47597 w 66675"/>
                    <a:gd name="connsiteY1" fmla="*/ 58493 h 76200"/>
                    <a:gd name="connsiteX2" fmla="*/ 24108 w 66675"/>
                    <a:gd name="connsiteY2" fmla="*/ 76019 h 76200"/>
                    <a:gd name="connsiteX3" fmla="*/ 7144 w 66675"/>
                    <a:gd name="connsiteY3" fmla="*/ 56369 h 76200"/>
                    <a:gd name="connsiteX4" fmla="*/ 7144 w 66675"/>
                    <a:gd name="connsiteY4" fmla="*/ 7144 h 76200"/>
                    <a:gd name="connsiteX5" fmla="*/ 21421 w 66675"/>
                    <a:gd name="connsiteY5" fmla="*/ 7144 h 76200"/>
                    <a:gd name="connsiteX6" fmla="*/ 21421 w 66675"/>
                    <a:gd name="connsiteY6" fmla="*/ 49282 h 76200"/>
                    <a:gd name="connsiteX7" fmla="*/ 29918 w 66675"/>
                    <a:gd name="connsiteY7" fmla="*/ 65408 h 76200"/>
                    <a:gd name="connsiteX8" fmla="*/ 48016 w 66675"/>
                    <a:gd name="connsiteY8" fmla="*/ 34995 h 76200"/>
                    <a:gd name="connsiteX9" fmla="*/ 48016 w 66675"/>
                    <a:gd name="connsiteY9" fmla="*/ 7144 h 76200"/>
                    <a:gd name="connsiteX10" fmla="*/ 62303 w 66675"/>
                    <a:gd name="connsiteY10" fmla="*/ 7144 h 76200"/>
                    <a:gd name="connsiteX11" fmla="*/ 62303 w 66675"/>
                    <a:gd name="connsiteY11" fmla="*/ 74466 h 76200"/>
                    <a:gd name="connsiteX12" fmla="*/ 47873 w 66675"/>
                    <a:gd name="connsiteY12" fmla="*/ 74466 h 76200"/>
                    <a:gd name="connsiteX13" fmla="*/ 47873 w 66675"/>
                    <a:gd name="connsiteY13" fmla="*/ 5849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75" h="76200">
                      <a:moveTo>
                        <a:pt x="47873" y="58493"/>
                      </a:moveTo>
                      <a:lnTo>
                        <a:pt x="47597" y="58493"/>
                      </a:lnTo>
                      <a:cubicBezTo>
                        <a:pt x="45320" y="63446"/>
                        <a:pt x="38967" y="76019"/>
                        <a:pt x="24108" y="76019"/>
                      </a:cubicBezTo>
                      <a:cubicBezTo>
                        <a:pt x="12230" y="76019"/>
                        <a:pt x="7144" y="66122"/>
                        <a:pt x="7144" y="56369"/>
                      </a:cubicBezTo>
                      <a:lnTo>
                        <a:pt x="7144" y="7144"/>
                      </a:lnTo>
                      <a:lnTo>
                        <a:pt x="21421" y="7144"/>
                      </a:lnTo>
                      <a:lnTo>
                        <a:pt x="21421" y="49282"/>
                      </a:lnTo>
                      <a:cubicBezTo>
                        <a:pt x="21421" y="57788"/>
                        <a:pt x="22698" y="65408"/>
                        <a:pt x="29918" y="65408"/>
                      </a:cubicBezTo>
                      <a:cubicBezTo>
                        <a:pt x="44062" y="65408"/>
                        <a:pt x="48016" y="43348"/>
                        <a:pt x="48016" y="34995"/>
                      </a:cubicBezTo>
                      <a:lnTo>
                        <a:pt x="48016" y="7144"/>
                      </a:lnTo>
                      <a:lnTo>
                        <a:pt x="62303" y="7144"/>
                      </a:lnTo>
                      <a:lnTo>
                        <a:pt x="62303" y="74466"/>
                      </a:lnTo>
                      <a:lnTo>
                        <a:pt x="47873" y="74466"/>
                      </a:lnTo>
                      <a:lnTo>
                        <a:pt x="47873" y="58493"/>
                      </a:lnTo>
                      <a:close/>
                    </a:path>
                  </a:pathLst>
                </a:custGeom>
                <a:grpFill/>
                <a:ln w="9525" cap="flat">
                  <a:noFill/>
                  <a:prstDash val="solid"/>
                  <a:miter/>
                </a:ln>
              </p:spPr>
              <p:txBody>
                <a:bodyPr rtlCol="0" anchor="ctr"/>
                <a:lstStyle/>
                <a:p>
                  <a:endParaRPr lang="ja-JP" altLang="en-US">
                    <a:solidFill>
                      <a:prstClr val="black"/>
                    </a:solidFill>
                  </a:endParaRPr>
                </a:p>
              </p:txBody>
            </p:sp>
            <p:sp>
              <p:nvSpPr>
                <p:cNvPr id="158" name="フリーフォーム: 図形 83">
                  <a:extLst>
                    <a:ext uri="{FF2B5EF4-FFF2-40B4-BE49-F238E27FC236}">
                      <a16:creationId xmlns:a16="http://schemas.microsoft.com/office/drawing/2014/main" id="{3646B696-B8C2-48AB-B302-FDF2694CD934}"/>
                    </a:ext>
                  </a:extLst>
                </p:cNvPr>
                <p:cNvSpPr/>
                <p:nvPr/>
              </p:nvSpPr>
              <p:spPr>
                <a:xfrm>
                  <a:off x="3417966" y="5886475"/>
                  <a:ext cx="47625" cy="76200"/>
                </a:xfrm>
                <a:custGeom>
                  <a:avLst/>
                  <a:gdLst>
                    <a:gd name="connsiteX0" fmla="*/ 7144 w 47625"/>
                    <a:gd name="connsiteY0" fmla="*/ 8706 h 76200"/>
                    <a:gd name="connsiteX1" fmla="*/ 21421 w 47625"/>
                    <a:gd name="connsiteY1" fmla="*/ 8706 h 76200"/>
                    <a:gd name="connsiteX2" fmla="*/ 21421 w 47625"/>
                    <a:gd name="connsiteY2" fmla="*/ 25822 h 76200"/>
                    <a:gd name="connsiteX3" fmla="*/ 21707 w 47625"/>
                    <a:gd name="connsiteY3" fmla="*/ 25822 h 76200"/>
                    <a:gd name="connsiteX4" fmla="*/ 43491 w 47625"/>
                    <a:gd name="connsiteY4" fmla="*/ 7144 h 76200"/>
                    <a:gd name="connsiteX5" fmla="*/ 43491 w 47625"/>
                    <a:gd name="connsiteY5" fmla="*/ 21993 h 76200"/>
                    <a:gd name="connsiteX6" fmla="*/ 21421 w 47625"/>
                    <a:gd name="connsiteY6" fmla="*/ 45196 h 76200"/>
                    <a:gd name="connsiteX7" fmla="*/ 21421 w 47625"/>
                    <a:gd name="connsiteY7" fmla="*/ 76038 h 76200"/>
                    <a:gd name="connsiteX8" fmla="*/ 7144 w 47625"/>
                    <a:gd name="connsiteY8" fmla="*/ 76038 h 76200"/>
                    <a:gd name="connsiteX9" fmla="*/ 7144 w 47625"/>
                    <a:gd name="connsiteY9"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 h="76200">
                      <a:moveTo>
                        <a:pt x="7144" y="8706"/>
                      </a:moveTo>
                      <a:lnTo>
                        <a:pt x="21421" y="8706"/>
                      </a:lnTo>
                      <a:lnTo>
                        <a:pt x="21421" y="25822"/>
                      </a:lnTo>
                      <a:lnTo>
                        <a:pt x="21707" y="25822"/>
                      </a:lnTo>
                      <a:cubicBezTo>
                        <a:pt x="26232" y="16764"/>
                        <a:pt x="31185" y="8134"/>
                        <a:pt x="43491" y="7144"/>
                      </a:cubicBezTo>
                      <a:lnTo>
                        <a:pt x="43491" y="21993"/>
                      </a:lnTo>
                      <a:cubicBezTo>
                        <a:pt x="29775" y="22422"/>
                        <a:pt x="21421" y="27089"/>
                        <a:pt x="21421" y="45196"/>
                      </a:cubicBezTo>
                      <a:lnTo>
                        <a:pt x="21421" y="76038"/>
                      </a:lnTo>
                      <a:lnTo>
                        <a:pt x="7144" y="76038"/>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sp>
              <p:nvSpPr>
                <p:cNvPr id="159" name="フリーフォーム: 図形 84">
                  <a:extLst>
                    <a:ext uri="{FF2B5EF4-FFF2-40B4-BE49-F238E27FC236}">
                      <a16:creationId xmlns:a16="http://schemas.microsoft.com/office/drawing/2014/main" id="{8D4AC914-ACBC-4177-AC5C-67F51924D8E0}"/>
                    </a:ext>
                  </a:extLst>
                </p:cNvPr>
                <p:cNvSpPr/>
                <p:nvPr/>
              </p:nvSpPr>
              <p:spPr>
                <a:xfrm>
                  <a:off x="3467886" y="5857776"/>
                  <a:ext cx="28575" cy="104775"/>
                </a:xfrm>
                <a:custGeom>
                  <a:avLst/>
                  <a:gdLst>
                    <a:gd name="connsiteX0" fmla="*/ 7144 w 28575"/>
                    <a:gd name="connsiteY0" fmla="*/ 7144 h 104775"/>
                    <a:gd name="connsiteX1" fmla="*/ 22565 w 28575"/>
                    <a:gd name="connsiteY1" fmla="*/ 7144 h 104775"/>
                    <a:gd name="connsiteX2" fmla="*/ 22565 w 28575"/>
                    <a:gd name="connsiteY2" fmla="*/ 21279 h 104775"/>
                    <a:gd name="connsiteX3" fmla="*/ 7144 w 28575"/>
                    <a:gd name="connsiteY3" fmla="*/ 21279 h 104775"/>
                    <a:gd name="connsiteX4" fmla="*/ 7144 w 28575"/>
                    <a:gd name="connsiteY4" fmla="*/ 7144 h 104775"/>
                    <a:gd name="connsiteX5" fmla="*/ 7715 w 28575"/>
                    <a:gd name="connsiteY5" fmla="*/ 37405 h 104775"/>
                    <a:gd name="connsiteX6" fmla="*/ 22003 w 28575"/>
                    <a:gd name="connsiteY6" fmla="*/ 37405 h 104775"/>
                    <a:gd name="connsiteX7" fmla="*/ 22003 w 28575"/>
                    <a:gd name="connsiteY7" fmla="*/ 104727 h 104775"/>
                    <a:gd name="connsiteX8" fmla="*/ 7715 w 28575"/>
                    <a:gd name="connsiteY8" fmla="*/ 104727 h 104775"/>
                    <a:gd name="connsiteX9" fmla="*/ 7715 w 28575"/>
                    <a:gd name="connsiteY9" fmla="*/ 3740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5" h="104775">
                      <a:moveTo>
                        <a:pt x="7144" y="7144"/>
                      </a:moveTo>
                      <a:lnTo>
                        <a:pt x="22565" y="7144"/>
                      </a:lnTo>
                      <a:lnTo>
                        <a:pt x="22565" y="21279"/>
                      </a:lnTo>
                      <a:lnTo>
                        <a:pt x="7144" y="21279"/>
                      </a:lnTo>
                      <a:lnTo>
                        <a:pt x="7144" y="7144"/>
                      </a:lnTo>
                      <a:close/>
                      <a:moveTo>
                        <a:pt x="7715" y="37405"/>
                      </a:moveTo>
                      <a:lnTo>
                        <a:pt x="22003" y="37405"/>
                      </a:lnTo>
                      <a:lnTo>
                        <a:pt x="22003" y="104727"/>
                      </a:lnTo>
                      <a:lnTo>
                        <a:pt x="7715" y="104727"/>
                      </a:lnTo>
                      <a:lnTo>
                        <a:pt x="7715" y="37405"/>
                      </a:lnTo>
                      <a:close/>
                    </a:path>
                  </a:pathLst>
                </a:custGeom>
                <a:grpFill/>
                <a:ln w="9525" cap="flat">
                  <a:noFill/>
                  <a:prstDash val="solid"/>
                  <a:miter/>
                </a:ln>
              </p:spPr>
              <p:txBody>
                <a:bodyPr rtlCol="0" anchor="ctr"/>
                <a:lstStyle/>
                <a:p>
                  <a:endParaRPr lang="ja-JP" altLang="en-US">
                    <a:solidFill>
                      <a:prstClr val="black"/>
                    </a:solidFill>
                  </a:endParaRPr>
                </a:p>
              </p:txBody>
            </p:sp>
            <p:sp>
              <p:nvSpPr>
                <p:cNvPr id="160" name="フリーフォーム: 図形 85">
                  <a:extLst>
                    <a:ext uri="{FF2B5EF4-FFF2-40B4-BE49-F238E27FC236}">
                      <a16:creationId xmlns:a16="http://schemas.microsoft.com/office/drawing/2014/main" id="{BA1C8EC0-AC20-499F-93CC-20A5288C1178}"/>
                    </a:ext>
                  </a:extLst>
                </p:cNvPr>
                <p:cNvSpPr/>
                <p:nvPr/>
              </p:nvSpPr>
              <p:spPr>
                <a:xfrm>
                  <a:off x="3501548" y="5886465"/>
                  <a:ext cx="57150" cy="76200"/>
                </a:xfrm>
                <a:custGeom>
                  <a:avLst/>
                  <a:gdLst>
                    <a:gd name="connsiteX0" fmla="*/ 46615 w 57150"/>
                    <a:gd name="connsiteY0" fmla="*/ 22003 h 76200"/>
                    <a:gd name="connsiteX1" fmla="*/ 29642 w 57150"/>
                    <a:gd name="connsiteY1" fmla="*/ 15364 h 76200"/>
                    <a:gd name="connsiteX2" fmla="*/ 20021 w 57150"/>
                    <a:gd name="connsiteY2" fmla="*/ 22431 h 76200"/>
                    <a:gd name="connsiteX3" fmla="*/ 50854 w 57150"/>
                    <a:gd name="connsiteY3" fmla="*/ 57236 h 76200"/>
                    <a:gd name="connsiteX4" fmla="*/ 25251 w 57150"/>
                    <a:gd name="connsiteY4" fmla="*/ 77591 h 76200"/>
                    <a:gd name="connsiteX5" fmla="*/ 7287 w 57150"/>
                    <a:gd name="connsiteY5" fmla="*/ 74628 h 76200"/>
                    <a:gd name="connsiteX6" fmla="*/ 7287 w 57150"/>
                    <a:gd name="connsiteY6" fmla="*/ 61474 h 76200"/>
                    <a:gd name="connsiteX7" fmla="*/ 25956 w 57150"/>
                    <a:gd name="connsiteY7" fmla="*/ 68542 h 76200"/>
                    <a:gd name="connsiteX8" fmla="*/ 37557 w 57150"/>
                    <a:gd name="connsiteY8" fmla="*/ 60055 h 76200"/>
                    <a:gd name="connsiteX9" fmla="*/ 7144 w 57150"/>
                    <a:gd name="connsiteY9" fmla="*/ 26527 h 76200"/>
                    <a:gd name="connsiteX10" fmla="*/ 30766 w 57150"/>
                    <a:gd name="connsiteY10" fmla="*/ 7144 h 76200"/>
                    <a:gd name="connsiteX11" fmla="*/ 46606 w 57150"/>
                    <a:gd name="connsiteY11" fmla="*/ 9820 h 76200"/>
                    <a:gd name="connsiteX12" fmla="*/ 46606 w 57150"/>
                    <a:gd name="connsiteY12" fmla="*/ 22003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150" h="76200">
                      <a:moveTo>
                        <a:pt x="46615" y="22003"/>
                      </a:moveTo>
                      <a:cubicBezTo>
                        <a:pt x="41806" y="18745"/>
                        <a:pt x="36433" y="15364"/>
                        <a:pt x="29642" y="15364"/>
                      </a:cubicBezTo>
                      <a:cubicBezTo>
                        <a:pt x="25118" y="15364"/>
                        <a:pt x="20021" y="17336"/>
                        <a:pt x="20021" y="22431"/>
                      </a:cubicBezTo>
                      <a:cubicBezTo>
                        <a:pt x="20021" y="34595"/>
                        <a:pt x="50854" y="35728"/>
                        <a:pt x="50854" y="57236"/>
                      </a:cubicBezTo>
                      <a:cubicBezTo>
                        <a:pt x="50854" y="71656"/>
                        <a:pt x="39538" y="77591"/>
                        <a:pt x="25251" y="77591"/>
                      </a:cubicBezTo>
                      <a:cubicBezTo>
                        <a:pt x="16621" y="77591"/>
                        <a:pt x="10687" y="75771"/>
                        <a:pt x="7287" y="74628"/>
                      </a:cubicBezTo>
                      <a:lnTo>
                        <a:pt x="7287" y="61474"/>
                      </a:lnTo>
                      <a:cubicBezTo>
                        <a:pt x="11392" y="64303"/>
                        <a:pt x="18031" y="68542"/>
                        <a:pt x="25956" y="68542"/>
                      </a:cubicBezTo>
                      <a:cubicBezTo>
                        <a:pt x="34157" y="68542"/>
                        <a:pt x="37557" y="64303"/>
                        <a:pt x="37557" y="60055"/>
                      </a:cubicBezTo>
                      <a:cubicBezTo>
                        <a:pt x="37557" y="48168"/>
                        <a:pt x="7144" y="45768"/>
                        <a:pt x="7144" y="26527"/>
                      </a:cubicBezTo>
                      <a:cubicBezTo>
                        <a:pt x="7144" y="16335"/>
                        <a:pt x="13935" y="7144"/>
                        <a:pt x="30766" y="7144"/>
                      </a:cubicBezTo>
                      <a:cubicBezTo>
                        <a:pt x="37976" y="7144"/>
                        <a:pt x="44196" y="9115"/>
                        <a:pt x="46606" y="9820"/>
                      </a:cubicBezTo>
                      <a:lnTo>
                        <a:pt x="46606" y="22003"/>
                      </a:lnTo>
                      <a:close/>
                    </a:path>
                  </a:pathLst>
                </a:custGeom>
                <a:grpFill/>
                <a:ln w="9525" cap="flat">
                  <a:noFill/>
                  <a:prstDash val="solid"/>
                  <a:miter/>
                </a:ln>
              </p:spPr>
              <p:txBody>
                <a:bodyPr rtlCol="0" anchor="ctr"/>
                <a:lstStyle/>
                <a:p>
                  <a:endParaRPr lang="ja-JP" altLang="en-US">
                    <a:solidFill>
                      <a:prstClr val="black"/>
                    </a:solidFill>
                  </a:endParaRPr>
                </a:p>
              </p:txBody>
            </p:sp>
            <p:sp>
              <p:nvSpPr>
                <p:cNvPr id="161" name="フリーフォーム: 図形 86">
                  <a:extLst>
                    <a:ext uri="{FF2B5EF4-FFF2-40B4-BE49-F238E27FC236}">
                      <a16:creationId xmlns:a16="http://schemas.microsoft.com/office/drawing/2014/main" id="{1CF3A5DB-5F51-4EDC-895D-19C1D8F7E640}"/>
                    </a:ext>
                  </a:extLst>
                </p:cNvPr>
                <p:cNvSpPr/>
                <p:nvPr/>
              </p:nvSpPr>
              <p:spPr>
                <a:xfrm>
                  <a:off x="3561803" y="5886475"/>
                  <a:ext cx="95250" cy="76200"/>
                </a:xfrm>
                <a:custGeom>
                  <a:avLst/>
                  <a:gdLst>
                    <a:gd name="connsiteX0" fmla="*/ 7144 w 95250"/>
                    <a:gd name="connsiteY0" fmla="*/ 8706 h 76200"/>
                    <a:gd name="connsiteX1" fmla="*/ 21431 w 95250"/>
                    <a:gd name="connsiteY1" fmla="*/ 8706 h 76200"/>
                    <a:gd name="connsiteX2" fmla="*/ 21431 w 95250"/>
                    <a:gd name="connsiteY2" fmla="*/ 24689 h 76200"/>
                    <a:gd name="connsiteX3" fmla="*/ 21717 w 95250"/>
                    <a:gd name="connsiteY3" fmla="*/ 24689 h 76200"/>
                    <a:gd name="connsiteX4" fmla="*/ 42082 w 95250"/>
                    <a:gd name="connsiteY4" fmla="*/ 7144 h 76200"/>
                    <a:gd name="connsiteX5" fmla="*/ 58779 w 95250"/>
                    <a:gd name="connsiteY5" fmla="*/ 23831 h 76200"/>
                    <a:gd name="connsiteX6" fmla="*/ 59055 w 95250"/>
                    <a:gd name="connsiteY6" fmla="*/ 23831 h 76200"/>
                    <a:gd name="connsiteX7" fmla="*/ 79429 w 95250"/>
                    <a:gd name="connsiteY7" fmla="*/ 7144 h 76200"/>
                    <a:gd name="connsiteX8" fmla="*/ 96393 w 95250"/>
                    <a:gd name="connsiteY8" fmla="*/ 30346 h 76200"/>
                    <a:gd name="connsiteX9" fmla="*/ 96393 w 95250"/>
                    <a:gd name="connsiteY9" fmla="*/ 76038 h 76200"/>
                    <a:gd name="connsiteX10" fmla="*/ 82115 w 95250"/>
                    <a:gd name="connsiteY10" fmla="*/ 76038 h 76200"/>
                    <a:gd name="connsiteX11" fmla="*/ 82115 w 95250"/>
                    <a:gd name="connsiteY11" fmla="*/ 32613 h 76200"/>
                    <a:gd name="connsiteX12" fmla="*/ 73914 w 95250"/>
                    <a:gd name="connsiteY12" fmla="*/ 17745 h 76200"/>
                    <a:gd name="connsiteX13" fmla="*/ 58922 w 95250"/>
                    <a:gd name="connsiteY13" fmla="*/ 48015 h 76200"/>
                    <a:gd name="connsiteX14" fmla="*/ 58922 w 95250"/>
                    <a:gd name="connsiteY14" fmla="*/ 76029 h 76200"/>
                    <a:gd name="connsiteX15" fmla="*/ 44634 w 95250"/>
                    <a:gd name="connsiteY15" fmla="*/ 76029 h 76200"/>
                    <a:gd name="connsiteX16" fmla="*/ 44634 w 95250"/>
                    <a:gd name="connsiteY16" fmla="*/ 33871 h 76200"/>
                    <a:gd name="connsiteX17" fmla="*/ 36148 w 95250"/>
                    <a:gd name="connsiteY17" fmla="*/ 17745 h 76200"/>
                    <a:gd name="connsiteX18" fmla="*/ 21431 w 95250"/>
                    <a:gd name="connsiteY18" fmla="*/ 48158 h 76200"/>
                    <a:gd name="connsiteX19" fmla="*/ 21431 w 95250"/>
                    <a:gd name="connsiteY19" fmla="*/ 76029 h 76200"/>
                    <a:gd name="connsiteX20" fmla="*/ 7144 w 95250"/>
                    <a:gd name="connsiteY20" fmla="*/ 76029 h 76200"/>
                    <a:gd name="connsiteX21" fmla="*/ 7144 w 95250"/>
                    <a:gd name="connsiteY21" fmla="*/ 8706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5250" h="76200">
                      <a:moveTo>
                        <a:pt x="7144" y="8706"/>
                      </a:moveTo>
                      <a:lnTo>
                        <a:pt x="21431" y="8706"/>
                      </a:lnTo>
                      <a:lnTo>
                        <a:pt x="21431" y="24689"/>
                      </a:lnTo>
                      <a:lnTo>
                        <a:pt x="21717" y="24689"/>
                      </a:lnTo>
                      <a:cubicBezTo>
                        <a:pt x="23270" y="19593"/>
                        <a:pt x="29204" y="7144"/>
                        <a:pt x="42082" y="7144"/>
                      </a:cubicBezTo>
                      <a:cubicBezTo>
                        <a:pt x="53969" y="7144"/>
                        <a:pt x="58351" y="16764"/>
                        <a:pt x="58779" y="23831"/>
                      </a:cubicBezTo>
                      <a:lnTo>
                        <a:pt x="59055" y="23831"/>
                      </a:lnTo>
                      <a:cubicBezTo>
                        <a:pt x="61465" y="18602"/>
                        <a:pt x="66123" y="7144"/>
                        <a:pt x="79429" y="7144"/>
                      </a:cubicBezTo>
                      <a:cubicBezTo>
                        <a:pt x="93716" y="7144"/>
                        <a:pt x="96393" y="18878"/>
                        <a:pt x="96393" y="30346"/>
                      </a:cubicBezTo>
                      <a:lnTo>
                        <a:pt x="96393" y="76038"/>
                      </a:lnTo>
                      <a:lnTo>
                        <a:pt x="82115" y="76038"/>
                      </a:lnTo>
                      <a:lnTo>
                        <a:pt x="82115" y="32613"/>
                      </a:lnTo>
                      <a:cubicBezTo>
                        <a:pt x="82115" y="24822"/>
                        <a:pt x="80982" y="17745"/>
                        <a:pt x="73914" y="17745"/>
                      </a:cubicBezTo>
                      <a:cubicBezTo>
                        <a:pt x="61322" y="17745"/>
                        <a:pt x="58922" y="39805"/>
                        <a:pt x="58922" y="48015"/>
                      </a:cubicBezTo>
                      <a:lnTo>
                        <a:pt x="58922" y="76029"/>
                      </a:lnTo>
                      <a:lnTo>
                        <a:pt x="44634" y="76029"/>
                      </a:lnTo>
                      <a:lnTo>
                        <a:pt x="44634" y="33871"/>
                      </a:lnTo>
                      <a:cubicBezTo>
                        <a:pt x="44634" y="25384"/>
                        <a:pt x="43929" y="17745"/>
                        <a:pt x="36148" y="17745"/>
                      </a:cubicBezTo>
                      <a:cubicBezTo>
                        <a:pt x="22984" y="17745"/>
                        <a:pt x="21431" y="40948"/>
                        <a:pt x="21431" y="48158"/>
                      </a:cubicBezTo>
                      <a:lnTo>
                        <a:pt x="21431" y="76029"/>
                      </a:lnTo>
                      <a:lnTo>
                        <a:pt x="7144" y="76029"/>
                      </a:lnTo>
                      <a:lnTo>
                        <a:pt x="7144" y="8706"/>
                      </a:lnTo>
                      <a:close/>
                    </a:path>
                  </a:pathLst>
                </a:custGeom>
                <a:grpFill/>
                <a:ln w="9525" cap="flat">
                  <a:noFill/>
                  <a:prstDash val="solid"/>
                  <a:miter/>
                </a:ln>
              </p:spPr>
              <p:txBody>
                <a:bodyPr rtlCol="0" anchor="ctr"/>
                <a:lstStyle/>
                <a:p>
                  <a:endParaRPr lang="ja-JP" altLang="en-US">
                    <a:solidFill>
                      <a:prstClr val="black"/>
                    </a:solidFill>
                  </a:endParaRPr>
                </a:p>
              </p:txBody>
            </p:sp>
          </p:grpSp>
        </p:grpSp>
      </p:grpSp>
      <p:sp>
        <p:nvSpPr>
          <p:cNvPr id="31747" name="Rectangle 3"/>
          <p:cNvSpPr>
            <a:spLocks noGrp="1" noChangeArrowheads="1"/>
          </p:cNvSpPr>
          <p:nvPr>
            <p:ph type="ctrTitle"/>
          </p:nvPr>
        </p:nvSpPr>
        <p:spPr>
          <a:xfrm>
            <a:off x="1784350" y="2133600"/>
            <a:ext cx="8121650" cy="1470025"/>
          </a:xfrm>
        </p:spPr>
        <p:txBody>
          <a:bodyPr/>
          <a:lstStyle>
            <a:lvl1pPr>
              <a:defRPr sz="4000"/>
            </a:lvl1pPr>
          </a:lstStyle>
          <a:p>
            <a:pPr lvl="0"/>
            <a:r>
              <a:rPr lang="ja-JP" altLang="en-US" noProof="0"/>
              <a:t>マスタ タイトルの書式設定</a:t>
            </a:r>
          </a:p>
        </p:txBody>
      </p:sp>
      <p:sp>
        <p:nvSpPr>
          <p:cNvPr id="31748"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pPr lvl="0"/>
            <a:r>
              <a:rPr lang="ja-JP" altLang="en-US" noProof="0"/>
              <a:t>国土交通省　観光庁</a:t>
            </a:r>
          </a:p>
          <a:p>
            <a:pPr lvl="0"/>
            <a:r>
              <a:rPr lang="ja-JP" altLang="en-US" noProof="0"/>
              <a:t>○○課</a:t>
            </a:r>
          </a:p>
          <a:p>
            <a:pPr lvl="0"/>
            <a:r>
              <a:rPr lang="ja-JP" altLang="en-US" noProof="0"/>
              <a:t>平成○○年○○月</a:t>
            </a:r>
          </a:p>
        </p:txBody>
      </p:sp>
      <p:sp>
        <p:nvSpPr>
          <p:cNvPr id="31749" name="Rectangle 5"/>
          <p:cNvSpPr>
            <a:spLocks noGrp="1" noChangeArrowheads="1"/>
          </p:cNvSpPr>
          <p:nvPr>
            <p:ph type="dt" sz="half" idx="2"/>
          </p:nvPr>
        </p:nvSpPr>
        <p:spPr/>
        <p:txBody>
          <a:bodyPr/>
          <a:lstStyle>
            <a:lvl1pPr>
              <a:defRPr/>
            </a:lvl1pPr>
          </a:lstStyle>
          <a:p>
            <a:endParaRPr lang="en-US" altLang="ja-JP">
              <a:solidFill>
                <a:prstClr val="black"/>
              </a:solidFill>
            </a:endParaRPr>
          </a:p>
        </p:txBody>
      </p:sp>
      <p:sp>
        <p:nvSpPr>
          <p:cNvPr id="31750" name="Rectangle 6"/>
          <p:cNvSpPr>
            <a:spLocks noGrp="1" noChangeArrowheads="1"/>
          </p:cNvSpPr>
          <p:nvPr>
            <p:ph type="ftr" sz="quarter" idx="3"/>
          </p:nvPr>
        </p:nvSpPr>
        <p:spPr/>
        <p:txBody>
          <a:bodyPr/>
          <a:lstStyle>
            <a:lvl1pPr>
              <a:defRPr/>
            </a:lvl1pPr>
          </a:lstStyle>
          <a:p>
            <a:endParaRPr lang="en-US" altLang="ja-JP">
              <a:solidFill>
                <a:prstClr val="black"/>
              </a:solidFill>
            </a:endParaRPr>
          </a:p>
        </p:txBody>
      </p:sp>
      <p:sp>
        <p:nvSpPr>
          <p:cNvPr id="31751" name="Rectangle 7"/>
          <p:cNvSpPr>
            <a:spLocks noGrp="1" noChangeArrowheads="1"/>
          </p:cNvSpPr>
          <p:nvPr>
            <p:ph type="sldNum" sz="quarter" idx="4"/>
          </p:nvPr>
        </p:nvSpPr>
        <p:spPr>
          <a:xfrm>
            <a:off x="7099300" y="6245225"/>
            <a:ext cx="2311400" cy="476250"/>
          </a:xfrm>
        </p:spPr>
        <p:txBody>
          <a:bodyPr/>
          <a:lstStyle>
            <a:lvl1pPr>
              <a:defRPr/>
            </a:lvl1pPr>
          </a:lstStyle>
          <a:p>
            <a:fld id="{8668F1B4-CD69-4873-A37D-05E3ED60FF33}" type="slidenum">
              <a:rPr lang="en-US" altLang="ja-JP">
                <a:solidFill>
                  <a:prstClr val="black"/>
                </a:solidFill>
              </a:rPr>
              <a:pPr/>
              <a:t>‹#›</a:t>
            </a:fld>
            <a:endParaRPr lang="en-US" altLang="ja-JP">
              <a:solidFill>
                <a:prstClr val="black"/>
              </a:solidFill>
            </a:endParaRPr>
          </a:p>
        </p:txBody>
      </p:sp>
      <p:sp>
        <p:nvSpPr>
          <p:cNvPr id="31758" name="Rectangle 14"/>
          <p:cNvSpPr>
            <a:spLocks noChangeArrowheads="1"/>
          </p:cNvSpPr>
          <p:nvPr userDrawn="1"/>
        </p:nvSpPr>
        <p:spPr bwMode="auto">
          <a:xfrm>
            <a:off x="1833563" y="3284538"/>
            <a:ext cx="8072437" cy="73025"/>
          </a:xfrm>
          <a:prstGeom prst="rect">
            <a:avLst/>
          </a:prstGeom>
          <a:solidFill>
            <a:srgbClr val="FF000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spTree>
    <p:extLst>
      <p:ext uri="{BB962C8B-B14F-4D97-AF65-F5344CB8AC3E}">
        <p14:creationId xmlns:p14="http://schemas.microsoft.com/office/powerpoint/2010/main" val="42681787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endParaRPr lang="en-US" altLang="ja-JP">
              <a:solidFill>
                <a:prstClr val="black"/>
              </a:solidFill>
            </a:endParaRPr>
          </a:p>
        </p:txBody>
      </p:sp>
      <p:sp>
        <p:nvSpPr>
          <p:cNvPr id="5" name="フッター プレースホルダー 4"/>
          <p:cNvSpPr>
            <a:spLocks noGrp="1"/>
          </p:cNvSpPr>
          <p:nvPr>
            <p:ph type="ftr" sz="quarter" idx="11"/>
          </p:nvPr>
        </p:nvSpPr>
        <p:spPr/>
        <p:txBody>
          <a:bodyPr/>
          <a:lstStyle>
            <a:lvl1pPr>
              <a:defRPr/>
            </a:lvl1pPr>
          </a:lstStyle>
          <a:p>
            <a:endParaRPr lang="en-US" altLang="ja-JP">
              <a:solidFill>
                <a:prstClr val="black"/>
              </a:solidFill>
            </a:endParaRPr>
          </a:p>
        </p:txBody>
      </p:sp>
      <p:sp>
        <p:nvSpPr>
          <p:cNvPr id="6" name="スライド番号プレースホルダー 5"/>
          <p:cNvSpPr>
            <a:spLocks noGrp="1"/>
          </p:cNvSpPr>
          <p:nvPr>
            <p:ph type="sldNum" sz="quarter" idx="12"/>
          </p:nvPr>
        </p:nvSpPr>
        <p:spPr/>
        <p:txBody>
          <a:bodyPr/>
          <a:lstStyle>
            <a:lvl1pPr>
              <a:defRPr/>
            </a:lvl1pPr>
          </a:lstStyle>
          <a:p>
            <a:fld id="{A55D6372-79B3-44A9-9559-35B0E06D676F}" type="slidenum">
              <a:rPr lang="en-US" altLang="ja-JP">
                <a:solidFill>
                  <a:prstClr val="black"/>
                </a:solidFill>
              </a:rPr>
              <a:pPr/>
              <a:t>‹#›</a:t>
            </a:fld>
            <a:endParaRPr lang="en-US" altLang="ja-JP" dirty="0">
              <a:solidFill>
                <a:prstClr val="black"/>
              </a:solidFill>
            </a:endParaRPr>
          </a:p>
        </p:txBody>
      </p:sp>
    </p:spTree>
    <p:extLst>
      <p:ext uri="{BB962C8B-B14F-4D97-AF65-F5344CB8AC3E}">
        <p14:creationId xmlns:p14="http://schemas.microsoft.com/office/powerpoint/2010/main" val="239127874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 Id="rId5" Target="../media/image1.jpeg" Type="http://schemas.openxmlformats.org/officeDocument/2006/relationships/image"/></Relationships>
</file>

<file path=ppt/slideMasters/_rels/slideMaster10.xml.rels><?xml version="1.0" encoding="UTF-8" standalone="yes"?><Relationships xmlns="http://schemas.openxmlformats.org/package/2006/relationships"><Relationship Id="rId1" Target="../slideLayouts/slideLayout67.xml" Type="http://schemas.openxmlformats.org/officeDocument/2006/relationships/slideLayout"/><Relationship Id="rId2" Target="../slideLayouts/slideLayout68.xml" Type="http://schemas.openxmlformats.org/officeDocument/2006/relationships/slideLayout"/><Relationship Id="rId3" Target="../theme/theme10.xml" Type="http://schemas.openxmlformats.org/officeDocument/2006/relationships/theme"/><Relationship Id="rId4" Target="../media/image5.jpeg" Type="http://schemas.openxmlformats.org/officeDocument/2006/relationships/image"/></Relationships>
</file>

<file path=ppt/slideMasters/_rels/slideMaster11.xml.rels><?xml version="1.0" encoding="UTF-8" standalone="yes"?><Relationships xmlns="http://schemas.openxmlformats.org/package/2006/relationships"><Relationship Id="rId1" Target="../slideLayouts/slideLayout69.xml" Type="http://schemas.openxmlformats.org/officeDocument/2006/relationships/slideLayout"/><Relationship Id="rId10" Target="../slideLayouts/slideLayout78.xml" Type="http://schemas.openxmlformats.org/officeDocument/2006/relationships/slideLayout"/><Relationship Id="rId11" Target="../slideLayouts/slideLayout79.xml" Type="http://schemas.openxmlformats.org/officeDocument/2006/relationships/slideLayout"/><Relationship Id="rId12" Target="../slideLayouts/slideLayout80.xml" Type="http://schemas.openxmlformats.org/officeDocument/2006/relationships/slideLayout"/><Relationship Id="rId13" Target="../slideLayouts/slideLayout81.xml" Type="http://schemas.openxmlformats.org/officeDocument/2006/relationships/slideLayout"/><Relationship Id="rId14" Target="../slideLayouts/slideLayout82.xml" Type="http://schemas.openxmlformats.org/officeDocument/2006/relationships/slideLayout"/><Relationship Id="rId15" Target="../theme/theme11.xml" Type="http://schemas.openxmlformats.org/officeDocument/2006/relationships/theme"/><Relationship Id="rId2" Target="../slideLayouts/slideLayout70.xml" Type="http://schemas.openxmlformats.org/officeDocument/2006/relationships/slideLayout"/><Relationship Id="rId3" Target="../slideLayouts/slideLayout71.xml" Type="http://schemas.openxmlformats.org/officeDocument/2006/relationships/slideLayout"/><Relationship Id="rId4" Target="../slideLayouts/slideLayout72.xml" Type="http://schemas.openxmlformats.org/officeDocument/2006/relationships/slideLayout"/><Relationship Id="rId5" Target="../slideLayouts/slideLayout73.xml" Type="http://schemas.openxmlformats.org/officeDocument/2006/relationships/slideLayout"/><Relationship Id="rId6" Target="../slideLayouts/slideLayout74.xml" Type="http://schemas.openxmlformats.org/officeDocument/2006/relationships/slideLayout"/><Relationship Id="rId7" Target="../slideLayouts/slideLayout75.xml" Type="http://schemas.openxmlformats.org/officeDocument/2006/relationships/slideLayout"/><Relationship Id="rId8" Target="../slideLayouts/slideLayout76.xml" Type="http://schemas.openxmlformats.org/officeDocument/2006/relationships/slideLayout"/><Relationship Id="rId9" Target="../slideLayouts/slideLayout77.xml" Type="http://schemas.openxmlformats.org/officeDocument/2006/relationships/slideLayout"/></Relationships>
</file>

<file path=ppt/slideMasters/_rels/slideMaster12.xml.rels><?xml version="1.0" encoding="UTF-8" standalone="yes"?><Relationships xmlns="http://schemas.openxmlformats.org/package/2006/relationships"><Relationship Id="rId1" Target="../slideLayouts/slideLayout83.xml" Type="http://schemas.openxmlformats.org/officeDocument/2006/relationships/slideLayout"/><Relationship Id="rId10" Target="../slideLayouts/slideLayout92.xml" Type="http://schemas.openxmlformats.org/officeDocument/2006/relationships/slideLayout"/><Relationship Id="rId11" Target="../slideLayouts/slideLayout93.xml" Type="http://schemas.openxmlformats.org/officeDocument/2006/relationships/slideLayout"/><Relationship Id="rId12" Target="../slideLayouts/slideLayout94.xml" Type="http://schemas.openxmlformats.org/officeDocument/2006/relationships/slideLayout"/><Relationship Id="rId13" Target="../theme/theme12.xml" Type="http://schemas.openxmlformats.org/officeDocument/2006/relationships/theme"/><Relationship Id="rId14" Target="../media/image22.jpeg" Type="http://schemas.openxmlformats.org/officeDocument/2006/relationships/image"/><Relationship Id="rId2" Target="../slideLayouts/slideLayout84.xml" Type="http://schemas.openxmlformats.org/officeDocument/2006/relationships/slideLayout"/><Relationship Id="rId3" Target="../slideLayouts/slideLayout85.xml" Type="http://schemas.openxmlformats.org/officeDocument/2006/relationships/slideLayout"/><Relationship Id="rId4" Target="../slideLayouts/slideLayout86.xml" Type="http://schemas.openxmlformats.org/officeDocument/2006/relationships/slideLayout"/><Relationship Id="rId5" Target="../slideLayouts/slideLayout87.xml" Type="http://schemas.openxmlformats.org/officeDocument/2006/relationships/slideLayout"/><Relationship Id="rId6" Target="../slideLayouts/slideLayout88.xml" Type="http://schemas.openxmlformats.org/officeDocument/2006/relationships/slideLayout"/><Relationship Id="rId7" Target="../slideLayouts/slideLayout89.xml" Type="http://schemas.openxmlformats.org/officeDocument/2006/relationships/slideLayout"/><Relationship Id="rId8" Target="../slideLayouts/slideLayout90.xml" Type="http://schemas.openxmlformats.org/officeDocument/2006/relationships/slideLayout"/><Relationship Id="rId9" Target="../slideLayouts/slideLayout91.xml" Type="http://schemas.openxmlformats.org/officeDocument/2006/relationships/slideLayout"/></Relationships>
</file>

<file path=ppt/slideMasters/_rels/slideMaster13.xml.rels><?xml version="1.0" encoding="UTF-8" standalone="yes"?><Relationships xmlns="http://schemas.openxmlformats.org/package/2006/relationships"><Relationship Id="rId1" Target="../slideLayouts/slideLayout95.xml" Type="http://schemas.openxmlformats.org/officeDocument/2006/relationships/slideLayout"/><Relationship Id="rId2" Target="../slideLayouts/slideLayout96.xml" Type="http://schemas.openxmlformats.org/officeDocument/2006/relationships/slideLayout"/><Relationship Id="rId3" Target="../slideLayouts/slideLayout97.xml" Type="http://schemas.openxmlformats.org/officeDocument/2006/relationships/slideLayout"/><Relationship Id="rId4" Target="../theme/theme13.xml" Type="http://schemas.openxmlformats.org/officeDocument/2006/relationships/theme"/></Relationships>
</file>

<file path=ppt/slideMasters/_rels/slideMaster14.xml.rels><?xml version="1.0" encoding="UTF-8" standalone="yes"?><Relationships xmlns="http://schemas.openxmlformats.org/package/2006/relationships"><Relationship Id="rId1" Target="../slideLayouts/slideLayout98.xml" Type="http://schemas.openxmlformats.org/officeDocument/2006/relationships/slideLayout"/><Relationship Id="rId10" Target="../slideLayouts/slideLayout107.xml" Type="http://schemas.openxmlformats.org/officeDocument/2006/relationships/slideLayout"/><Relationship Id="rId11" Target="../slideLayouts/slideLayout108.xml" Type="http://schemas.openxmlformats.org/officeDocument/2006/relationships/slideLayout"/><Relationship Id="rId12" Target="../slideLayouts/slideLayout109.xml" Type="http://schemas.openxmlformats.org/officeDocument/2006/relationships/slideLayout"/><Relationship Id="rId13" Target="../slideLayouts/slideLayout110.xml" Type="http://schemas.openxmlformats.org/officeDocument/2006/relationships/slideLayout"/><Relationship Id="rId14" Target="../theme/theme14.xml" Type="http://schemas.openxmlformats.org/officeDocument/2006/relationships/theme"/><Relationship Id="rId15" Target="../tags/tag3.xml" Type="http://schemas.openxmlformats.org/officeDocument/2006/relationships/tags"/><Relationship Id="rId16" Target="../tags/tag4.xml" Type="http://schemas.openxmlformats.org/officeDocument/2006/relationships/tags"/><Relationship Id="rId17" Target="../embeddings/oleObject3.bin" Type="http://schemas.openxmlformats.org/officeDocument/2006/relationships/oleObject"/><Relationship Id="rId18" Target="../media/image24.emf" Type="http://schemas.openxmlformats.org/officeDocument/2006/relationships/image"/><Relationship Id="rId2" Target="../slideLayouts/slideLayout99.xml" Type="http://schemas.openxmlformats.org/officeDocument/2006/relationships/slideLayout"/><Relationship Id="rId3" Target="../slideLayouts/slideLayout100.xml" Type="http://schemas.openxmlformats.org/officeDocument/2006/relationships/slideLayout"/><Relationship Id="rId4" Target="../slideLayouts/slideLayout101.xml" Type="http://schemas.openxmlformats.org/officeDocument/2006/relationships/slideLayout"/><Relationship Id="rId5" Target="../slideLayouts/slideLayout102.xml" Type="http://schemas.openxmlformats.org/officeDocument/2006/relationships/slideLayout"/><Relationship Id="rId6" Target="../slideLayouts/slideLayout103.xml" Type="http://schemas.openxmlformats.org/officeDocument/2006/relationships/slideLayout"/><Relationship Id="rId7" Target="../slideLayouts/slideLayout104.xml" Type="http://schemas.openxmlformats.org/officeDocument/2006/relationships/slideLayout"/><Relationship Id="rId8" Target="../slideLayouts/slideLayout105.xml" Type="http://schemas.openxmlformats.org/officeDocument/2006/relationships/slideLayout"/><Relationship Id="rId9" Target="../slideLayouts/slideLayout106.xml" Type="http://schemas.openxmlformats.org/officeDocument/2006/relationships/slideLayout"/></Relationships>
</file>

<file path=ppt/slideMasters/_rels/slideMaster15.xml.rels><?xml version="1.0" encoding="UTF-8" standalone="yes"?><Relationships xmlns="http://schemas.openxmlformats.org/package/2006/relationships"><Relationship Id="rId1" Target="../slideLayouts/slideLayout111.xml" Type="http://schemas.openxmlformats.org/officeDocument/2006/relationships/slideLayout"/><Relationship Id="rId2" Target="../slideLayouts/slideLayout112.xml" Type="http://schemas.openxmlformats.org/officeDocument/2006/relationships/slideLayout"/><Relationship Id="rId3" Target="../theme/theme15.xml" Type="http://schemas.openxmlformats.org/officeDocument/2006/relationships/theme"/></Relationships>
</file>

<file path=ppt/slideMasters/_rels/slideMaster16.xml.rels><?xml version="1.0" encoding="UTF-8" standalone="yes"?><Relationships xmlns="http://schemas.openxmlformats.org/package/2006/relationships"><Relationship Id="rId1" Target="../slideLayouts/slideLayout113.xml" Type="http://schemas.openxmlformats.org/officeDocument/2006/relationships/slideLayout"/><Relationship Id="rId2" Target="../slideLayouts/slideLayout114.xml" Type="http://schemas.openxmlformats.org/officeDocument/2006/relationships/slideLayout"/><Relationship Id="rId3" Target="../slideLayouts/slideLayout115.xml" Type="http://schemas.openxmlformats.org/officeDocument/2006/relationships/slideLayout"/><Relationship Id="rId4" Target="../theme/theme16.xml" Type="http://schemas.openxmlformats.org/officeDocument/2006/relationships/theme"/></Relationships>
</file>

<file path=ppt/slideMasters/_rels/slideMaster17.xml.rels><?xml version="1.0" encoding="UTF-8" standalone="yes"?><Relationships xmlns="http://schemas.openxmlformats.org/package/2006/relationships"><Relationship Id="rId1" Target="../theme/theme17.xml" Type="http://schemas.openxmlformats.org/officeDocument/2006/relationships/theme"/><Relationship Id="rId2" Target="../media/image5.jpeg" Type="http://schemas.openxmlformats.org/officeDocument/2006/relationships/image"/></Relationships>
</file>

<file path=ppt/slideMasters/_rels/slideMaster18.xml.rels><?xml version="1.0" encoding="UTF-8" standalone="yes"?><Relationships xmlns="http://schemas.openxmlformats.org/package/2006/relationships"><Relationship Id="rId1" Target="../slideLayouts/slideLayout116.xml" Type="http://schemas.openxmlformats.org/officeDocument/2006/relationships/slideLayout"/><Relationship Id="rId2" Target="../slideLayouts/slideLayout117.xml" Type="http://schemas.openxmlformats.org/officeDocument/2006/relationships/slideLayout"/><Relationship Id="rId3" Target="../slideLayouts/slideLayout118.xml" Type="http://schemas.openxmlformats.org/officeDocument/2006/relationships/slideLayout"/><Relationship Id="rId4" Target="../theme/theme18.xml" Type="http://schemas.openxmlformats.org/officeDocument/2006/relationships/theme"/><Relationship Id="rId5" Target="../media/image1.jpeg" Type="http://schemas.openxmlformats.org/officeDocument/2006/relationships/image"/></Relationships>
</file>

<file path=ppt/slideMasters/_rels/slideMaster19.xml.rels><?xml version="1.0" encoding="UTF-8" standalone="yes"?><Relationships xmlns="http://schemas.openxmlformats.org/package/2006/relationships"><Relationship Id="rId1" Target="../slideLayouts/slideLayout119.xml" Type="http://schemas.openxmlformats.org/officeDocument/2006/relationships/slideLayout"/><Relationship Id="rId2" Target="../slideLayouts/slideLayout120.xml" Type="http://schemas.openxmlformats.org/officeDocument/2006/relationships/slideLayout"/><Relationship Id="rId3" Target="../theme/theme19.xml" Type="http://schemas.openxmlformats.org/officeDocument/2006/relationships/theme"/></Relationships>
</file>

<file path=ppt/slideMasters/_rels/slideMaster2.xml.rels><?xml version="1.0" encoding="UTF-8" standalone="yes"?><Relationships xmlns="http://schemas.openxmlformats.org/package/2006/relationships"><Relationship Id="rId1" Target="../slideLayouts/slideLayout4.xml" Type="http://schemas.openxmlformats.org/officeDocument/2006/relationships/slideLayout"/><Relationship Id="rId2" Target="../slideLayouts/slideLayout5.xml" Type="http://schemas.openxmlformats.org/officeDocument/2006/relationships/slideLayout"/><Relationship Id="rId3" Target="../slideLayouts/slideLayout6.xml" Type="http://schemas.openxmlformats.org/officeDocument/2006/relationships/slideLayout"/><Relationship Id="rId4" Target="../theme/theme2.xml" Type="http://schemas.openxmlformats.org/officeDocument/2006/relationships/theme"/><Relationship Id="rId5" Target="../media/image1.jpeg" Type="http://schemas.openxmlformats.org/officeDocument/2006/relationships/image"/></Relationships>
</file>

<file path=ppt/slideMasters/_rels/slideMaster20.xml.rels><?xml version="1.0" encoding="UTF-8" standalone="yes"?><Relationships xmlns="http://schemas.openxmlformats.org/package/2006/relationships"><Relationship Id="rId1" Target="../theme/theme20.xml" Type="http://schemas.openxmlformats.org/officeDocument/2006/relationships/theme"/><Relationship Id="rId2" Target="../media/image5.jpeg" Type="http://schemas.openxmlformats.org/officeDocument/2006/relationships/image"/></Relationships>
</file>

<file path=ppt/slideMasters/_rels/slideMaster21.xml.rels><?xml version="1.0" encoding="UTF-8" standalone="yes"?><Relationships xmlns="http://schemas.openxmlformats.org/package/2006/relationships"><Relationship Id="rId1" Target="../slideLayouts/slideLayout121.xml" Type="http://schemas.openxmlformats.org/officeDocument/2006/relationships/slideLayout"/><Relationship Id="rId2" Target="../slideLayouts/slideLayout122.xml" Type="http://schemas.openxmlformats.org/officeDocument/2006/relationships/slideLayout"/><Relationship Id="rId3" Target="../slideLayouts/slideLayout123.xml" Type="http://schemas.openxmlformats.org/officeDocument/2006/relationships/slideLayout"/><Relationship Id="rId4" Target="../slideLayouts/slideLayout124.xml" Type="http://schemas.openxmlformats.org/officeDocument/2006/relationships/slideLayout"/><Relationship Id="rId5" Target="../slideLayouts/slideLayout125.xml" Type="http://schemas.openxmlformats.org/officeDocument/2006/relationships/slideLayout"/><Relationship Id="rId6" Target="../theme/theme21.xml" Type="http://schemas.openxmlformats.org/officeDocument/2006/relationships/theme"/><Relationship Id="rId7" Target="../media/image1.jpeg" Type="http://schemas.openxmlformats.org/officeDocument/2006/relationships/image"/></Relationships>
</file>

<file path=ppt/slideMasters/_rels/slideMaster22.xml.rels><?xml version="1.0" encoding="UTF-8" standalone="yes"?><Relationships xmlns="http://schemas.openxmlformats.org/package/2006/relationships"><Relationship Id="rId1" Target="../slideLayouts/slideLayout126.xml" Type="http://schemas.openxmlformats.org/officeDocument/2006/relationships/slideLayout"/><Relationship Id="rId10" Target="../slideLayouts/slideLayout135.xml" Type="http://schemas.openxmlformats.org/officeDocument/2006/relationships/slideLayout"/><Relationship Id="rId11" Target="../slideLayouts/slideLayout136.xml" Type="http://schemas.openxmlformats.org/officeDocument/2006/relationships/slideLayout"/><Relationship Id="rId12" Target="../slideLayouts/slideLayout137.xml" Type="http://schemas.openxmlformats.org/officeDocument/2006/relationships/slideLayout"/><Relationship Id="rId13" Target="../slideLayouts/slideLayout138.xml" Type="http://schemas.openxmlformats.org/officeDocument/2006/relationships/slideLayout"/><Relationship Id="rId14" Target="../slideLayouts/slideLayout139.xml" Type="http://schemas.openxmlformats.org/officeDocument/2006/relationships/slideLayout"/><Relationship Id="rId15" Target="../theme/theme22.xml" Type="http://schemas.openxmlformats.org/officeDocument/2006/relationships/theme"/><Relationship Id="rId16" Target="../media/image5.jpeg" Type="http://schemas.openxmlformats.org/officeDocument/2006/relationships/image"/><Relationship Id="rId17" Target="../media/image25.jpeg" Type="http://schemas.openxmlformats.org/officeDocument/2006/relationships/image"/><Relationship Id="rId2" Target="../slideLayouts/slideLayout127.xml" Type="http://schemas.openxmlformats.org/officeDocument/2006/relationships/slideLayout"/><Relationship Id="rId3" Target="../slideLayouts/slideLayout128.xml" Type="http://schemas.openxmlformats.org/officeDocument/2006/relationships/slideLayout"/><Relationship Id="rId4" Target="../slideLayouts/slideLayout129.xml" Type="http://schemas.openxmlformats.org/officeDocument/2006/relationships/slideLayout"/><Relationship Id="rId5" Target="../slideLayouts/slideLayout130.xml" Type="http://schemas.openxmlformats.org/officeDocument/2006/relationships/slideLayout"/><Relationship Id="rId6" Target="../slideLayouts/slideLayout131.xml" Type="http://schemas.openxmlformats.org/officeDocument/2006/relationships/slideLayout"/><Relationship Id="rId7" Target="../slideLayouts/slideLayout132.xml" Type="http://schemas.openxmlformats.org/officeDocument/2006/relationships/slideLayout"/><Relationship Id="rId8" Target="../slideLayouts/slideLayout133.xml" Type="http://schemas.openxmlformats.org/officeDocument/2006/relationships/slideLayout"/><Relationship Id="rId9" Target="../slideLayouts/slideLayout134.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7.xml" Type="http://schemas.openxmlformats.org/officeDocument/2006/relationships/slideLayout"/><Relationship Id="rId2" Target="../slideLayouts/slideLayout8.xml" Type="http://schemas.openxmlformats.org/officeDocument/2006/relationships/slideLayout"/><Relationship Id="rId3" Target="../slideLayouts/slideLayout9.xml" Type="http://schemas.openxmlformats.org/officeDocument/2006/relationships/slideLayout"/><Relationship Id="rId4" Target="../slideLayouts/slideLayout10.xml" Type="http://schemas.openxmlformats.org/officeDocument/2006/relationships/slideLayout"/><Relationship Id="rId5" Target="../theme/theme3.xml" Type="http://schemas.openxmlformats.org/officeDocument/2006/relationships/theme"/></Relationships>
</file>

<file path=ppt/slideMasters/_rels/slideMaster4.xml.rels><?xml version="1.0" encoding="UTF-8" standalone="yes"?><Relationships xmlns="http://schemas.openxmlformats.org/package/2006/relationships"><Relationship Id="rId1" Target="../slideLayouts/slideLayout11.xml" Type="http://schemas.openxmlformats.org/officeDocument/2006/relationships/slideLayout"/><Relationship Id="rId2" Target="../slideLayouts/slideLayout12.xml" Type="http://schemas.openxmlformats.org/officeDocument/2006/relationships/slideLayout"/><Relationship Id="rId3" Target="../slideLayouts/slideLayout13.xml" Type="http://schemas.openxmlformats.org/officeDocument/2006/relationships/slideLayout"/><Relationship Id="rId4" Target="../theme/theme4.xml" Type="http://schemas.openxmlformats.org/officeDocument/2006/relationships/theme"/><Relationship Id="rId5" Target="../media/image1.jpeg" Type="http://schemas.openxmlformats.org/officeDocument/2006/relationships/image"/></Relationships>
</file>

<file path=ppt/slideMasters/_rels/slideMaster5.xml.rels><?xml version="1.0" encoding="UTF-8" standalone="yes"?><Relationships xmlns="http://schemas.openxmlformats.org/package/2006/relationships"><Relationship Id="rId1" Target="../slideLayouts/slideLayout14.xml" Type="http://schemas.openxmlformats.org/officeDocument/2006/relationships/slideLayout"/><Relationship Id="rId2" Target="../slideLayouts/slideLayout15.xml" Type="http://schemas.openxmlformats.org/officeDocument/2006/relationships/slideLayout"/><Relationship Id="rId3" Target="../theme/theme5.xml" Type="http://schemas.openxmlformats.org/officeDocument/2006/relationships/theme"/></Relationships>
</file>

<file path=ppt/slideMasters/_rels/slideMaster6.xml.rels><?xml version="1.0" encoding="UTF-8" standalone="yes"?><Relationships xmlns="http://schemas.openxmlformats.org/package/2006/relationships"><Relationship Id="rId1" Target="../slideLayouts/slideLayout16.xml" Type="http://schemas.openxmlformats.org/officeDocument/2006/relationships/slideLayout"/><Relationship Id="rId10" Target="../slideLayouts/slideLayout25.xml" Type="http://schemas.openxmlformats.org/officeDocument/2006/relationships/slideLayout"/><Relationship Id="rId11" Target="../slideLayouts/slideLayout26.xml" Type="http://schemas.openxmlformats.org/officeDocument/2006/relationships/slideLayout"/><Relationship Id="rId12" Target="../slideLayouts/slideLayout27.xml" Type="http://schemas.openxmlformats.org/officeDocument/2006/relationships/slideLayout"/><Relationship Id="rId13" Target="../slideLayouts/slideLayout28.xml" Type="http://schemas.openxmlformats.org/officeDocument/2006/relationships/slideLayout"/><Relationship Id="rId14" Target="../theme/theme6.xml" Type="http://schemas.openxmlformats.org/officeDocument/2006/relationships/theme"/><Relationship Id="rId15" Target="../tags/tag1.xml" Type="http://schemas.openxmlformats.org/officeDocument/2006/relationships/tags"/><Relationship Id="rId16" Target="../embeddings/oleObject1.bin" Type="http://schemas.openxmlformats.org/officeDocument/2006/relationships/oleObject"/><Relationship Id="rId17" Target="../media/image4.emf" Type="http://schemas.openxmlformats.org/officeDocument/2006/relationships/image"/><Relationship Id="rId2" Target="../slideLayouts/slideLayout17.xml" Type="http://schemas.openxmlformats.org/officeDocument/2006/relationships/slideLayout"/><Relationship Id="rId3" Target="../slideLayouts/slideLayout18.xml" Type="http://schemas.openxmlformats.org/officeDocument/2006/relationships/slideLayout"/><Relationship Id="rId4" Target="../slideLayouts/slideLayout19.xml" Type="http://schemas.openxmlformats.org/officeDocument/2006/relationships/slideLayout"/><Relationship Id="rId5" Target="../slideLayouts/slideLayout20.xml" Type="http://schemas.openxmlformats.org/officeDocument/2006/relationships/slideLayout"/><Relationship Id="rId6" Target="../slideLayouts/slideLayout21.xml" Type="http://schemas.openxmlformats.org/officeDocument/2006/relationships/slideLayout"/><Relationship Id="rId7" Target="../slideLayouts/slideLayout22.xml" Type="http://schemas.openxmlformats.org/officeDocument/2006/relationships/slideLayout"/><Relationship Id="rId8" Target="../slideLayouts/slideLayout23.xml" Type="http://schemas.openxmlformats.org/officeDocument/2006/relationships/slideLayout"/><Relationship Id="rId9" Target="../slideLayouts/slideLayout24.xml" Type="http://schemas.openxmlformats.org/officeDocument/2006/relationships/slideLayout"/></Relationships>
</file>

<file path=ppt/slideMasters/_rels/slideMaster7.xml.rels><?xml version="1.0" encoding="UTF-8" standalone="yes"?><Relationships xmlns="http://schemas.openxmlformats.org/package/2006/relationships"><Relationship Id="rId1" Target="../slideLayouts/slideLayout29.xml" Type="http://schemas.openxmlformats.org/officeDocument/2006/relationships/slideLayout"/><Relationship Id="rId10" Target="../slideLayouts/slideLayout38.xml" Type="http://schemas.openxmlformats.org/officeDocument/2006/relationships/slideLayout"/><Relationship Id="rId11" Target="../slideLayouts/slideLayout39.xml" Type="http://schemas.openxmlformats.org/officeDocument/2006/relationships/slideLayout"/><Relationship Id="rId12" Target="../slideLayouts/slideLayout40.xml" Type="http://schemas.openxmlformats.org/officeDocument/2006/relationships/slideLayout"/><Relationship Id="rId13" Target="../theme/theme7.xml" Type="http://schemas.openxmlformats.org/officeDocument/2006/relationships/theme"/><Relationship Id="rId2" Target="../slideLayouts/slideLayout30.xml" Type="http://schemas.openxmlformats.org/officeDocument/2006/relationships/slideLayout"/><Relationship Id="rId3" Target="../slideLayouts/slideLayout31.xml" Type="http://schemas.openxmlformats.org/officeDocument/2006/relationships/slideLayout"/><Relationship Id="rId4" Target="../slideLayouts/slideLayout32.xml" Type="http://schemas.openxmlformats.org/officeDocument/2006/relationships/slideLayout"/><Relationship Id="rId5" Target="../slideLayouts/slideLayout33.xml" Type="http://schemas.openxmlformats.org/officeDocument/2006/relationships/slideLayout"/><Relationship Id="rId6" Target="../slideLayouts/slideLayout34.xml" Type="http://schemas.openxmlformats.org/officeDocument/2006/relationships/slideLayout"/><Relationship Id="rId7" Target="../slideLayouts/slideLayout35.xml" Type="http://schemas.openxmlformats.org/officeDocument/2006/relationships/slideLayout"/><Relationship Id="rId8" Target="../slideLayouts/slideLayout36.xml" Type="http://schemas.openxmlformats.org/officeDocument/2006/relationships/slideLayout"/><Relationship Id="rId9" Target="../slideLayouts/slideLayout37.xml" Type="http://schemas.openxmlformats.org/officeDocument/2006/relationships/slideLayout"/></Relationships>
</file>

<file path=ppt/slideMasters/_rels/slideMaster8.xml.rels><?xml version="1.0" encoding="UTF-8" standalone="yes"?><Relationships xmlns="http://schemas.openxmlformats.org/package/2006/relationships"><Relationship Id="rId1" Target="../slideLayouts/slideLayout41.xml" Type="http://schemas.openxmlformats.org/officeDocument/2006/relationships/slideLayout"/><Relationship Id="rId10" Target="../slideLayouts/slideLayout50.xml" Type="http://schemas.openxmlformats.org/officeDocument/2006/relationships/slideLayout"/><Relationship Id="rId11" Target="../slideLayouts/slideLayout51.xml" Type="http://schemas.openxmlformats.org/officeDocument/2006/relationships/slideLayout"/><Relationship Id="rId12" Target="../slideLayouts/slideLayout52.xml" Type="http://schemas.openxmlformats.org/officeDocument/2006/relationships/slideLayout"/><Relationship Id="rId13" Target="../theme/theme8.xml" Type="http://schemas.openxmlformats.org/officeDocument/2006/relationships/theme"/><Relationship Id="rId14" Target="../media/image5.jpeg" Type="http://schemas.openxmlformats.org/officeDocument/2006/relationships/image"/><Relationship Id="rId2" Target="../slideLayouts/slideLayout42.xml" Type="http://schemas.openxmlformats.org/officeDocument/2006/relationships/slideLayout"/><Relationship Id="rId3" Target="../slideLayouts/slideLayout43.xml" Type="http://schemas.openxmlformats.org/officeDocument/2006/relationships/slideLayout"/><Relationship Id="rId4" Target="../slideLayouts/slideLayout44.xml" Type="http://schemas.openxmlformats.org/officeDocument/2006/relationships/slideLayout"/><Relationship Id="rId5" Target="../slideLayouts/slideLayout45.xml" Type="http://schemas.openxmlformats.org/officeDocument/2006/relationships/slideLayout"/><Relationship Id="rId6" Target="../slideLayouts/slideLayout46.xml" Type="http://schemas.openxmlformats.org/officeDocument/2006/relationships/slideLayout"/><Relationship Id="rId7" Target="../slideLayouts/slideLayout47.xml" Type="http://schemas.openxmlformats.org/officeDocument/2006/relationships/slideLayout"/><Relationship Id="rId8" Target="../slideLayouts/slideLayout48.xml" Type="http://schemas.openxmlformats.org/officeDocument/2006/relationships/slideLayout"/><Relationship Id="rId9" Target="../slideLayouts/slideLayout49.xml" Type="http://schemas.openxmlformats.org/officeDocument/2006/relationships/slideLayout"/></Relationships>
</file>

<file path=ppt/slideMasters/_rels/slideMaster9.xml.rels><?xml version="1.0" encoding="UTF-8" standalone="yes"?><Relationships xmlns="http://schemas.openxmlformats.org/package/2006/relationships"><Relationship Id="rId1" Target="../slideLayouts/slideLayout53.xml" Type="http://schemas.openxmlformats.org/officeDocument/2006/relationships/slideLayout"/><Relationship Id="rId10" Target="../slideLayouts/slideLayout62.xml" Type="http://schemas.openxmlformats.org/officeDocument/2006/relationships/slideLayout"/><Relationship Id="rId11" Target="../slideLayouts/slideLayout63.xml" Type="http://schemas.openxmlformats.org/officeDocument/2006/relationships/slideLayout"/><Relationship Id="rId12" Target="../slideLayouts/slideLayout64.xml" Type="http://schemas.openxmlformats.org/officeDocument/2006/relationships/slideLayout"/><Relationship Id="rId13" Target="../slideLayouts/slideLayout65.xml" Type="http://schemas.openxmlformats.org/officeDocument/2006/relationships/slideLayout"/><Relationship Id="rId14" Target="../slideLayouts/slideLayout66.xml" Type="http://schemas.openxmlformats.org/officeDocument/2006/relationships/slideLayout"/><Relationship Id="rId15" Target="../theme/theme9.xml" Type="http://schemas.openxmlformats.org/officeDocument/2006/relationships/theme"/><Relationship Id="rId2" Target="../slideLayouts/slideLayout54.xml" Type="http://schemas.openxmlformats.org/officeDocument/2006/relationships/slideLayout"/><Relationship Id="rId3" Target="../slideLayouts/slideLayout55.xml" Type="http://schemas.openxmlformats.org/officeDocument/2006/relationships/slideLayout"/><Relationship Id="rId4" Target="../slideLayouts/slideLayout56.xml" Type="http://schemas.openxmlformats.org/officeDocument/2006/relationships/slideLayout"/><Relationship Id="rId5" Target="../slideLayouts/slideLayout57.xml" Type="http://schemas.openxmlformats.org/officeDocument/2006/relationships/slideLayout"/><Relationship Id="rId6" Target="../slideLayouts/slideLayout58.xml" Type="http://schemas.openxmlformats.org/officeDocument/2006/relationships/slideLayout"/><Relationship Id="rId7" Target="../slideLayouts/slideLayout59.xml" Type="http://schemas.openxmlformats.org/officeDocument/2006/relationships/slideLayout"/><Relationship Id="rId8" Target="../slideLayouts/slideLayout60.xml" Type="http://schemas.openxmlformats.org/officeDocument/2006/relationships/slideLayout"/><Relationship Id="rId9" Target="../slideLayouts/slideLayout61.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95300" y="1600206"/>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193">
                <a:solidFill>
                  <a:srgbClr val="000000"/>
                </a:solidFill>
                <a:latin typeface="Arial" charset="0"/>
                <a:ea typeface="ＭＳ Ｐゴシック" pitchFamily="50" charset="-128"/>
              </a:defRPr>
            </a:lvl1pPr>
          </a:lstStyle>
          <a:p>
            <a:pPr>
              <a:defRPr/>
            </a:pPr>
            <a:endParaRPr lang="en-US" altLang="ja-JP"/>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193">
                <a:solidFill>
                  <a:srgbClr val="000000"/>
                </a:solidFill>
                <a:latin typeface="Arial" charset="0"/>
                <a:ea typeface="ＭＳ Ｐゴシック" pitchFamily="50" charset="-128"/>
              </a:defRPr>
            </a:lvl1pPr>
          </a:lstStyle>
          <a:p>
            <a:pPr>
              <a:defRPr/>
            </a:pPr>
            <a:endParaRPr lang="en-US" altLang="ja-JP"/>
          </a:p>
        </p:txBody>
      </p:sp>
      <p:sp>
        <p:nvSpPr>
          <p:cNvPr id="30725" name="Rectangle 5"/>
          <p:cNvSpPr>
            <a:spLocks noGrp="1" noChangeArrowheads="1"/>
          </p:cNvSpPr>
          <p:nvPr>
            <p:ph type="sldNum" sz="quarter" idx="4"/>
          </p:nvPr>
        </p:nvSpPr>
        <p:spPr bwMode="auto">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193">
                <a:solidFill>
                  <a:srgbClr val="000000"/>
                </a:solidFill>
                <a:latin typeface="Arial" charset="0"/>
                <a:ea typeface="ＭＳ Ｐゴシック" pitchFamily="50" charset="-128"/>
              </a:defRPr>
            </a:lvl1pPr>
          </a:lstStyle>
          <a:p>
            <a:pPr>
              <a:defRPr/>
            </a:pPr>
            <a:fld id="{41D9C5F3-0171-4BEC-8CA7-993AD018E031}" type="slidenum">
              <a:rPr lang="en-US" altLang="ja-JP"/>
              <a:pPr>
                <a:defRPr/>
              </a:pPr>
              <a:t>‹#›</a:t>
            </a:fld>
            <a:endParaRPr lang="en-US" altLang="ja-JP"/>
          </a:p>
        </p:txBody>
      </p:sp>
      <p:sp>
        <p:nvSpPr>
          <p:cNvPr id="1030" name="Rectangle 6"/>
          <p:cNvSpPr>
            <a:spLocks noChangeArrowheads="1"/>
          </p:cNvSpPr>
          <p:nvPr/>
        </p:nvSpPr>
        <p:spPr bwMode="auto">
          <a:xfrm>
            <a:off x="0" y="6"/>
            <a:ext cx="9906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nvGrpSpPr>
          <p:cNvPr id="1031" name="Group 27"/>
          <p:cNvGrpSpPr>
            <a:grpSpLocks/>
          </p:cNvGrpSpPr>
          <p:nvPr/>
        </p:nvGrpSpPr>
        <p:grpSpPr bwMode="auto">
          <a:xfrm>
            <a:off x="0" y="333378"/>
            <a:ext cx="9906000" cy="214313"/>
            <a:chOff x="0" y="255"/>
            <a:chExt cx="6240" cy="135"/>
          </a:xfrm>
        </p:grpSpPr>
        <p:sp>
          <p:nvSpPr>
            <p:cNvPr id="1034"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5"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6"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
        <p:nvSpPr>
          <p:cNvPr id="1032" name="Rectangle 22"/>
          <p:cNvSpPr>
            <a:spLocks noGrp="1" noChangeArrowheads="1"/>
          </p:cNvSpPr>
          <p:nvPr>
            <p:ph type="title"/>
          </p:nvPr>
        </p:nvSpPr>
        <p:spPr bwMode="auto">
          <a:xfrm>
            <a:off x="2" y="0"/>
            <a:ext cx="8266113"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pic>
        <p:nvPicPr>
          <p:cNvPr id="13" name="Picture 32" descr="ppjtitle"/>
          <p:cNvPicPr/>
          <p:nvPr userDrawn="1"/>
        </p:nvPicPr>
        <p:blipFill>
          <a:blip r:embed="rId5"/>
          <a:srcRect l="1758" r="81940" b="42699"/>
          <a:stretch>
            <a:fillRect/>
          </a:stretch>
        </p:blipFill>
        <p:spPr>
          <a:xfrm>
            <a:off x="8697960" y="0"/>
            <a:ext cx="1207800" cy="334440"/>
          </a:xfrm>
          <a:prstGeom prst="rect">
            <a:avLst/>
          </a:prstGeom>
          <a:ln>
            <a:noFill/>
          </a:ln>
        </p:spPr>
      </p:pic>
    </p:spTree>
    <p:extLst>
      <p:ext uri="{BB962C8B-B14F-4D97-AF65-F5344CB8AC3E}">
        <p14:creationId xmlns:p14="http://schemas.microsoft.com/office/powerpoint/2010/main" val="398703128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hdr="0" ftr="0" dt="0"/>
  <p:txStyles>
    <p:titleStyle>
      <a:lvl1pPr algn="l" rtl="0" eaLnBrk="0" fontAlgn="base" hangingPunct="0">
        <a:spcBef>
          <a:spcPct val="0"/>
        </a:spcBef>
        <a:spcAft>
          <a:spcPct val="0"/>
        </a:spcAft>
        <a:defRPr kumimoji="1" sz="2200" b="1">
          <a:solidFill>
            <a:schemeClr val="tx1"/>
          </a:solidFill>
          <a:latin typeface="メイリオ" panose="020B0604030504040204" pitchFamily="50" charset="-128"/>
          <a:ea typeface="メイリオ" panose="020B0604030504040204" pitchFamily="50" charset="-128"/>
          <a:cs typeface="+mj-cs"/>
        </a:defRPr>
      </a:lvl1pPr>
      <a:lvl2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5pPr>
      <a:lvl6pPr marL="389586"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6pPr>
      <a:lvl7pPr marL="779173"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7pPr>
      <a:lvl8pPr marL="1168759"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8pPr>
      <a:lvl9pPr marL="1558345"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9pPr>
    </p:titleStyle>
    <p:bodyStyle>
      <a:lvl1pPr marL="292190" indent="-292190" algn="l" rtl="0" eaLnBrk="0" fontAlgn="base" hangingPunct="0">
        <a:spcBef>
          <a:spcPct val="20000"/>
        </a:spcBef>
        <a:spcAft>
          <a:spcPct val="0"/>
        </a:spcAft>
        <a:buChar char="•"/>
        <a:defRPr kumimoji="1" sz="2727">
          <a:solidFill>
            <a:schemeClr val="tx1"/>
          </a:solidFill>
          <a:latin typeface="+mn-lt"/>
          <a:ea typeface="ＭＳ Ｐゴシック" pitchFamily="50" charset="-128"/>
          <a:cs typeface="+mn-cs"/>
        </a:defRPr>
      </a:lvl1pPr>
      <a:lvl2pPr marL="633078" indent="-243492" algn="l" rtl="0" eaLnBrk="0" fontAlgn="base" hangingPunct="0">
        <a:spcBef>
          <a:spcPct val="20000"/>
        </a:spcBef>
        <a:spcAft>
          <a:spcPct val="0"/>
        </a:spcAft>
        <a:buChar char="–"/>
        <a:defRPr kumimoji="1" sz="2386">
          <a:solidFill>
            <a:schemeClr val="tx1"/>
          </a:solidFill>
          <a:latin typeface="+mn-lt"/>
          <a:ea typeface="ＭＳ Ｐゴシック" pitchFamily="50" charset="-128"/>
        </a:defRPr>
      </a:lvl2pPr>
      <a:lvl3pPr marL="973966" indent="-194793" algn="l" rtl="0" eaLnBrk="0" fontAlgn="base" hangingPunct="0">
        <a:spcBef>
          <a:spcPct val="20000"/>
        </a:spcBef>
        <a:spcAft>
          <a:spcPct val="0"/>
        </a:spcAft>
        <a:buChar char="•"/>
        <a:defRPr kumimoji="1" sz="2045">
          <a:solidFill>
            <a:schemeClr val="tx1"/>
          </a:solidFill>
          <a:latin typeface="+mn-lt"/>
          <a:ea typeface="ＭＳ Ｐゴシック" pitchFamily="50" charset="-128"/>
        </a:defRPr>
      </a:lvl3pPr>
      <a:lvl4pPr marL="1363553"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4pPr>
      <a:lvl5pPr marL="1753139"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5pPr>
      <a:lvl6pPr marL="2142725" indent="-194793" algn="l" rtl="0" fontAlgn="base">
        <a:spcBef>
          <a:spcPct val="20000"/>
        </a:spcBef>
        <a:spcAft>
          <a:spcPct val="0"/>
        </a:spcAft>
        <a:buChar char="»"/>
        <a:defRPr kumimoji="1" sz="1704">
          <a:solidFill>
            <a:schemeClr val="tx1"/>
          </a:solidFill>
          <a:latin typeface="+mn-lt"/>
          <a:ea typeface="+mn-ea"/>
        </a:defRPr>
      </a:lvl6pPr>
      <a:lvl7pPr marL="2532312" indent="-194793" algn="l" rtl="0" fontAlgn="base">
        <a:spcBef>
          <a:spcPct val="20000"/>
        </a:spcBef>
        <a:spcAft>
          <a:spcPct val="0"/>
        </a:spcAft>
        <a:buChar char="»"/>
        <a:defRPr kumimoji="1" sz="1704">
          <a:solidFill>
            <a:schemeClr val="tx1"/>
          </a:solidFill>
          <a:latin typeface="+mn-lt"/>
          <a:ea typeface="+mn-ea"/>
        </a:defRPr>
      </a:lvl7pPr>
      <a:lvl8pPr marL="2921898" indent="-194793" algn="l" rtl="0" fontAlgn="base">
        <a:spcBef>
          <a:spcPct val="20000"/>
        </a:spcBef>
        <a:spcAft>
          <a:spcPct val="0"/>
        </a:spcAft>
        <a:buChar char="»"/>
        <a:defRPr kumimoji="1" sz="1704">
          <a:solidFill>
            <a:schemeClr val="tx1"/>
          </a:solidFill>
          <a:latin typeface="+mn-lt"/>
          <a:ea typeface="+mn-ea"/>
        </a:defRPr>
      </a:lvl8pPr>
      <a:lvl9pPr marL="3311484" indent="-194793" algn="l" rtl="0" fontAlgn="base">
        <a:spcBef>
          <a:spcPct val="20000"/>
        </a:spcBef>
        <a:spcAft>
          <a:spcPct val="0"/>
        </a:spcAft>
        <a:buChar char="»"/>
        <a:defRPr kumimoji="1" sz="1704">
          <a:solidFill>
            <a:schemeClr val="tx1"/>
          </a:solidFill>
          <a:latin typeface="+mn-lt"/>
          <a:ea typeface="+mn-ea"/>
        </a:defRPr>
      </a:lvl9pPr>
    </p:bodyStyle>
    <p:otherStyle>
      <a:defPPr>
        <a:defRPr lang="ja-JP"/>
      </a:defPPr>
      <a:lvl1pPr marL="0" algn="l" defTabSz="779173" rtl="0" eaLnBrk="1" latinLnBrk="0" hangingPunct="1">
        <a:defRPr kumimoji="1" sz="1534" kern="1200">
          <a:solidFill>
            <a:schemeClr val="tx1"/>
          </a:solidFill>
          <a:latin typeface="+mn-lt"/>
          <a:ea typeface="+mn-ea"/>
          <a:cs typeface="+mn-cs"/>
        </a:defRPr>
      </a:lvl1pPr>
      <a:lvl2pPr marL="389586" algn="l" defTabSz="779173" rtl="0" eaLnBrk="1" latinLnBrk="0" hangingPunct="1">
        <a:defRPr kumimoji="1" sz="1534" kern="1200">
          <a:solidFill>
            <a:schemeClr val="tx1"/>
          </a:solidFill>
          <a:latin typeface="+mn-lt"/>
          <a:ea typeface="+mn-ea"/>
          <a:cs typeface="+mn-cs"/>
        </a:defRPr>
      </a:lvl2pPr>
      <a:lvl3pPr marL="779173" algn="l" defTabSz="779173" rtl="0" eaLnBrk="1" latinLnBrk="0" hangingPunct="1">
        <a:defRPr kumimoji="1" sz="1534" kern="1200">
          <a:solidFill>
            <a:schemeClr val="tx1"/>
          </a:solidFill>
          <a:latin typeface="+mn-lt"/>
          <a:ea typeface="+mn-ea"/>
          <a:cs typeface="+mn-cs"/>
        </a:defRPr>
      </a:lvl3pPr>
      <a:lvl4pPr marL="1168759" algn="l" defTabSz="779173" rtl="0" eaLnBrk="1" latinLnBrk="0" hangingPunct="1">
        <a:defRPr kumimoji="1" sz="1534" kern="1200">
          <a:solidFill>
            <a:schemeClr val="tx1"/>
          </a:solidFill>
          <a:latin typeface="+mn-lt"/>
          <a:ea typeface="+mn-ea"/>
          <a:cs typeface="+mn-cs"/>
        </a:defRPr>
      </a:lvl4pPr>
      <a:lvl5pPr marL="1558345" algn="l" defTabSz="779173" rtl="0" eaLnBrk="1" latinLnBrk="0" hangingPunct="1">
        <a:defRPr kumimoji="1" sz="1534" kern="1200">
          <a:solidFill>
            <a:schemeClr val="tx1"/>
          </a:solidFill>
          <a:latin typeface="+mn-lt"/>
          <a:ea typeface="+mn-ea"/>
          <a:cs typeface="+mn-cs"/>
        </a:defRPr>
      </a:lvl5pPr>
      <a:lvl6pPr marL="1947932" algn="l" defTabSz="779173" rtl="0" eaLnBrk="1" latinLnBrk="0" hangingPunct="1">
        <a:defRPr kumimoji="1" sz="1534" kern="1200">
          <a:solidFill>
            <a:schemeClr val="tx1"/>
          </a:solidFill>
          <a:latin typeface="+mn-lt"/>
          <a:ea typeface="+mn-ea"/>
          <a:cs typeface="+mn-cs"/>
        </a:defRPr>
      </a:lvl6pPr>
      <a:lvl7pPr marL="2337518" algn="l" defTabSz="779173" rtl="0" eaLnBrk="1" latinLnBrk="0" hangingPunct="1">
        <a:defRPr kumimoji="1" sz="1534" kern="1200">
          <a:solidFill>
            <a:schemeClr val="tx1"/>
          </a:solidFill>
          <a:latin typeface="+mn-lt"/>
          <a:ea typeface="+mn-ea"/>
          <a:cs typeface="+mn-cs"/>
        </a:defRPr>
      </a:lvl7pPr>
      <a:lvl8pPr marL="2727104" algn="l" defTabSz="779173" rtl="0" eaLnBrk="1" latinLnBrk="0" hangingPunct="1">
        <a:defRPr kumimoji="1" sz="1534" kern="1200">
          <a:solidFill>
            <a:schemeClr val="tx1"/>
          </a:solidFill>
          <a:latin typeface="+mn-lt"/>
          <a:ea typeface="+mn-ea"/>
          <a:cs typeface="+mn-cs"/>
        </a:defRPr>
      </a:lvl8pPr>
      <a:lvl9pPr marL="3116691" algn="l" defTabSz="779173" rtl="0" eaLnBrk="1" latinLnBrk="0" hangingPunct="1">
        <a:defRPr kumimoji="1" sz="1534"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bwMode="auto">
          <a:xfrm>
            <a:off x="495300" y="1600204"/>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92">
                <a:latin typeface="Arial" charset="0"/>
                <a:ea typeface="ＭＳ Ｐゴシック" pitchFamily="50" charset="-128"/>
              </a:defRPr>
            </a:lvl1pPr>
          </a:lstStyle>
          <a:p>
            <a:pPr>
              <a:defRPr/>
            </a:pPr>
            <a:fld id="{6F543B4F-0A5C-40C6-8374-1E1B6E6FB4F3}" type="datetime1">
              <a:rPr lang="ja-JP" altLang="en-US" smtClean="0">
                <a:solidFill>
                  <a:srgbClr val="000000"/>
                </a:solidFill>
              </a:rPr>
              <a:t>2025/3/11</a:t>
            </a:fld>
            <a:endParaRPr lang="en-US" altLang="ja-JP">
              <a:solidFill>
                <a:srgbClr val="000000"/>
              </a:solidFill>
            </a:endParaRPr>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92">
                <a:latin typeface="Arial" charset="0"/>
                <a:ea typeface="ＭＳ Ｐゴシック" pitchFamily="50" charset="-128"/>
              </a:defRPr>
            </a:lvl1pPr>
          </a:lstStyle>
          <a:p>
            <a:pPr>
              <a:defRPr/>
            </a:pPr>
            <a:endParaRPr lang="en-US" altLang="ja-JP">
              <a:solidFill>
                <a:srgbClr val="000000"/>
              </a:solidFill>
            </a:endParaRPr>
          </a:p>
        </p:txBody>
      </p:sp>
      <p:sp>
        <p:nvSpPr>
          <p:cNvPr id="30725" name="Rectangle 5"/>
          <p:cNvSpPr>
            <a:spLocks noGrp="1" noChangeArrowheads="1"/>
          </p:cNvSpPr>
          <p:nvPr>
            <p:ph type="sldNum" sz="quarter" idx="4"/>
          </p:nvPr>
        </p:nvSpPr>
        <p:spPr bwMode="auto">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92">
                <a:latin typeface="Arial" charset="0"/>
                <a:ea typeface="ＭＳ Ｐゴシック" pitchFamily="50" charset="-128"/>
              </a:defRPr>
            </a:lvl1pPr>
          </a:lstStyle>
          <a:p>
            <a:pPr>
              <a:defRPr/>
            </a:pPr>
            <a:fld id="{0236B547-3939-4448-B510-15C4227AECE5}" type="slidenum">
              <a:rPr lang="en-US" altLang="ja-JP">
                <a:solidFill>
                  <a:srgbClr val="000000"/>
                </a:solidFill>
              </a:rPr>
              <a:pPr>
                <a:defRPr/>
              </a:pPr>
              <a:t>‹#›</a:t>
            </a:fld>
            <a:endParaRPr lang="en-US" altLang="ja-JP">
              <a:solidFill>
                <a:srgbClr val="000000"/>
              </a:solidFill>
            </a:endParaRPr>
          </a:p>
        </p:txBody>
      </p:sp>
      <p:sp>
        <p:nvSpPr>
          <p:cNvPr id="30726" name="Rectangle 6"/>
          <p:cNvSpPr>
            <a:spLocks noChangeArrowheads="1"/>
          </p:cNvSpPr>
          <p:nvPr/>
        </p:nvSpPr>
        <p:spPr bwMode="auto">
          <a:xfrm>
            <a:off x="0" y="2"/>
            <a:ext cx="9906000" cy="366713"/>
          </a:xfrm>
          <a:prstGeom prst="rect">
            <a:avLst/>
          </a:prstGeom>
          <a:noFill/>
          <a:ln w="9525" algn="ctr">
            <a:noFill/>
            <a:miter lim="800000"/>
            <a:headEnd/>
            <a:tailEnd/>
          </a:ln>
          <a:effectLst/>
        </p:spPr>
        <p:txBody>
          <a:bodyPr wrap="none" anchor="ctr"/>
          <a:lstStyle/>
          <a:p>
            <a:pPr>
              <a:defRPr/>
            </a:pPr>
            <a:endParaRPr lang="ja-JP" altLang="en-US">
              <a:solidFill>
                <a:srgbClr val="000000"/>
              </a:solidFill>
              <a:latin typeface="Arial"/>
              <a:ea typeface="ＭＳ Ｐゴシック"/>
            </a:endParaRPr>
          </a:p>
        </p:txBody>
      </p:sp>
      <p:grpSp>
        <p:nvGrpSpPr>
          <p:cNvPr id="2" name="Group 27"/>
          <p:cNvGrpSpPr>
            <a:grpSpLocks/>
          </p:cNvGrpSpPr>
          <p:nvPr/>
        </p:nvGrpSpPr>
        <p:grpSpPr bwMode="auto">
          <a:xfrm>
            <a:off x="0" y="333378"/>
            <a:ext cx="9906000" cy="214313"/>
            <a:chOff x="0" y="255"/>
            <a:chExt cx="6240" cy="135"/>
          </a:xfrm>
        </p:grpSpPr>
        <p:sp>
          <p:nvSpPr>
            <p:cNvPr id="30748" name="Rectangle 28"/>
            <p:cNvSpPr>
              <a:spLocks noChangeArrowheads="1"/>
            </p:cNvSpPr>
            <p:nvPr userDrawn="1"/>
          </p:nvSpPr>
          <p:spPr bwMode="auto">
            <a:xfrm>
              <a:off x="0" y="345"/>
              <a:ext cx="6240" cy="45"/>
            </a:xfrm>
            <a:prstGeom prst="rect">
              <a:avLst/>
            </a:prstGeom>
            <a:solidFill>
              <a:srgbClr val="FF0000"/>
            </a:solidFill>
            <a:ln w="9525" algn="ctr">
              <a:noFill/>
              <a:miter lim="800000"/>
              <a:headEnd/>
              <a:tailEnd/>
            </a:ln>
            <a:effectLst/>
          </p:spPr>
          <p:txBody>
            <a:bodyPr wrap="none" anchor="ctr"/>
            <a:lstStyle/>
            <a:p>
              <a:pPr>
                <a:defRPr/>
              </a:pPr>
              <a:endParaRPr lang="ja-JP" altLang="en-US">
                <a:solidFill>
                  <a:srgbClr val="000000"/>
                </a:solidFill>
                <a:latin typeface="Arial"/>
                <a:ea typeface="ＭＳ Ｐゴシック"/>
              </a:endParaRPr>
            </a:p>
          </p:txBody>
        </p:sp>
        <p:sp>
          <p:nvSpPr>
            <p:cNvPr id="30749" name="Rectangle 29"/>
            <p:cNvSpPr>
              <a:spLocks noChangeArrowheads="1"/>
            </p:cNvSpPr>
            <p:nvPr userDrawn="1"/>
          </p:nvSpPr>
          <p:spPr bwMode="auto">
            <a:xfrm>
              <a:off x="0" y="300"/>
              <a:ext cx="6240" cy="45"/>
            </a:xfrm>
            <a:prstGeom prst="rect">
              <a:avLst/>
            </a:prstGeom>
            <a:solidFill>
              <a:srgbClr val="FF3399"/>
            </a:solidFill>
            <a:ln w="9525" algn="ctr">
              <a:noFill/>
              <a:miter lim="800000"/>
              <a:headEnd/>
              <a:tailEnd/>
            </a:ln>
            <a:effectLst/>
          </p:spPr>
          <p:txBody>
            <a:bodyPr wrap="none" anchor="ctr"/>
            <a:lstStyle/>
            <a:p>
              <a:pPr>
                <a:defRPr/>
              </a:pPr>
              <a:endParaRPr lang="ja-JP" altLang="en-US">
                <a:solidFill>
                  <a:srgbClr val="000000"/>
                </a:solidFill>
                <a:latin typeface="Arial"/>
                <a:ea typeface="ＭＳ Ｐゴシック"/>
              </a:endParaRPr>
            </a:p>
          </p:txBody>
        </p:sp>
        <p:sp>
          <p:nvSpPr>
            <p:cNvPr id="30750" name="Rectangle 30"/>
            <p:cNvSpPr>
              <a:spLocks noChangeArrowheads="1"/>
            </p:cNvSpPr>
            <p:nvPr userDrawn="1"/>
          </p:nvSpPr>
          <p:spPr bwMode="auto">
            <a:xfrm>
              <a:off x="0" y="255"/>
              <a:ext cx="6240" cy="45"/>
            </a:xfrm>
            <a:prstGeom prst="rect">
              <a:avLst/>
            </a:prstGeom>
            <a:solidFill>
              <a:srgbClr val="FFCCFF"/>
            </a:solidFill>
            <a:ln w="9525" algn="ctr">
              <a:noFill/>
              <a:miter lim="800000"/>
              <a:headEnd/>
              <a:tailEnd/>
            </a:ln>
            <a:effectLst/>
          </p:spPr>
          <p:txBody>
            <a:bodyPr wrap="none" anchor="ctr"/>
            <a:lstStyle/>
            <a:p>
              <a:pPr>
                <a:defRPr/>
              </a:pPr>
              <a:endParaRPr lang="ja-JP" altLang="en-US">
                <a:solidFill>
                  <a:srgbClr val="000000"/>
                </a:solidFill>
                <a:latin typeface="Arial"/>
                <a:ea typeface="ＭＳ Ｐゴシック"/>
              </a:endParaRPr>
            </a:p>
          </p:txBody>
        </p:sp>
      </p:grpSp>
      <p:sp>
        <p:nvSpPr>
          <p:cNvPr id="7176" name="Rectangle 22"/>
          <p:cNvSpPr>
            <a:spLocks noGrp="1" noChangeArrowheads="1"/>
          </p:cNvSpPr>
          <p:nvPr>
            <p:ph type="title"/>
          </p:nvPr>
        </p:nvSpPr>
        <p:spPr bwMode="auto">
          <a:xfrm>
            <a:off x="1" y="0"/>
            <a:ext cx="8266113"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7177" name="Picture 32" descr="ppjtitle"/>
          <p:cNvPicPr>
            <a:picLocks noChangeAspect="1" noChangeArrowheads="1"/>
          </p:cNvPicPr>
          <p:nvPr/>
        </p:nvPicPr>
        <p:blipFill>
          <a:blip r:embed="rId4" cstate="print"/>
          <a:srcRect/>
          <a:stretch>
            <a:fillRect/>
          </a:stretch>
        </p:blipFill>
        <p:spPr bwMode="auto">
          <a:xfrm>
            <a:off x="8697916" y="2"/>
            <a:ext cx="1208087" cy="334963"/>
          </a:xfrm>
          <a:prstGeom prst="rect">
            <a:avLst/>
          </a:prstGeom>
          <a:noFill/>
          <a:ln w="9525">
            <a:noFill/>
            <a:miter lim="800000"/>
            <a:headEnd/>
            <a:tailEnd/>
          </a:ln>
        </p:spPr>
      </p:pic>
    </p:spTree>
    <p:extLst>
      <p:ext uri="{BB962C8B-B14F-4D97-AF65-F5344CB8AC3E}">
        <p14:creationId xmlns:p14="http://schemas.microsoft.com/office/powerpoint/2010/main" val="3360167253"/>
      </p:ext>
    </p:extLst>
  </p:cSld>
  <p:clrMap bg1="lt1" tx1="dk1" bg2="lt2" tx2="dk2" accent1="accent1" accent2="accent2" accent3="accent3" accent4="accent4" accent5="accent5" accent6="accent6" hlink="hlink" folHlink="folHlink"/>
  <p:sldLayoutIdLst>
    <p:sldLayoutId id="2147483751" r:id="rId1"/>
    <p:sldLayoutId id="2147483752" r:id="rId2"/>
  </p:sldLayoutIdLst>
  <p:hf hdr="0" ftr="0" dt="0"/>
  <p:txStyles>
    <p:titleStyle>
      <a:lvl1pPr algn="l" rtl="0" eaLnBrk="0" fontAlgn="base" hangingPunct="0">
        <a:spcBef>
          <a:spcPct val="0"/>
        </a:spcBef>
        <a:spcAft>
          <a:spcPct val="0"/>
        </a:spcAft>
        <a:defRPr kumimoji="1" sz="2585">
          <a:solidFill>
            <a:schemeClr val="tx1"/>
          </a:solidFill>
          <a:latin typeface="+mj-lt"/>
          <a:ea typeface="+mj-ea"/>
          <a:cs typeface="+mj-cs"/>
        </a:defRPr>
      </a:lvl1pPr>
      <a:lvl2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5pPr>
      <a:lvl6pPr marL="422041"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6pPr>
      <a:lvl7pPr marL="844083"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7pPr>
      <a:lvl8pPr marL="1266124"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8pPr>
      <a:lvl9pPr marL="1688165"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9pPr>
    </p:titleStyle>
    <p:bodyStyle>
      <a:lvl1pPr marL="316531" indent="-316531" algn="l" rtl="0" eaLnBrk="0" fontAlgn="base" hangingPunct="0">
        <a:spcBef>
          <a:spcPct val="20000"/>
        </a:spcBef>
        <a:spcAft>
          <a:spcPct val="0"/>
        </a:spcAft>
        <a:buChar char="•"/>
        <a:defRPr kumimoji="1" sz="2954">
          <a:solidFill>
            <a:schemeClr val="tx1"/>
          </a:solidFill>
          <a:latin typeface="+mn-lt"/>
          <a:ea typeface="ＭＳ Ｐゴシック" pitchFamily="50" charset="-128"/>
          <a:cs typeface="+mn-cs"/>
        </a:defRPr>
      </a:lvl1pPr>
      <a:lvl2pPr marL="685817" indent="-263776" algn="l" rtl="0" eaLnBrk="0" fontAlgn="base" hangingPunct="0">
        <a:spcBef>
          <a:spcPct val="20000"/>
        </a:spcBef>
        <a:spcAft>
          <a:spcPct val="0"/>
        </a:spcAft>
        <a:buChar char="–"/>
        <a:defRPr kumimoji="1" sz="2585">
          <a:solidFill>
            <a:schemeClr val="tx1"/>
          </a:solidFill>
          <a:latin typeface="+mn-lt"/>
          <a:ea typeface="ＭＳ Ｐゴシック" pitchFamily="50" charset="-128"/>
        </a:defRPr>
      </a:lvl2pPr>
      <a:lvl3pPr marL="1055103" indent="-211021" algn="l" rtl="0" eaLnBrk="0" fontAlgn="base" hangingPunct="0">
        <a:spcBef>
          <a:spcPct val="20000"/>
        </a:spcBef>
        <a:spcAft>
          <a:spcPct val="0"/>
        </a:spcAft>
        <a:buChar char="•"/>
        <a:defRPr kumimoji="1" sz="2215">
          <a:solidFill>
            <a:schemeClr val="tx1"/>
          </a:solidFill>
          <a:latin typeface="+mn-lt"/>
          <a:ea typeface="ＭＳ Ｐゴシック" pitchFamily="50" charset="-128"/>
        </a:defRPr>
      </a:lvl3pPr>
      <a:lvl4pPr marL="1477145" indent="-211021" algn="l" rtl="0" eaLnBrk="0" fontAlgn="base" hangingPunct="0">
        <a:spcBef>
          <a:spcPct val="20000"/>
        </a:spcBef>
        <a:spcAft>
          <a:spcPct val="0"/>
        </a:spcAft>
        <a:buChar char="–"/>
        <a:defRPr kumimoji="1" sz="1846">
          <a:solidFill>
            <a:schemeClr val="tx1"/>
          </a:solidFill>
          <a:latin typeface="+mn-lt"/>
          <a:ea typeface="ＭＳ Ｐゴシック" pitchFamily="50" charset="-128"/>
        </a:defRPr>
      </a:lvl4pPr>
      <a:lvl5pPr marL="1899186" indent="-211021" algn="l" rtl="0" eaLnBrk="0" fontAlgn="base" hangingPunct="0">
        <a:spcBef>
          <a:spcPct val="20000"/>
        </a:spcBef>
        <a:spcAft>
          <a:spcPct val="0"/>
        </a:spcAft>
        <a:buChar char="»"/>
        <a:defRPr kumimoji="1" sz="1846">
          <a:solidFill>
            <a:schemeClr val="tx1"/>
          </a:solidFill>
          <a:latin typeface="+mn-lt"/>
          <a:ea typeface="ＭＳ Ｐゴシック" pitchFamily="50" charset="-128"/>
        </a:defRPr>
      </a:lvl5pPr>
      <a:lvl6pPr marL="2321227" indent="-211021" algn="l" rtl="0" fontAlgn="base">
        <a:spcBef>
          <a:spcPct val="20000"/>
        </a:spcBef>
        <a:spcAft>
          <a:spcPct val="0"/>
        </a:spcAft>
        <a:buChar char="»"/>
        <a:defRPr kumimoji="1" sz="1846">
          <a:solidFill>
            <a:schemeClr val="tx1"/>
          </a:solidFill>
          <a:latin typeface="+mn-lt"/>
          <a:ea typeface="+mn-ea"/>
        </a:defRPr>
      </a:lvl6pPr>
      <a:lvl7pPr marL="2743269" indent="-211021" algn="l" rtl="0" fontAlgn="base">
        <a:spcBef>
          <a:spcPct val="20000"/>
        </a:spcBef>
        <a:spcAft>
          <a:spcPct val="0"/>
        </a:spcAft>
        <a:buChar char="»"/>
        <a:defRPr kumimoji="1" sz="1846">
          <a:solidFill>
            <a:schemeClr val="tx1"/>
          </a:solidFill>
          <a:latin typeface="+mn-lt"/>
          <a:ea typeface="+mn-ea"/>
        </a:defRPr>
      </a:lvl7pPr>
      <a:lvl8pPr marL="3165310" indent="-211021" algn="l" rtl="0" fontAlgn="base">
        <a:spcBef>
          <a:spcPct val="20000"/>
        </a:spcBef>
        <a:spcAft>
          <a:spcPct val="0"/>
        </a:spcAft>
        <a:buChar char="»"/>
        <a:defRPr kumimoji="1" sz="1846">
          <a:solidFill>
            <a:schemeClr val="tx1"/>
          </a:solidFill>
          <a:latin typeface="+mn-lt"/>
          <a:ea typeface="+mn-ea"/>
        </a:defRPr>
      </a:lvl8pPr>
      <a:lvl9pPr marL="3587351" indent="-211021"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3" name="グループ化 12"/>
          <p:cNvGrpSpPr>
            <a:grpSpLocks noChangeAspect="1"/>
          </p:cNvGrpSpPr>
          <p:nvPr userDrawn="1"/>
        </p:nvGrpSpPr>
        <p:grpSpPr>
          <a:xfrm>
            <a:off x="8763198" y="9625"/>
            <a:ext cx="1134000" cy="314126"/>
            <a:chOff x="4624168" y="4098236"/>
            <a:chExt cx="2957141" cy="819150"/>
          </a:xfrm>
        </p:grpSpPr>
        <p:sp>
          <p:nvSpPr>
            <p:cNvPr id="14" name="フリーフォーム: 図形 8"/>
            <p:cNvSpPr/>
            <p:nvPr/>
          </p:nvSpPr>
          <p:spPr>
            <a:xfrm>
              <a:off x="4624168" y="4098236"/>
              <a:ext cx="971550"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a:p>
          </p:txBody>
        </p:sp>
        <p:sp>
          <p:nvSpPr>
            <p:cNvPr id="15" name="フリーフォーム: 図形 9"/>
            <p:cNvSpPr/>
            <p:nvPr/>
          </p:nvSpPr>
          <p:spPr>
            <a:xfrm>
              <a:off x="7190784" y="4524946"/>
              <a:ext cx="390525" cy="352425"/>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a:p>
          </p:txBody>
        </p:sp>
        <p:sp>
          <p:nvSpPr>
            <p:cNvPr id="16" name="フリーフォーム: 図形 10"/>
            <p:cNvSpPr/>
            <p:nvPr/>
          </p:nvSpPr>
          <p:spPr>
            <a:xfrm>
              <a:off x="7103392" y="4363774"/>
              <a:ext cx="476250" cy="514350"/>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a:p>
          </p:txBody>
        </p:sp>
        <p:sp>
          <p:nvSpPr>
            <p:cNvPr id="17" name="フリーフォーム: 図形 11"/>
            <p:cNvSpPr/>
            <p:nvPr/>
          </p:nvSpPr>
          <p:spPr>
            <a:xfrm>
              <a:off x="6484267" y="4397940"/>
              <a:ext cx="476250" cy="476250"/>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a:p>
          </p:txBody>
        </p:sp>
        <p:sp>
          <p:nvSpPr>
            <p:cNvPr id="18" name="フリーフォーム: 図形 12"/>
            <p:cNvSpPr/>
            <p:nvPr/>
          </p:nvSpPr>
          <p:spPr>
            <a:xfrm>
              <a:off x="6793496" y="4397940"/>
              <a:ext cx="142875"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a:p>
          </p:txBody>
        </p:sp>
        <p:sp>
          <p:nvSpPr>
            <p:cNvPr id="19" name="フリーフォーム: 図形 13"/>
            <p:cNvSpPr/>
            <p:nvPr/>
          </p:nvSpPr>
          <p:spPr>
            <a:xfrm>
              <a:off x="6513375" y="4397940"/>
              <a:ext cx="142875"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a:p>
          </p:txBody>
        </p:sp>
        <p:sp>
          <p:nvSpPr>
            <p:cNvPr id="20" name="フリーフォーム: 図形 14"/>
            <p:cNvSpPr/>
            <p:nvPr/>
          </p:nvSpPr>
          <p:spPr>
            <a:xfrm>
              <a:off x="6150387" y="4397940"/>
              <a:ext cx="219075" cy="476250"/>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a:p>
          </p:txBody>
        </p:sp>
        <p:sp>
          <p:nvSpPr>
            <p:cNvPr id="21" name="フリーフォーム: 図形 15"/>
            <p:cNvSpPr/>
            <p:nvPr/>
          </p:nvSpPr>
          <p:spPr>
            <a:xfrm>
              <a:off x="5863313" y="4363783"/>
              <a:ext cx="285750" cy="514350"/>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a:p>
          </p:txBody>
        </p:sp>
        <p:sp>
          <p:nvSpPr>
            <p:cNvPr id="22" name="フリーフォーム: 図形 16"/>
            <p:cNvSpPr/>
            <p:nvPr/>
          </p:nvSpPr>
          <p:spPr>
            <a:xfrm>
              <a:off x="5899880" y="4139269"/>
              <a:ext cx="190500" cy="200025"/>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a:p>
          </p:txBody>
        </p:sp>
        <p:sp>
          <p:nvSpPr>
            <p:cNvPr id="23" name="フリーフォーム: 図形 17"/>
            <p:cNvSpPr/>
            <p:nvPr/>
          </p:nvSpPr>
          <p:spPr>
            <a:xfrm>
              <a:off x="6114792" y="4129592"/>
              <a:ext cx="200025" cy="200025"/>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a:p>
          </p:txBody>
        </p:sp>
        <p:sp>
          <p:nvSpPr>
            <p:cNvPr id="24" name="フリーフォーム: 図形 18"/>
            <p:cNvSpPr/>
            <p:nvPr/>
          </p:nvSpPr>
          <p:spPr>
            <a:xfrm>
              <a:off x="6335839" y="4129592"/>
              <a:ext cx="209550" cy="200025"/>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a:p>
          </p:txBody>
        </p:sp>
        <p:sp>
          <p:nvSpPr>
            <p:cNvPr id="25" name="フリーフォーム: 図形 19"/>
            <p:cNvSpPr/>
            <p:nvPr/>
          </p:nvSpPr>
          <p:spPr>
            <a:xfrm>
              <a:off x="6554514" y="4131697"/>
              <a:ext cx="209550" cy="200025"/>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a:p>
          </p:txBody>
        </p:sp>
        <p:sp>
          <p:nvSpPr>
            <p:cNvPr id="26" name="フリーフォーム: 図形 20"/>
            <p:cNvSpPr/>
            <p:nvPr/>
          </p:nvSpPr>
          <p:spPr>
            <a:xfrm>
              <a:off x="6776113" y="4130182"/>
              <a:ext cx="209550" cy="200025"/>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a:p>
          </p:txBody>
        </p:sp>
      </p:grpSp>
      <p:sp>
        <p:nvSpPr>
          <p:cNvPr id="1025" name="Rectangle 2"/>
          <p:cNvSpPr>
            <a:spLocks noGrp="1" noChangeArrowheads="1"/>
          </p:cNvSpPr>
          <p:nvPr>
            <p:ph type="body" idx="1"/>
          </p:nvPr>
        </p:nvSpPr>
        <p:spPr>
          <a:xfrm>
            <a:off x="495300" y="1600200"/>
            <a:ext cx="8915400" cy="4525963"/>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3"/>
          <p:cNvSpPr>
            <a:spLocks noGrp="1" noChangeArrowheads="1"/>
          </p:cNvSpPr>
          <p:nvPr>
            <p:ph type="dt" sz="half" idx="2"/>
          </p:nvPr>
        </p:nvSpPr>
        <p:spPr>
          <a:xfrm>
            <a:off x="0" y="6570000"/>
            <a:ext cx="2311400" cy="2880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l" eaLnBrk="1" hangingPunct="1">
              <a:defRPr sz="1000">
                <a:solidFill>
                  <a:schemeClr val="tx1">
                    <a:lumMod val="85000"/>
                    <a:lumOff val="15000"/>
                  </a:schemeClr>
                </a:solidFill>
                <a:latin typeface="+mn-ea"/>
                <a:ea typeface="+mn-ea"/>
              </a:defRPr>
            </a:lvl1pPr>
          </a:lstStyle>
          <a:p>
            <a:pPr>
              <a:defRPr/>
            </a:pPr>
            <a:endParaRPr lang="en-US" altLang="ja-JP" dirty="0"/>
          </a:p>
        </p:txBody>
      </p:sp>
      <p:sp>
        <p:nvSpPr>
          <p:cNvPr id="1027" name="Rectangle 4"/>
          <p:cNvSpPr>
            <a:spLocks noGrp="1" noChangeArrowheads="1"/>
          </p:cNvSpPr>
          <p:nvPr>
            <p:ph type="ftr" sz="quarter" idx="3"/>
          </p:nvPr>
        </p:nvSpPr>
        <p:spPr>
          <a:xfrm>
            <a:off x="3384550" y="6577937"/>
            <a:ext cx="3136900" cy="2880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ctr" eaLnBrk="1" hangingPunct="1">
              <a:defRPr sz="1000">
                <a:solidFill>
                  <a:schemeClr val="tx1">
                    <a:lumMod val="85000"/>
                    <a:lumOff val="15000"/>
                  </a:schemeClr>
                </a:solidFill>
                <a:latin typeface="+mn-ea"/>
                <a:ea typeface="+mn-ea"/>
              </a:defRPr>
            </a:lvl1pPr>
          </a:lstStyle>
          <a:p>
            <a:pPr>
              <a:defRPr/>
            </a:pPr>
            <a:endParaRPr lang="en-US" altLang="ja-JP" dirty="0"/>
          </a:p>
        </p:txBody>
      </p:sp>
      <p:sp>
        <p:nvSpPr>
          <p:cNvPr id="1028" name="Rectangle 5"/>
          <p:cNvSpPr>
            <a:spLocks noGrp="1" noChangeArrowheads="1"/>
          </p:cNvSpPr>
          <p:nvPr>
            <p:ph type="sldNum" sz="quarter" idx="4"/>
          </p:nvPr>
        </p:nvSpPr>
        <p:spPr>
          <a:xfrm>
            <a:off x="9476506" y="6570000"/>
            <a:ext cx="429494" cy="2880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eaLnBrk="1" hangingPunct="1">
              <a:defRPr sz="1000">
                <a:solidFill>
                  <a:schemeClr val="tx1">
                    <a:lumMod val="85000"/>
                    <a:lumOff val="15000"/>
                  </a:schemeClr>
                </a:solidFill>
                <a:latin typeface="+mn-ea"/>
                <a:ea typeface="+mn-ea"/>
              </a:defRPr>
            </a:lvl1pPr>
          </a:lstStyle>
          <a:p>
            <a:pPr>
              <a:defRPr/>
            </a:pPr>
            <a:fld id="{CA1AF5DB-AE8E-46F2-99A8-A16EDB727E4B}" type="slidenum">
              <a:rPr lang="en-US" altLang="ja-JP" smtClean="0"/>
              <a:pPr>
                <a:defRPr/>
              </a:pPr>
              <a:t>‹#›</a:t>
            </a:fld>
            <a:endParaRPr lang="en-US" altLang="ja-JP" dirty="0"/>
          </a:p>
        </p:txBody>
      </p:sp>
      <p:sp>
        <p:nvSpPr>
          <p:cNvPr id="1029" name="Rectangle 6"/>
          <p:cNvSpPr>
            <a:spLocks noChangeArrowheads="1"/>
          </p:cNvSpPr>
          <p:nvPr userDrawn="1"/>
        </p:nvSpPr>
        <p:spPr>
          <a:xfrm>
            <a:off x="0" y="0"/>
            <a:ext cx="9906000" cy="366713"/>
          </a:xfrm>
          <a:prstGeom prst="rect">
            <a:avLst/>
          </a:prstGeom>
          <a:no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nvGrpSpPr>
          <p:cNvPr id="1030" name="Group 27"/>
          <p:cNvGrpSpPr/>
          <p:nvPr userDrawn="1"/>
        </p:nvGrpSpPr>
        <p:grpSpPr>
          <a:xfrm>
            <a:off x="0" y="333375"/>
            <a:ext cx="9906000" cy="214313"/>
            <a:chOff x="0" y="255"/>
            <a:chExt cx="6240" cy="135"/>
          </a:xfrm>
        </p:grpSpPr>
        <p:sp>
          <p:nvSpPr>
            <p:cNvPr id="1031" name="Rectangle 28"/>
            <p:cNvSpPr>
              <a:spLocks noChangeArrowheads="1"/>
            </p:cNvSpPr>
            <p:nvPr userDrawn="1"/>
          </p:nvSpPr>
          <p:spPr>
            <a:xfrm>
              <a:off x="0" y="345"/>
              <a:ext cx="6240" cy="45"/>
            </a:xfrm>
            <a:prstGeom prst="rect">
              <a:avLst/>
            </a:prstGeom>
            <a:solidFill>
              <a:srgbClr val="FF0000"/>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2" name="Rectangle 29"/>
            <p:cNvSpPr>
              <a:spLocks noChangeArrowheads="1"/>
            </p:cNvSpPr>
            <p:nvPr userDrawn="1"/>
          </p:nvSpPr>
          <p:spPr>
            <a:xfrm>
              <a:off x="0" y="300"/>
              <a:ext cx="6240" cy="45"/>
            </a:xfrm>
            <a:prstGeom prst="rect">
              <a:avLst/>
            </a:prstGeom>
            <a:solidFill>
              <a:srgbClr val="FF3399"/>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3" name="Rectangle 30"/>
            <p:cNvSpPr>
              <a:spLocks noChangeArrowheads="1"/>
            </p:cNvSpPr>
            <p:nvPr userDrawn="1"/>
          </p:nvSpPr>
          <p:spPr>
            <a:xfrm>
              <a:off x="0" y="255"/>
              <a:ext cx="6240" cy="45"/>
            </a:xfrm>
            <a:prstGeom prst="rect">
              <a:avLst/>
            </a:prstGeom>
            <a:solidFill>
              <a:srgbClr val="FFCCFF"/>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1034" name="Rectangle 22"/>
          <p:cNvSpPr>
            <a:spLocks noGrp="1" noChangeArrowheads="1"/>
          </p:cNvSpPr>
          <p:nvPr>
            <p:ph type="title"/>
          </p:nvPr>
        </p:nvSpPr>
        <p:spPr>
          <a:xfrm>
            <a:off x="0" y="0"/>
            <a:ext cx="8266113" cy="476250"/>
          </a:xfrm>
          <a:prstGeom prst="rect">
            <a:avLst/>
          </a:prstGeom>
          <a:noFill/>
          <a:ln>
            <a:noFill/>
          </a:ln>
          <a:effec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spTree>
    <p:extLst>
      <p:ext uri="{BB962C8B-B14F-4D97-AF65-F5344CB8AC3E}">
        <p14:creationId xmlns:p14="http://schemas.microsoft.com/office/powerpoint/2010/main" val="9027681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Lst>
  <p:hf hdr="0" ftr="0" dt="0"/>
  <p:txStyles>
    <p:titleStyle>
      <a:lvl1pPr algn="l" rtl="0" eaLnBrk="0" fontAlgn="base" hangingPunct="0">
        <a:spcBef>
          <a:spcPct val="0"/>
        </a:spcBef>
        <a:spcAft>
          <a:spcPct val="0"/>
        </a:spcAft>
        <a:defRPr kumimoji="1" sz="2800" b="1" kern="12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2pPr>
      <a:lvl3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3pPr>
      <a:lvl4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4pPr>
      <a:lvl5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5pPr>
      <a:lvl6pPr marL="4572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6pPr>
      <a:lvl7pPr marL="9144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7pPr>
      <a:lvl8pPr marL="13716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8pPr>
      <a:lvl9pPr marL="18288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9pPr>
    </p:titleStyle>
    <p:bodyStyle>
      <a:lvl1pPr marL="342900" indent="-342900" algn="l" rtl="0" eaLnBrk="0" fontAlgn="base" hangingPunct="0">
        <a:spcBef>
          <a:spcPct val="20000"/>
        </a:spcBef>
        <a:spcAft>
          <a:spcPct val="0"/>
        </a:spcAft>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26" name="Rectangle 2"/>
          <p:cNvSpPr>
            <a:spLocks noGrp="1" noChangeArrowheads="1"/>
          </p:cNvSpPr>
          <p:nvPr>
            <p:ph type="body" idx="1"/>
          </p:nvPr>
        </p:nvSpPr>
        <p:spPr>
          <a:xfrm>
            <a:off x="495300" y="1600200"/>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27" name="Rectangle 3"/>
          <p:cNvSpPr>
            <a:spLocks noGrp="1" noChangeArrowheads="1"/>
          </p:cNvSpPr>
          <p:nvPr>
            <p:ph type="dt" sz="half" idx="2"/>
          </p:nvPr>
        </p:nvSpPr>
        <p:spPr>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ea typeface="ＭＳ Ｐゴシック" pitchFamily="50" charset="-128"/>
              </a:defRPr>
            </a:lvl1pPr>
          </a:lstStyle>
          <a:p>
            <a:pPr>
              <a:defRPr/>
            </a:pPr>
            <a:endParaRPr lang="en-US" altLang="ja-JP">
              <a:solidFill>
                <a:srgbClr val="000000"/>
              </a:solidFill>
              <a:latin typeface="Arial" panose="020B0604020202020204"/>
            </a:endParaRPr>
          </a:p>
        </p:txBody>
      </p:sp>
      <p:sp>
        <p:nvSpPr>
          <p:cNvPr id="1228" name="Rectangle 4"/>
          <p:cNvSpPr>
            <a:spLocks noGrp="1" noChangeArrowheads="1"/>
          </p:cNvSpPr>
          <p:nvPr>
            <p:ph type="ftr" sz="quarter" idx="3"/>
          </p:nvPr>
        </p:nvSpPr>
        <p:spPr>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50" charset="-128"/>
              </a:defRPr>
            </a:lvl1pPr>
          </a:lstStyle>
          <a:p>
            <a:pPr>
              <a:defRPr/>
            </a:pPr>
            <a:endParaRPr lang="en-US" altLang="ja-JP">
              <a:solidFill>
                <a:srgbClr val="000000"/>
              </a:solidFill>
              <a:latin typeface="Arial" panose="020B0604020202020204"/>
            </a:endParaRPr>
          </a:p>
        </p:txBody>
      </p:sp>
      <p:sp>
        <p:nvSpPr>
          <p:cNvPr id="1229" name="Rectangle 5"/>
          <p:cNvSpPr>
            <a:spLocks noGrp="1" noChangeArrowheads="1"/>
          </p:cNvSpPr>
          <p:nvPr>
            <p:ph type="sldNum" sz="quarter" idx="4"/>
          </p:nvPr>
        </p:nvSpPr>
        <p:spPr>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50" charset="-128"/>
              </a:defRPr>
            </a:lvl1pPr>
          </a:lstStyle>
          <a:p>
            <a:pPr>
              <a:defRPr/>
            </a:pPr>
            <a:fld id="{3699751B-B5C1-45D1-9F99-BA4D8D850F7E}" type="slidenum">
              <a:rPr lang="en-US" altLang="ja-JP">
                <a:solidFill>
                  <a:srgbClr val="000000"/>
                </a:solidFill>
                <a:latin typeface="Arial" panose="020B0604020202020204"/>
              </a:rPr>
              <a:pPr>
                <a:defRPr/>
              </a:pPr>
              <a:t>‹#›</a:t>
            </a:fld>
            <a:endParaRPr lang="en-US" altLang="ja-JP">
              <a:solidFill>
                <a:srgbClr val="000000"/>
              </a:solidFill>
              <a:latin typeface="Arial" panose="020B0604020202020204"/>
            </a:endParaRPr>
          </a:p>
        </p:txBody>
      </p:sp>
      <p:sp>
        <p:nvSpPr>
          <p:cNvPr id="1230" name="Rectangle 6"/>
          <p:cNvSpPr>
            <a:spLocks noChangeArrowheads="1"/>
          </p:cNvSpPr>
          <p:nvPr userDrawn="1"/>
        </p:nvSpPr>
        <p:spPr>
          <a:xfrm>
            <a:off x="0" y="0"/>
            <a:ext cx="9906000" cy="366713"/>
          </a:xfrm>
          <a:prstGeom prst="rect">
            <a:avLst/>
          </a:prstGeom>
          <a:noFill/>
          <a:ln w="9525" algn="ctr">
            <a:noFill/>
            <a:miter lim="800000"/>
            <a:headEnd/>
            <a:tailEnd/>
          </a:ln>
          <a:effectLst/>
        </p:spPr>
        <p:txBody>
          <a:bodyPr wrap="none" anchor="ctr"/>
          <a:lstStyle/>
          <a:p>
            <a:pPr algn="ctr">
              <a:defRPr/>
            </a:pPr>
            <a:endParaRPr lang="ja-JP" altLang="en-US">
              <a:solidFill>
                <a:srgbClr val="000000"/>
              </a:solidFill>
              <a:latin typeface="Arial" panose="020B0604020202020204"/>
            </a:endParaRPr>
          </a:p>
        </p:txBody>
      </p:sp>
      <p:grpSp>
        <p:nvGrpSpPr>
          <p:cNvPr id="1231" name="Group 27"/>
          <p:cNvGrpSpPr/>
          <p:nvPr userDrawn="1"/>
        </p:nvGrpSpPr>
        <p:grpSpPr>
          <a:xfrm>
            <a:off x="0" y="333375"/>
            <a:ext cx="9906000" cy="214313"/>
            <a:chOff x="0" y="255"/>
            <a:chExt cx="6240" cy="135"/>
          </a:xfrm>
        </p:grpSpPr>
        <p:sp>
          <p:nvSpPr>
            <p:cNvPr id="1232" name="Rectangle 28"/>
            <p:cNvSpPr>
              <a:spLocks noChangeArrowheads="1"/>
            </p:cNvSpPr>
            <p:nvPr userDrawn="1"/>
          </p:nvSpPr>
          <p:spPr>
            <a:xfrm>
              <a:off x="0" y="345"/>
              <a:ext cx="6240" cy="45"/>
            </a:xfrm>
            <a:prstGeom prst="rect">
              <a:avLst/>
            </a:prstGeom>
            <a:solidFill>
              <a:srgbClr val="FF0000"/>
            </a:solidFill>
            <a:ln w="9525" algn="ctr">
              <a:noFill/>
              <a:miter lim="800000"/>
              <a:headEnd/>
              <a:tailEnd/>
            </a:ln>
            <a:effectLst/>
          </p:spPr>
          <p:txBody>
            <a:bodyPr wrap="none" anchor="ctr"/>
            <a:lstStyle/>
            <a:p>
              <a:pPr algn="ctr">
                <a:defRPr/>
              </a:pPr>
              <a:endParaRPr lang="ja-JP" altLang="en-US">
                <a:solidFill>
                  <a:srgbClr val="000000"/>
                </a:solidFill>
                <a:latin typeface="Arial" panose="020B0604020202020204"/>
              </a:endParaRPr>
            </a:p>
          </p:txBody>
        </p:sp>
        <p:sp>
          <p:nvSpPr>
            <p:cNvPr id="1233" name="Rectangle 29"/>
            <p:cNvSpPr>
              <a:spLocks noChangeArrowheads="1"/>
            </p:cNvSpPr>
            <p:nvPr userDrawn="1"/>
          </p:nvSpPr>
          <p:spPr>
            <a:xfrm>
              <a:off x="0" y="300"/>
              <a:ext cx="6240" cy="45"/>
            </a:xfrm>
            <a:prstGeom prst="rect">
              <a:avLst/>
            </a:prstGeom>
            <a:solidFill>
              <a:srgbClr val="FF3399"/>
            </a:solidFill>
            <a:ln w="9525" algn="ctr">
              <a:noFill/>
              <a:miter lim="800000"/>
              <a:headEnd/>
              <a:tailEnd/>
            </a:ln>
            <a:effectLst/>
          </p:spPr>
          <p:txBody>
            <a:bodyPr wrap="none" anchor="ctr"/>
            <a:lstStyle/>
            <a:p>
              <a:pPr algn="ctr">
                <a:defRPr/>
              </a:pPr>
              <a:endParaRPr lang="ja-JP" altLang="en-US">
                <a:solidFill>
                  <a:srgbClr val="000000"/>
                </a:solidFill>
                <a:latin typeface="Arial" panose="020B0604020202020204"/>
              </a:endParaRPr>
            </a:p>
          </p:txBody>
        </p:sp>
        <p:sp>
          <p:nvSpPr>
            <p:cNvPr id="1234" name="Rectangle 30"/>
            <p:cNvSpPr>
              <a:spLocks noChangeArrowheads="1"/>
            </p:cNvSpPr>
            <p:nvPr userDrawn="1"/>
          </p:nvSpPr>
          <p:spPr>
            <a:xfrm>
              <a:off x="0" y="255"/>
              <a:ext cx="6240" cy="45"/>
            </a:xfrm>
            <a:prstGeom prst="rect">
              <a:avLst/>
            </a:prstGeom>
            <a:solidFill>
              <a:srgbClr val="FFCCFF"/>
            </a:solidFill>
            <a:ln w="9525" algn="ctr">
              <a:noFill/>
              <a:miter lim="800000"/>
              <a:headEnd/>
              <a:tailEnd/>
            </a:ln>
            <a:effectLst/>
          </p:spPr>
          <p:txBody>
            <a:bodyPr wrap="none" anchor="ctr"/>
            <a:lstStyle/>
            <a:p>
              <a:pPr algn="ctr">
                <a:defRPr/>
              </a:pPr>
              <a:endParaRPr lang="ja-JP" altLang="en-US">
                <a:solidFill>
                  <a:srgbClr val="000000"/>
                </a:solidFill>
                <a:latin typeface="Arial" panose="020B0604020202020204"/>
              </a:endParaRPr>
            </a:p>
          </p:txBody>
        </p:sp>
      </p:grpSp>
      <p:sp>
        <p:nvSpPr>
          <p:cNvPr id="1235" name="Rectangle 22"/>
          <p:cNvSpPr>
            <a:spLocks noGrp="1" noChangeArrowheads="1"/>
          </p:cNvSpPr>
          <p:nvPr>
            <p:ph type="title"/>
          </p:nvPr>
        </p:nvSpPr>
        <p:spPr>
          <a:xfrm>
            <a:off x="0" y="0"/>
            <a:ext cx="8266113"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236" name="Picture 32" descr="ppjtitle"/>
          <p:cNvPicPr>
            <a:picLocks noChangeAspect="1" noChangeArrowheads="1"/>
          </p:cNvPicPr>
          <p:nvPr userDrawn="1"/>
        </p:nvPicPr>
        <p:blipFill>
          <a:blip r:embed="rId14"/>
          <a:stretch>
            <a:fillRect/>
          </a:stretch>
        </p:blipFill>
        <p:spPr>
          <a:xfrm>
            <a:off x="8697913" y="0"/>
            <a:ext cx="1208087" cy="334963"/>
          </a:xfrm>
          <a:prstGeom prst="rect">
            <a:avLst/>
          </a:prstGeom>
          <a:noFill/>
          <a:ln w="9525">
            <a:noFill/>
            <a:miter lim="800000"/>
            <a:headEnd/>
            <a:tailEnd/>
          </a:ln>
        </p:spPr>
      </p:pic>
    </p:spTree>
    <p:extLst>
      <p:ext uri="{BB962C8B-B14F-4D97-AF65-F5344CB8AC3E}">
        <p14:creationId xmlns:p14="http://schemas.microsoft.com/office/powerpoint/2010/main" val="1360762340"/>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Lst>
  <p:hf hdr="0" ftr="0" dt="0"/>
  <p:txStyles>
    <p:title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95300" y="1600206"/>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193">
                <a:solidFill>
                  <a:srgbClr val="000000"/>
                </a:solidFill>
                <a:latin typeface="Arial" charset="0"/>
                <a:ea typeface="ＭＳ Ｐゴシック" pitchFamily="50" charset="-128"/>
              </a:defRPr>
            </a:lvl1pPr>
          </a:lstStyle>
          <a:p>
            <a:pPr>
              <a:defRPr/>
            </a:pPr>
            <a:endParaRPr lang="en-US" altLang="ja-JP"/>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193">
                <a:solidFill>
                  <a:srgbClr val="000000"/>
                </a:solidFill>
                <a:latin typeface="Arial" charset="0"/>
                <a:ea typeface="ＭＳ Ｐゴシック" pitchFamily="50" charset="-128"/>
              </a:defRPr>
            </a:lvl1pPr>
          </a:lstStyle>
          <a:p>
            <a:pPr>
              <a:defRPr/>
            </a:pPr>
            <a:endParaRPr lang="en-US" altLang="ja-JP"/>
          </a:p>
        </p:txBody>
      </p:sp>
      <p:sp>
        <p:nvSpPr>
          <p:cNvPr id="30725" name="Rectangle 5"/>
          <p:cNvSpPr>
            <a:spLocks noGrp="1" noChangeArrowheads="1"/>
          </p:cNvSpPr>
          <p:nvPr>
            <p:ph type="sldNum" sz="quarter" idx="4"/>
          </p:nvPr>
        </p:nvSpPr>
        <p:spPr bwMode="auto">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193">
                <a:solidFill>
                  <a:srgbClr val="000000"/>
                </a:solidFill>
                <a:latin typeface="Arial" charset="0"/>
                <a:ea typeface="ＭＳ Ｐゴシック" pitchFamily="50" charset="-128"/>
              </a:defRPr>
            </a:lvl1pPr>
          </a:lstStyle>
          <a:p>
            <a:pPr>
              <a:defRPr/>
            </a:pPr>
            <a:fld id="{41D9C5F3-0171-4BEC-8CA7-993AD018E031}" type="slidenum">
              <a:rPr lang="en-US" altLang="ja-JP"/>
              <a:pPr>
                <a:defRPr/>
              </a:pPr>
              <a:t>‹#›</a:t>
            </a:fld>
            <a:endParaRPr lang="en-US" altLang="ja-JP"/>
          </a:p>
        </p:txBody>
      </p:sp>
      <p:sp>
        <p:nvSpPr>
          <p:cNvPr id="1030" name="Rectangle 6"/>
          <p:cNvSpPr>
            <a:spLocks noChangeArrowheads="1"/>
          </p:cNvSpPr>
          <p:nvPr/>
        </p:nvSpPr>
        <p:spPr bwMode="auto">
          <a:xfrm>
            <a:off x="0" y="6"/>
            <a:ext cx="9906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2" name="Rectangle 22"/>
          <p:cNvSpPr>
            <a:spLocks noGrp="1" noChangeArrowheads="1"/>
          </p:cNvSpPr>
          <p:nvPr>
            <p:ph type="title"/>
          </p:nvPr>
        </p:nvSpPr>
        <p:spPr bwMode="auto">
          <a:xfrm>
            <a:off x="2" y="0"/>
            <a:ext cx="8266113"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spTree>
    <p:extLst>
      <p:ext uri="{BB962C8B-B14F-4D97-AF65-F5344CB8AC3E}">
        <p14:creationId xmlns:p14="http://schemas.microsoft.com/office/powerpoint/2010/main" val="3762056206"/>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Lst>
  <p:hf hdr="0" ftr="0" dt="0"/>
  <p:txStyles>
    <p:titleStyle>
      <a:lvl1pPr algn="l" rtl="0" eaLnBrk="0" fontAlgn="base" hangingPunct="0">
        <a:spcBef>
          <a:spcPct val="0"/>
        </a:spcBef>
        <a:spcAft>
          <a:spcPct val="0"/>
        </a:spcAft>
        <a:defRPr kumimoji="1" sz="2200" b="1">
          <a:solidFill>
            <a:schemeClr val="tx1"/>
          </a:solidFill>
          <a:latin typeface="メイリオ" panose="020B0604030504040204" pitchFamily="50" charset="-128"/>
          <a:ea typeface="メイリオ" panose="020B0604030504040204" pitchFamily="50" charset="-128"/>
          <a:cs typeface="+mj-cs"/>
        </a:defRPr>
      </a:lvl1pPr>
      <a:lvl2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5pPr>
      <a:lvl6pPr marL="389586"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6pPr>
      <a:lvl7pPr marL="779173"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7pPr>
      <a:lvl8pPr marL="1168759"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8pPr>
      <a:lvl9pPr marL="1558345"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9pPr>
    </p:titleStyle>
    <p:bodyStyle>
      <a:lvl1pPr marL="292190" indent="-292190" algn="l" rtl="0" eaLnBrk="0" fontAlgn="base" hangingPunct="0">
        <a:spcBef>
          <a:spcPct val="20000"/>
        </a:spcBef>
        <a:spcAft>
          <a:spcPct val="0"/>
        </a:spcAft>
        <a:buChar char="•"/>
        <a:defRPr kumimoji="1" sz="2727">
          <a:solidFill>
            <a:schemeClr val="tx1"/>
          </a:solidFill>
          <a:latin typeface="+mn-lt"/>
          <a:ea typeface="ＭＳ Ｐゴシック" pitchFamily="50" charset="-128"/>
          <a:cs typeface="+mn-cs"/>
        </a:defRPr>
      </a:lvl1pPr>
      <a:lvl2pPr marL="633078" indent="-243492" algn="l" rtl="0" eaLnBrk="0" fontAlgn="base" hangingPunct="0">
        <a:spcBef>
          <a:spcPct val="20000"/>
        </a:spcBef>
        <a:spcAft>
          <a:spcPct val="0"/>
        </a:spcAft>
        <a:buChar char="–"/>
        <a:defRPr kumimoji="1" sz="2386">
          <a:solidFill>
            <a:schemeClr val="tx1"/>
          </a:solidFill>
          <a:latin typeface="+mn-lt"/>
          <a:ea typeface="ＭＳ Ｐゴシック" pitchFamily="50" charset="-128"/>
        </a:defRPr>
      </a:lvl2pPr>
      <a:lvl3pPr marL="973966" indent="-194793" algn="l" rtl="0" eaLnBrk="0" fontAlgn="base" hangingPunct="0">
        <a:spcBef>
          <a:spcPct val="20000"/>
        </a:spcBef>
        <a:spcAft>
          <a:spcPct val="0"/>
        </a:spcAft>
        <a:buChar char="•"/>
        <a:defRPr kumimoji="1" sz="2045">
          <a:solidFill>
            <a:schemeClr val="tx1"/>
          </a:solidFill>
          <a:latin typeface="+mn-lt"/>
          <a:ea typeface="ＭＳ Ｐゴシック" pitchFamily="50" charset="-128"/>
        </a:defRPr>
      </a:lvl3pPr>
      <a:lvl4pPr marL="1363553"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4pPr>
      <a:lvl5pPr marL="1753139"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5pPr>
      <a:lvl6pPr marL="2142725" indent="-194793" algn="l" rtl="0" fontAlgn="base">
        <a:spcBef>
          <a:spcPct val="20000"/>
        </a:spcBef>
        <a:spcAft>
          <a:spcPct val="0"/>
        </a:spcAft>
        <a:buChar char="»"/>
        <a:defRPr kumimoji="1" sz="1704">
          <a:solidFill>
            <a:schemeClr val="tx1"/>
          </a:solidFill>
          <a:latin typeface="+mn-lt"/>
          <a:ea typeface="+mn-ea"/>
        </a:defRPr>
      </a:lvl6pPr>
      <a:lvl7pPr marL="2532312" indent="-194793" algn="l" rtl="0" fontAlgn="base">
        <a:spcBef>
          <a:spcPct val="20000"/>
        </a:spcBef>
        <a:spcAft>
          <a:spcPct val="0"/>
        </a:spcAft>
        <a:buChar char="»"/>
        <a:defRPr kumimoji="1" sz="1704">
          <a:solidFill>
            <a:schemeClr val="tx1"/>
          </a:solidFill>
          <a:latin typeface="+mn-lt"/>
          <a:ea typeface="+mn-ea"/>
        </a:defRPr>
      </a:lvl7pPr>
      <a:lvl8pPr marL="2921898" indent="-194793" algn="l" rtl="0" fontAlgn="base">
        <a:spcBef>
          <a:spcPct val="20000"/>
        </a:spcBef>
        <a:spcAft>
          <a:spcPct val="0"/>
        </a:spcAft>
        <a:buChar char="»"/>
        <a:defRPr kumimoji="1" sz="1704">
          <a:solidFill>
            <a:schemeClr val="tx1"/>
          </a:solidFill>
          <a:latin typeface="+mn-lt"/>
          <a:ea typeface="+mn-ea"/>
        </a:defRPr>
      </a:lvl8pPr>
      <a:lvl9pPr marL="3311484" indent="-194793" algn="l" rtl="0" fontAlgn="base">
        <a:spcBef>
          <a:spcPct val="20000"/>
        </a:spcBef>
        <a:spcAft>
          <a:spcPct val="0"/>
        </a:spcAft>
        <a:buChar char="»"/>
        <a:defRPr kumimoji="1" sz="1704">
          <a:solidFill>
            <a:schemeClr val="tx1"/>
          </a:solidFill>
          <a:latin typeface="+mn-lt"/>
          <a:ea typeface="+mn-ea"/>
        </a:defRPr>
      </a:lvl9pPr>
    </p:bodyStyle>
    <p:otherStyle>
      <a:defPPr>
        <a:defRPr lang="ja-JP"/>
      </a:defPPr>
      <a:lvl1pPr marL="0" algn="l" defTabSz="779173" rtl="0" eaLnBrk="1" latinLnBrk="0" hangingPunct="1">
        <a:defRPr kumimoji="1" sz="1534" kern="1200">
          <a:solidFill>
            <a:schemeClr val="tx1"/>
          </a:solidFill>
          <a:latin typeface="+mn-lt"/>
          <a:ea typeface="+mn-ea"/>
          <a:cs typeface="+mn-cs"/>
        </a:defRPr>
      </a:lvl1pPr>
      <a:lvl2pPr marL="389586" algn="l" defTabSz="779173" rtl="0" eaLnBrk="1" latinLnBrk="0" hangingPunct="1">
        <a:defRPr kumimoji="1" sz="1534" kern="1200">
          <a:solidFill>
            <a:schemeClr val="tx1"/>
          </a:solidFill>
          <a:latin typeface="+mn-lt"/>
          <a:ea typeface="+mn-ea"/>
          <a:cs typeface="+mn-cs"/>
        </a:defRPr>
      </a:lvl2pPr>
      <a:lvl3pPr marL="779173" algn="l" defTabSz="779173" rtl="0" eaLnBrk="1" latinLnBrk="0" hangingPunct="1">
        <a:defRPr kumimoji="1" sz="1534" kern="1200">
          <a:solidFill>
            <a:schemeClr val="tx1"/>
          </a:solidFill>
          <a:latin typeface="+mn-lt"/>
          <a:ea typeface="+mn-ea"/>
          <a:cs typeface="+mn-cs"/>
        </a:defRPr>
      </a:lvl3pPr>
      <a:lvl4pPr marL="1168759" algn="l" defTabSz="779173" rtl="0" eaLnBrk="1" latinLnBrk="0" hangingPunct="1">
        <a:defRPr kumimoji="1" sz="1534" kern="1200">
          <a:solidFill>
            <a:schemeClr val="tx1"/>
          </a:solidFill>
          <a:latin typeface="+mn-lt"/>
          <a:ea typeface="+mn-ea"/>
          <a:cs typeface="+mn-cs"/>
        </a:defRPr>
      </a:lvl4pPr>
      <a:lvl5pPr marL="1558345" algn="l" defTabSz="779173" rtl="0" eaLnBrk="1" latinLnBrk="0" hangingPunct="1">
        <a:defRPr kumimoji="1" sz="1534" kern="1200">
          <a:solidFill>
            <a:schemeClr val="tx1"/>
          </a:solidFill>
          <a:latin typeface="+mn-lt"/>
          <a:ea typeface="+mn-ea"/>
          <a:cs typeface="+mn-cs"/>
        </a:defRPr>
      </a:lvl5pPr>
      <a:lvl6pPr marL="1947932" algn="l" defTabSz="779173" rtl="0" eaLnBrk="1" latinLnBrk="0" hangingPunct="1">
        <a:defRPr kumimoji="1" sz="1534" kern="1200">
          <a:solidFill>
            <a:schemeClr val="tx1"/>
          </a:solidFill>
          <a:latin typeface="+mn-lt"/>
          <a:ea typeface="+mn-ea"/>
          <a:cs typeface="+mn-cs"/>
        </a:defRPr>
      </a:lvl6pPr>
      <a:lvl7pPr marL="2337518" algn="l" defTabSz="779173" rtl="0" eaLnBrk="1" latinLnBrk="0" hangingPunct="1">
        <a:defRPr kumimoji="1" sz="1534" kern="1200">
          <a:solidFill>
            <a:schemeClr val="tx1"/>
          </a:solidFill>
          <a:latin typeface="+mn-lt"/>
          <a:ea typeface="+mn-ea"/>
          <a:cs typeface="+mn-cs"/>
        </a:defRPr>
      </a:lvl7pPr>
      <a:lvl8pPr marL="2727104" algn="l" defTabSz="779173" rtl="0" eaLnBrk="1" latinLnBrk="0" hangingPunct="1">
        <a:defRPr kumimoji="1" sz="1534" kern="1200">
          <a:solidFill>
            <a:schemeClr val="tx1"/>
          </a:solidFill>
          <a:latin typeface="+mn-lt"/>
          <a:ea typeface="+mn-ea"/>
          <a:cs typeface="+mn-cs"/>
        </a:defRPr>
      </a:lvl8pPr>
      <a:lvl9pPr marL="3116691" algn="l" defTabSz="779173" rtl="0" eaLnBrk="1" latinLnBrk="0" hangingPunct="1">
        <a:defRPr kumimoji="1" sz="1534"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5"/>
            </p:custDataLst>
            <p:extLst>
              <p:ext uri="{D42A27DB-BD31-4B8C-83A1-F6EECF244321}">
                <p14:modId xmlns:p14="http://schemas.microsoft.com/office/powerpoint/2010/main" val="1237513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7" imgW="592" imgH="591" progId="TCLayout.ActiveDocument.1">
                  <p:embed/>
                </p:oleObj>
              </mc:Choice>
              <mc:Fallback>
                <p:oleObj name="think-cell スライド" r:id="rId17" imgW="592" imgH="591" progId="TCLayout.ActiveDocument.1">
                  <p:embed/>
                  <p:pic>
                    <p:nvPicPr>
                      <p:cNvPr id="2" name="オブジェクト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3213A99A-4A19-429A-8A97-B4EA33D8CB5A}"/>
              </a:ext>
            </a:extLst>
          </p:cNvPr>
          <p:cNvSpPr/>
          <p:nvPr userDrawn="1">
            <p:custDataLst>
              <p:tags r:id="rId16"/>
            </p:custDataLst>
          </p:nvPr>
        </p:nvSpPr>
        <p:spPr bwMode="auto">
          <a:xfrm>
            <a:off x="0" y="0"/>
            <a:ext cx="158750" cy="158750"/>
          </a:xfrm>
          <a:prstGeom prst="rect">
            <a:avLst/>
          </a:prstGeom>
          <a:solidFill>
            <a:srgbClr val="0066CC"/>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1" lang="ja-JP" altLang="en-US" sz="2800" b="0" i="0" u="none" strike="noStrike" cap="none" normalizeH="0" baseline="0" dirty="0">
              <a:ln>
                <a:noFill/>
              </a:ln>
              <a:solidFill>
                <a:schemeClr val="tx1"/>
              </a:solidFill>
              <a:effectLst/>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30722" name="Rectangle 2"/>
          <p:cNvSpPr>
            <a:spLocks noGrp="1" noChangeArrowheads="1"/>
          </p:cNvSpPr>
          <p:nvPr>
            <p:ph type="body" idx="1"/>
          </p:nvPr>
        </p:nvSpPr>
        <p:spPr bwMode="auto">
          <a:xfrm>
            <a:off x="495300" y="1600200"/>
            <a:ext cx="89154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400"/>
            </a:lvl1pPr>
          </a:lstStyle>
          <a:p>
            <a:endParaRPr lang="en-US" altLang="ja-JP">
              <a:solidFill>
                <a:prstClr val="black"/>
              </a:solidFill>
            </a:endParaRPr>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en-US" altLang="ja-JP">
              <a:solidFill>
                <a:prstClr val="black"/>
              </a:solidFill>
            </a:endParaRPr>
          </a:p>
        </p:txBody>
      </p:sp>
      <p:sp>
        <p:nvSpPr>
          <p:cNvPr id="30725" name="Rectangle 5"/>
          <p:cNvSpPr>
            <a:spLocks noGrp="1" noChangeArrowheads="1"/>
          </p:cNvSpPr>
          <p:nvPr>
            <p:ph type="sldNum" sz="quarter" idx="4"/>
          </p:nvPr>
        </p:nvSpPr>
        <p:spPr bwMode="auto">
          <a:xfrm>
            <a:off x="7594600" y="6381328"/>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F245FCB2-03D4-4C5B-9B1A-4180124C4B36}" type="slidenum">
              <a:rPr lang="en-US" altLang="ja-JP" smtClean="0">
                <a:solidFill>
                  <a:prstClr val="black"/>
                </a:solidFill>
              </a:rPr>
              <a:pPr/>
              <a:t>‹#›</a:t>
            </a:fld>
            <a:endParaRPr lang="en-US" altLang="ja-JP" dirty="0">
              <a:solidFill>
                <a:prstClr val="black"/>
              </a:solidFill>
            </a:endParaRPr>
          </a:p>
        </p:txBody>
      </p:sp>
      <p:sp>
        <p:nvSpPr>
          <p:cNvPr id="30726" name="Rectangle 6"/>
          <p:cNvSpPr>
            <a:spLocks noChangeArrowheads="1"/>
          </p:cNvSpPr>
          <p:nvPr userDrawn="1"/>
        </p:nvSpPr>
        <p:spPr bwMode="auto">
          <a:xfrm>
            <a:off x="0" y="0"/>
            <a:ext cx="9906000" cy="366713"/>
          </a:xfrm>
          <a:prstGeom prst="rect">
            <a:avLst/>
          </a:prstGeom>
          <a:noFill/>
          <a:ln>
            <a:noFill/>
          </a:ln>
          <a:effectLst/>
          <a:extLst>
            <a:ext uri="{909E8E84-426E-40DD-AFC4-6F175D3DCCD1}">
              <a14:hiddenFill xmlns:a14="http://schemas.microsoft.com/office/drawing/2010/main">
                <a:solidFill>
                  <a:srgbClr val="0066CC"/>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grpSp>
        <p:nvGrpSpPr>
          <p:cNvPr id="30747" name="Group 27"/>
          <p:cNvGrpSpPr>
            <a:grpSpLocks/>
          </p:cNvGrpSpPr>
          <p:nvPr userDrawn="1"/>
        </p:nvGrpSpPr>
        <p:grpSpPr bwMode="auto">
          <a:xfrm>
            <a:off x="0" y="333375"/>
            <a:ext cx="9906000" cy="214313"/>
            <a:chOff x="0" y="255"/>
            <a:chExt cx="6240" cy="135"/>
          </a:xfrm>
        </p:grpSpPr>
        <p:sp>
          <p:nvSpPr>
            <p:cNvPr id="30748" name="Rectangle 28"/>
            <p:cNvSpPr>
              <a:spLocks noChangeArrowheads="1"/>
            </p:cNvSpPr>
            <p:nvPr userDrawn="1"/>
          </p:nvSpPr>
          <p:spPr bwMode="auto">
            <a:xfrm>
              <a:off x="0" y="345"/>
              <a:ext cx="6240" cy="45"/>
            </a:xfrm>
            <a:prstGeom prst="re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sp>
          <p:nvSpPr>
            <p:cNvPr id="30749" name="Rectangle 29"/>
            <p:cNvSpPr>
              <a:spLocks noChangeArrowheads="1"/>
            </p:cNvSpPr>
            <p:nvPr userDrawn="1"/>
          </p:nvSpPr>
          <p:spPr bwMode="auto">
            <a:xfrm>
              <a:off x="0" y="300"/>
              <a:ext cx="6240" cy="45"/>
            </a:xfrm>
            <a:prstGeom prst="rect">
              <a:avLst/>
            </a:prstGeom>
            <a:solidFill>
              <a:srgbClr val="FF3399"/>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sp>
          <p:nvSpPr>
            <p:cNvPr id="30750" name="Rectangle 30"/>
            <p:cNvSpPr>
              <a:spLocks noChangeArrowheads="1"/>
            </p:cNvSpPr>
            <p:nvPr userDrawn="1"/>
          </p:nvSpPr>
          <p:spPr bwMode="auto">
            <a:xfrm>
              <a:off x="0" y="255"/>
              <a:ext cx="6240" cy="45"/>
            </a:xfrm>
            <a:prstGeom prst="rect">
              <a:avLst/>
            </a:prstGeom>
            <a:solidFill>
              <a:srgbClr val="FFCC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solidFill>
                  <a:prstClr val="black"/>
                </a:solidFill>
              </a:endParaRPr>
            </a:p>
          </p:txBody>
        </p:sp>
      </p:grpSp>
      <p:sp>
        <p:nvSpPr>
          <p:cNvPr id="30742" name="Rectangle 22"/>
          <p:cNvSpPr>
            <a:spLocks noGrp="1" noChangeArrowheads="1"/>
          </p:cNvSpPr>
          <p:nvPr>
            <p:ph type="title"/>
          </p:nvPr>
        </p:nvSpPr>
        <p:spPr bwMode="auto">
          <a:xfrm>
            <a:off x="0" y="0"/>
            <a:ext cx="8266113"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522918740"/>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Lst>
  <p:hf hdr="0" ftr="0" dt="0"/>
  <p:txStyles>
    <p:titleStyle>
      <a:lvl1pPr algn="l" rtl="0" fontAlgn="base">
        <a:spcBef>
          <a:spcPct val="0"/>
        </a:spcBef>
        <a:spcAft>
          <a:spcPct val="0"/>
        </a:spcAft>
        <a:defRPr kumimoji="1" sz="2800" kern="1200">
          <a:solidFill>
            <a:schemeClr val="tx1"/>
          </a:solidFill>
          <a:latin typeface="+mj-lt"/>
          <a:ea typeface="+mj-ea"/>
          <a:cs typeface="+mj-cs"/>
        </a:defRPr>
      </a:lvl1pPr>
      <a:lvl2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2pPr>
      <a:lvl3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3pPr>
      <a:lvl4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4pPr>
      <a:lvl5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5pPr>
      <a:lvl6pPr marL="4572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6pPr>
      <a:lvl7pPr marL="9144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7pPr>
      <a:lvl8pPr marL="13716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8pPr>
      <a:lvl9pPr marL="18288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9pPr>
    </p:titleStyle>
    <p:bodyStyle>
      <a:lvl1pPr marL="342900" indent="-342900" algn="l" rtl="0" fontAlgn="base">
        <a:spcBef>
          <a:spcPct val="20000"/>
        </a:spcBef>
        <a:spcAft>
          <a:spcPct val="0"/>
        </a:spcAft>
        <a:buChar char="•"/>
        <a:defRPr kumimoji="1" sz="3200" kern="1200">
          <a:solidFill>
            <a:schemeClr val="tx1"/>
          </a:solidFill>
          <a:latin typeface="+mn-lt"/>
          <a:ea typeface="+mn-ea"/>
          <a:cs typeface="+mn-cs"/>
        </a:defRPr>
      </a:lvl1pPr>
      <a:lvl2pPr marL="742950" indent="-285750" algn="l" rtl="0" fontAlgn="base">
        <a:spcBef>
          <a:spcPct val="20000"/>
        </a:spcBef>
        <a:spcAft>
          <a:spcPct val="0"/>
        </a:spcAft>
        <a:buChar char="–"/>
        <a:defRPr kumimoji="1" sz="2800" kern="1200">
          <a:solidFill>
            <a:schemeClr val="tx1"/>
          </a:solidFill>
          <a:latin typeface="+mn-lt"/>
          <a:ea typeface="+mn-ea"/>
          <a:cs typeface="+mn-cs"/>
        </a:defRPr>
      </a:lvl2pPr>
      <a:lvl3pPr marL="1143000" indent="-228600" algn="l" rtl="0" fontAlgn="base">
        <a:spcBef>
          <a:spcPct val="20000"/>
        </a:spcBef>
        <a:spcAft>
          <a:spcPct val="0"/>
        </a:spcAft>
        <a:buChar char="•"/>
        <a:defRPr kumimoji="1" sz="2400" kern="1200">
          <a:solidFill>
            <a:schemeClr val="tx1"/>
          </a:solidFill>
          <a:latin typeface="+mn-lt"/>
          <a:ea typeface="+mn-ea"/>
          <a:cs typeface="+mn-cs"/>
        </a:defRPr>
      </a:lvl3pPr>
      <a:lvl4pPr marL="1600200" indent="-228600" algn="l" rtl="0" fontAlgn="base">
        <a:spcBef>
          <a:spcPct val="20000"/>
        </a:spcBef>
        <a:spcAft>
          <a:spcPct val="0"/>
        </a:spcAft>
        <a:buChar char="–"/>
        <a:defRPr kumimoji="1" sz="2000" kern="1200">
          <a:solidFill>
            <a:schemeClr val="tx1"/>
          </a:solidFill>
          <a:latin typeface="+mn-lt"/>
          <a:ea typeface="+mn-ea"/>
          <a:cs typeface="+mn-cs"/>
        </a:defRPr>
      </a:lvl4pPr>
      <a:lvl5pPr marL="2057400" indent="-228600" algn="l" rtl="0" fontAlgn="base">
        <a:spcBef>
          <a:spcPct val="20000"/>
        </a:spcBef>
        <a:spcAft>
          <a:spcPct val="0"/>
        </a:spcAft>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12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body" idx="1"/>
          </p:nvPr>
        </p:nvSpPr>
        <p:spPr bwMode="auto">
          <a:xfrm>
            <a:off x="495300" y="1600200"/>
            <a:ext cx="89154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sz="1400"/>
            </a:lvl1pPr>
          </a:lstStyle>
          <a:p>
            <a:endParaRPr lang="en-US" altLang="ja-JP"/>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endParaRPr lang="en-US" altLang="ja-JP"/>
          </a:p>
        </p:txBody>
      </p:sp>
      <p:sp>
        <p:nvSpPr>
          <p:cNvPr id="30725" name="Rectangle 5"/>
          <p:cNvSpPr>
            <a:spLocks noGrp="1" noChangeArrowheads="1"/>
          </p:cNvSpPr>
          <p:nvPr>
            <p:ph type="sldNum" sz="quarter" idx="4"/>
          </p:nvPr>
        </p:nvSpPr>
        <p:spPr bwMode="auto">
          <a:xfrm>
            <a:off x="7594600" y="6237288"/>
            <a:ext cx="23114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fld id="{F245FCB2-03D4-4C5B-9B1A-4180124C4B36}" type="slidenum">
              <a:rPr lang="en-US" altLang="ja-JP"/>
              <a:pPr/>
              <a:t>‹#›</a:t>
            </a:fld>
            <a:endParaRPr lang="en-US" altLang="ja-JP"/>
          </a:p>
        </p:txBody>
      </p:sp>
      <p:sp>
        <p:nvSpPr>
          <p:cNvPr id="30726" name="Rectangle 6"/>
          <p:cNvSpPr>
            <a:spLocks noChangeArrowheads="1"/>
          </p:cNvSpPr>
          <p:nvPr userDrawn="1"/>
        </p:nvSpPr>
        <p:spPr bwMode="auto">
          <a:xfrm>
            <a:off x="0" y="0"/>
            <a:ext cx="9906000" cy="366713"/>
          </a:xfrm>
          <a:prstGeom prst="rect">
            <a:avLst/>
          </a:prstGeom>
          <a:noFill/>
          <a:ln>
            <a:noFill/>
          </a:ln>
          <a:effectLst/>
          <a:extLst>
            <a:ext uri="{909E8E84-426E-40DD-AFC4-6F175D3DCCD1}">
              <a14:hiddenFill xmlns:a14="http://schemas.microsoft.com/office/drawing/2010/main">
                <a:solidFill>
                  <a:srgbClr val="0066CC"/>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grpSp>
        <p:nvGrpSpPr>
          <p:cNvPr id="30747" name="Group 27"/>
          <p:cNvGrpSpPr>
            <a:grpSpLocks/>
          </p:cNvGrpSpPr>
          <p:nvPr userDrawn="1"/>
        </p:nvGrpSpPr>
        <p:grpSpPr bwMode="auto">
          <a:xfrm>
            <a:off x="0" y="333375"/>
            <a:ext cx="9906000" cy="214313"/>
            <a:chOff x="0" y="255"/>
            <a:chExt cx="6240" cy="135"/>
          </a:xfrm>
        </p:grpSpPr>
        <p:sp>
          <p:nvSpPr>
            <p:cNvPr id="30748" name="Rectangle 28"/>
            <p:cNvSpPr>
              <a:spLocks noChangeArrowheads="1"/>
            </p:cNvSpPr>
            <p:nvPr userDrawn="1"/>
          </p:nvSpPr>
          <p:spPr bwMode="auto">
            <a:xfrm>
              <a:off x="0" y="345"/>
              <a:ext cx="6240" cy="45"/>
            </a:xfrm>
            <a:prstGeom prst="rect">
              <a:avLst/>
            </a:prstGeom>
            <a:solidFill>
              <a:srgbClr val="FF0000"/>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sp>
          <p:nvSpPr>
            <p:cNvPr id="30749" name="Rectangle 29"/>
            <p:cNvSpPr>
              <a:spLocks noChangeArrowheads="1"/>
            </p:cNvSpPr>
            <p:nvPr userDrawn="1"/>
          </p:nvSpPr>
          <p:spPr bwMode="auto">
            <a:xfrm>
              <a:off x="0" y="300"/>
              <a:ext cx="6240" cy="45"/>
            </a:xfrm>
            <a:prstGeom prst="rect">
              <a:avLst/>
            </a:prstGeom>
            <a:solidFill>
              <a:srgbClr val="FF3399"/>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sp>
          <p:nvSpPr>
            <p:cNvPr id="30750" name="Rectangle 30"/>
            <p:cNvSpPr>
              <a:spLocks noChangeArrowheads="1"/>
            </p:cNvSpPr>
            <p:nvPr userDrawn="1"/>
          </p:nvSpPr>
          <p:spPr bwMode="auto">
            <a:xfrm>
              <a:off x="0" y="255"/>
              <a:ext cx="6240" cy="45"/>
            </a:xfrm>
            <a:prstGeom prst="rect">
              <a:avLst/>
            </a:prstGeom>
            <a:solidFill>
              <a:srgbClr val="FFCCFF"/>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a:p>
          </p:txBody>
        </p:sp>
      </p:grpSp>
      <p:sp>
        <p:nvSpPr>
          <p:cNvPr id="30742" name="Rectangle 22"/>
          <p:cNvSpPr>
            <a:spLocks noGrp="1" noChangeArrowheads="1"/>
          </p:cNvSpPr>
          <p:nvPr>
            <p:ph type="title"/>
          </p:nvPr>
        </p:nvSpPr>
        <p:spPr bwMode="auto">
          <a:xfrm>
            <a:off x="0" y="0"/>
            <a:ext cx="8266113"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grpSp>
        <p:nvGrpSpPr>
          <p:cNvPr id="13" name="グループ化 12">
            <a:extLst>
              <a:ext uri="{FF2B5EF4-FFF2-40B4-BE49-F238E27FC236}">
                <a16:creationId xmlns:a16="http://schemas.microsoft.com/office/drawing/2014/main" id="{0280A5C7-FE2E-4B04-A017-C4BB0C1B19C1}"/>
              </a:ext>
            </a:extLst>
          </p:cNvPr>
          <p:cNvGrpSpPr>
            <a:grpSpLocks noChangeAspect="1"/>
          </p:cNvGrpSpPr>
          <p:nvPr userDrawn="1"/>
        </p:nvGrpSpPr>
        <p:grpSpPr>
          <a:xfrm>
            <a:off x="8763198" y="9625"/>
            <a:ext cx="1134000" cy="314126"/>
            <a:chOff x="4624168" y="4098236"/>
            <a:chExt cx="2957141" cy="819150"/>
          </a:xfrm>
        </p:grpSpPr>
        <p:sp>
          <p:nvSpPr>
            <p:cNvPr id="14" name="フリーフォーム: 図形 8">
              <a:extLst>
                <a:ext uri="{FF2B5EF4-FFF2-40B4-BE49-F238E27FC236}">
                  <a16:creationId xmlns:a16="http://schemas.microsoft.com/office/drawing/2014/main" id="{1F6321C8-C2FC-4820-9A28-48176C15E2E5}"/>
                </a:ext>
              </a:extLst>
            </p:cNvPr>
            <p:cNvSpPr/>
            <p:nvPr/>
          </p:nvSpPr>
          <p:spPr>
            <a:xfrm>
              <a:off x="4624168" y="4098236"/>
              <a:ext cx="971550"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a:p>
          </p:txBody>
        </p:sp>
        <p:sp>
          <p:nvSpPr>
            <p:cNvPr id="15" name="フリーフォーム: 図形 9">
              <a:extLst>
                <a:ext uri="{FF2B5EF4-FFF2-40B4-BE49-F238E27FC236}">
                  <a16:creationId xmlns:a16="http://schemas.microsoft.com/office/drawing/2014/main" id="{81028ECA-7401-42FF-B799-D9BD87FF458D}"/>
                </a:ext>
              </a:extLst>
            </p:cNvPr>
            <p:cNvSpPr/>
            <p:nvPr/>
          </p:nvSpPr>
          <p:spPr>
            <a:xfrm>
              <a:off x="7190784" y="4524946"/>
              <a:ext cx="390525" cy="352425"/>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a:p>
          </p:txBody>
        </p:sp>
        <p:sp>
          <p:nvSpPr>
            <p:cNvPr id="16" name="フリーフォーム: 図形 10">
              <a:extLst>
                <a:ext uri="{FF2B5EF4-FFF2-40B4-BE49-F238E27FC236}">
                  <a16:creationId xmlns:a16="http://schemas.microsoft.com/office/drawing/2014/main" id="{030837EC-B751-46EF-B705-459CE2D2F44E}"/>
                </a:ext>
              </a:extLst>
            </p:cNvPr>
            <p:cNvSpPr/>
            <p:nvPr/>
          </p:nvSpPr>
          <p:spPr>
            <a:xfrm>
              <a:off x="7103392" y="4363774"/>
              <a:ext cx="476250" cy="514350"/>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a:p>
          </p:txBody>
        </p:sp>
        <p:sp>
          <p:nvSpPr>
            <p:cNvPr id="17" name="フリーフォーム: 図形 11">
              <a:extLst>
                <a:ext uri="{FF2B5EF4-FFF2-40B4-BE49-F238E27FC236}">
                  <a16:creationId xmlns:a16="http://schemas.microsoft.com/office/drawing/2014/main" id="{910A8F01-833E-4649-A3AD-F2A5CA1B7357}"/>
                </a:ext>
              </a:extLst>
            </p:cNvPr>
            <p:cNvSpPr/>
            <p:nvPr/>
          </p:nvSpPr>
          <p:spPr>
            <a:xfrm>
              <a:off x="6484267" y="4397940"/>
              <a:ext cx="476250" cy="476250"/>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a:p>
          </p:txBody>
        </p:sp>
        <p:sp>
          <p:nvSpPr>
            <p:cNvPr id="18" name="フリーフォーム: 図形 12">
              <a:extLst>
                <a:ext uri="{FF2B5EF4-FFF2-40B4-BE49-F238E27FC236}">
                  <a16:creationId xmlns:a16="http://schemas.microsoft.com/office/drawing/2014/main" id="{D82D9FCF-1CB5-45F2-9B69-F995CF72F425}"/>
                </a:ext>
              </a:extLst>
            </p:cNvPr>
            <p:cNvSpPr/>
            <p:nvPr/>
          </p:nvSpPr>
          <p:spPr>
            <a:xfrm>
              <a:off x="6793496" y="4397940"/>
              <a:ext cx="142875"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a:p>
          </p:txBody>
        </p:sp>
        <p:sp>
          <p:nvSpPr>
            <p:cNvPr id="19" name="フリーフォーム: 図形 13">
              <a:extLst>
                <a:ext uri="{FF2B5EF4-FFF2-40B4-BE49-F238E27FC236}">
                  <a16:creationId xmlns:a16="http://schemas.microsoft.com/office/drawing/2014/main" id="{BA7F4ADC-2F43-4472-9DB8-F9789A28A9B0}"/>
                </a:ext>
              </a:extLst>
            </p:cNvPr>
            <p:cNvSpPr/>
            <p:nvPr/>
          </p:nvSpPr>
          <p:spPr>
            <a:xfrm>
              <a:off x="6513375" y="4397940"/>
              <a:ext cx="142875"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a:p>
          </p:txBody>
        </p:sp>
        <p:sp>
          <p:nvSpPr>
            <p:cNvPr id="20" name="フリーフォーム: 図形 14">
              <a:extLst>
                <a:ext uri="{FF2B5EF4-FFF2-40B4-BE49-F238E27FC236}">
                  <a16:creationId xmlns:a16="http://schemas.microsoft.com/office/drawing/2014/main" id="{5040B39F-D152-4517-B17D-5AAACA5F6436}"/>
                </a:ext>
              </a:extLst>
            </p:cNvPr>
            <p:cNvSpPr/>
            <p:nvPr/>
          </p:nvSpPr>
          <p:spPr>
            <a:xfrm>
              <a:off x="6150387" y="4397940"/>
              <a:ext cx="219075" cy="476250"/>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a:p>
          </p:txBody>
        </p:sp>
        <p:sp>
          <p:nvSpPr>
            <p:cNvPr id="21" name="フリーフォーム: 図形 15">
              <a:extLst>
                <a:ext uri="{FF2B5EF4-FFF2-40B4-BE49-F238E27FC236}">
                  <a16:creationId xmlns:a16="http://schemas.microsoft.com/office/drawing/2014/main" id="{B3F451FB-EA75-4241-BD27-E1820141DC9A}"/>
                </a:ext>
              </a:extLst>
            </p:cNvPr>
            <p:cNvSpPr/>
            <p:nvPr/>
          </p:nvSpPr>
          <p:spPr>
            <a:xfrm>
              <a:off x="5863313" y="4363783"/>
              <a:ext cx="285750" cy="514350"/>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a:p>
          </p:txBody>
        </p:sp>
        <p:sp>
          <p:nvSpPr>
            <p:cNvPr id="22" name="フリーフォーム: 図形 16">
              <a:extLst>
                <a:ext uri="{FF2B5EF4-FFF2-40B4-BE49-F238E27FC236}">
                  <a16:creationId xmlns:a16="http://schemas.microsoft.com/office/drawing/2014/main" id="{5392972C-FC9F-478F-8F94-E0EA4FE864ED}"/>
                </a:ext>
              </a:extLst>
            </p:cNvPr>
            <p:cNvSpPr/>
            <p:nvPr/>
          </p:nvSpPr>
          <p:spPr>
            <a:xfrm>
              <a:off x="5899880" y="4139269"/>
              <a:ext cx="190500" cy="200025"/>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a:p>
          </p:txBody>
        </p:sp>
        <p:sp>
          <p:nvSpPr>
            <p:cNvPr id="23" name="フリーフォーム: 図形 17">
              <a:extLst>
                <a:ext uri="{FF2B5EF4-FFF2-40B4-BE49-F238E27FC236}">
                  <a16:creationId xmlns:a16="http://schemas.microsoft.com/office/drawing/2014/main" id="{8DE71E10-5F0B-4738-90B9-3ACACE1D5E96}"/>
                </a:ext>
              </a:extLst>
            </p:cNvPr>
            <p:cNvSpPr/>
            <p:nvPr/>
          </p:nvSpPr>
          <p:spPr>
            <a:xfrm>
              <a:off x="6114792" y="4129592"/>
              <a:ext cx="200025" cy="200025"/>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a:p>
          </p:txBody>
        </p:sp>
        <p:sp>
          <p:nvSpPr>
            <p:cNvPr id="24" name="フリーフォーム: 図形 18">
              <a:extLst>
                <a:ext uri="{FF2B5EF4-FFF2-40B4-BE49-F238E27FC236}">
                  <a16:creationId xmlns:a16="http://schemas.microsoft.com/office/drawing/2014/main" id="{8C337C08-F0D1-498F-A0D4-88A96212E89D}"/>
                </a:ext>
              </a:extLst>
            </p:cNvPr>
            <p:cNvSpPr/>
            <p:nvPr/>
          </p:nvSpPr>
          <p:spPr>
            <a:xfrm>
              <a:off x="6335839" y="4129592"/>
              <a:ext cx="209550" cy="200025"/>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a:p>
          </p:txBody>
        </p:sp>
        <p:sp>
          <p:nvSpPr>
            <p:cNvPr id="25" name="フリーフォーム: 図形 19">
              <a:extLst>
                <a:ext uri="{FF2B5EF4-FFF2-40B4-BE49-F238E27FC236}">
                  <a16:creationId xmlns:a16="http://schemas.microsoft.com/office/drawing/2014/main" id="{EC29DAE7-3511-4594-BD83-8519AF4740D8}"/>
                </a:ext>
              </a:extLst>
            </p:cNvPr>
            <p:cNvSpPr/>
            <p:nvPr/>
          </p:nvSpPr>
          <p:spPr>
            <a:xfrm>
              <a:off x="6554514" y="4131697"/>
              <a:ext cx="209550" cy="200025"/>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a:p>
          </p:txBody>
        </p:sp>
        <p:sp>
          <p:nvSpPr>
            <p:cNvPr id="26" name="フリーフォーム: 図形 20">
              <a:extLst>
                <a:ext uri="{FF2B5EF4-FFF2-40B4-BE49-F238E27FC236}">
                  <a16:creationId xmlns:a16="http://schemas.microsoft.com/office/drawing/2014/main" id="{49B7022A-381B-4E9F-88E8-A8AAEB9E567E}"/>
                </a:ext>
              </a:extLst>
            </p:cNvPr>
            <p:cNvSpPr/>
            <p:nvPr/>
          </p:nvSpPr>
          <p:spPr>
            <a:xfrm>
              <a:off x="6776113" y="4130182"/>
              <a:ext cx="209550" cy="200025"/>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a:p>
          </p:txBody>
        </p:sp>
      </p:grpSp>
    </p:spTree>
    <p:extLst>
      <p:ext uri="{BB962C8B-B14F-4D97-AF65-F5344CB8AC3E}">
        <p14:creationId xmlns:p14="http://schemas.microsoft.com/office/powerpoint/2010/main" val="1145892132"/>
      </p:ext>
    </p:extLst>
  </p:cSld>
  <p:clrMap bg1="lt1" tx1="dk1" bg2="lt2" tx2="dk2" accent1="accent1" accent2="accent2" accent3="accent3" accent4="accent4" accent5="accent5" accent6="accent6" hlink="hlink" folHlink="folHlink"/>
  <p:sldLayoutIdLst>
    <p:sldLayoutId id="2147483801" r:id="rId1"/>
    <p:sldLayoutId id="2147483802" r:id="rId2"/>
  </p:sldLayoutIdLst>
  <p:hf hdr="0" ftr="0" dt="0"/>
  <p:txStyles>
    <p:titleStyle>
      <a:lvl1pPr algn="l" rtl="0" fontAlgn="base">
        <a:spcBef>
          <a:spcPct val="0"/>
        </a:spcBef>
        <a:spcAft>
          <a:spcPct val="0"/>
        </a:spcAft>
        <a:defRPr kumimoji="1" sz="2800" kern="1200">
          <a:solidFill>
            <a:schemeClr val="tx1"/>
          </a:solidFill>
          <a:latin typeface="+mj-lt"/>
          <a:ea typeface="+mj-ea"/>
          <a:cs typeface="+mj-cs"/>
        </a:defRPr>
      </a:lvl1pPr>
      <a:lvl2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2pPr>
      <a:lvl3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3pPr>
      <a:lvl4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4pPr>
      <a:lvl5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5pPr>
      <a:lvl6pPr marL="4572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6pPr>
      <a:lvl7pPr marL="9144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7pPr>
      <a:lvl8pPr marL="13716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8pPr>
      <a:lvl9pPr marL="18288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9pPr>
    </p:titleStyle>
    <p:bodyStyle>
      <a:lvl1pPr marL="342900" indent="-342900" algn="l" rtl="0" fontAlgn="base">
        <a:spcBef>
          <a:spcPct val="20000"/>
        </a:spcBef>
        <a:spcAft>
          <a:spcPct val="0"/>
        </a:spcAft>
        <a:buChar char="•"/>
        <a:defRPr kumimoji="1" sz="3200" kern="1200">
          <a:solidFill>
            <a:schemeClr val="tx1"/>
          </a:solidFill>
          <a:latin typeface="+mn-lt"/>
          <a:ea typeface="+mn-ea"/>
          <a:cs typeface="+mn-cs"/>
        </a:defRPr>
      </a:lvl1pPr>
      <a:lvl2pPr marL="742950" indent="-285750" algn="l" rtl="0" fontAlgn="base">
        <a:spcBef>
          <a:spcPct val="20000"/>
        </a:spcBef>
        <a:spcAft>
          <a:spcPct val="0"/>
        </a:spcAft>
        <a:buChar char="–"/>
        <a:defRPr kumimoji="1" sz="2800" kern="1200">
          <a:solidFill>
            <a:schemeClr val="tx1"/>
          </a:solidFill>
          <a:latin typeface="+mn-lt"/>
          <a:ea typeface="+mn-ea"/>
          <a:cs typeface="+mn-cs"/>
        </a:defRPr>
      </a:lvl2pPr>
      <a:lvl3pPr marL="1143000" indent="-228600" algn="l" rtl="0" fontAlgn="base">
        <a:spcBef>
          <a:spcPct val="20000"/>
        </a:spcBef>
        <a:spcAft>
          <a:spcPct val="0"/>
        </a:spcAft>
        <a:buChar char="•"/>
        <a:defRPr kumimoji="1" sz="2400" kern="1200">
          <a:solidFill>
            <a:schemeClr val="tx1"/>
          </a:solidFill>
          <a:latin typeface="+mn-lt"/>
          <a:ea typeface="+mn-ea"/>
          <a:cs typeface="+mn-cs"/>
        </a:defRPr>
      </a:lvl3pPr>
      <a:lvl4pPr marL="1600200" indent="-228600" algn="l" rtl="0" fontAlgn="base">
        <a:spcBef>
          <a:spcPct val="20000"/>
        </a:spcBef>
        <a:spcAft>
          <a:spcPct val="0"/>
        </a:spcAft>
        <a:buChar char="–"/>
        <a:defRPr kumimoji="1" sz="2000" kern="1200">
          <a:solidFill>
            <a:schemeClr val="tx1"/>
          </a:solidFill>
          <a:latin typeface="+mn-lt"/>
          <a:ea typeface="+mn-ea"/>
          <a:cs typeface="+mn-cs"/>
        </a:defRPr>
      </a:lvl4pPr>
      <a:lvl5pPr marL="2057400" indent="-228600" algn="l" rtl="0" fontAlgn="base">
        <a:spcBef>
          <a:spcPct val="20000"/>
        </a:spcBef>
        <a:spcAft>
          <a:spcPct val="0"/>
        </a:spcAft>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body" idx="1"/>
          </p:nvPr>
        </p:nvSpPr>
        <p:spPr>
          <a:xfrm>
            <a:off x="495300" y="1600200"/>
            <a:ext cx="8915400" cy="4525963"/>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3"/>
          <p:cNvSpPr>
            <a:spLocks noGrp="1" noChangeArrowheads="1"/>
          </p:cNvSpPr>
          <p:nvPr>
            <p:ph type="dt" sz="half" idx="2"/>
          </p:nvPr>
        </p:nvSpPr>
        <p:spPr>
          <a:xfrm>
            <a:off x="495300" y="6245225"/>
            <a:ext cx="23114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l">
              <a:defRPr sz="1400"/>
            </a:lvl1pPr>
          </a:lstStyle>
          <a:p>
            <a:endParaRPr lang="en-US" altLang="ja-JP"/>
          </a:p>
        </p:txBody>
      </p:sp>
      <p:sp>
        <p:nvSpPr>
          <p:cNvPr id="1027" name="Rectangle 4"/>
          <p:cNvSpPr>
            <a:spLocks noGrp="1" noChangeArrowheads="1"/>
          </p:cNvSpPr>
          <p:nvPr>
            <p:ph type="ftr" sz="quarter" idx="3"/>
          </p:nvPr>
        </p:nvSpPr>
        <p:spPr>
          <a:xfrm>
            <a:off x="3384550" y="6245225"/>
            <a:ext cx="31369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sz="1400"/>
            </a:lvl1pPr>
          </a:lstStyle>
          <a:p>
            <a:endParaRPr lang="en-US" altLang="ja-JP"/>
          </a:p>
        </p:txBody>
      </p:sp>
      <p:sp>
        <p:nvSpPr>
          <p:cNvPr id="1028" name="Rectangle 5"/>
          <p:cNvSpPr>
            <a:spLocks noGrp="1" noChangeArrowheads="1"/>
          </p:cNvSpPr>
          <p:nvPr>
            <p:ph type="sldNum" sz="quarter" idx="4"/>
          </p:nvPr>
        </p:nvSpPr>
        <p:spPr>
          <a:xfrm>
            <a:off x="7594600" y="6237288"/>
            <a:ext cx="23114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1400"/>
            </a:lvl1pPr>
          </a:lstStyle>
          <a:p>
            <a:fld id="{F245FCB2-03D4-4C5B-9B1A-4180124C4B36}" type="slidenum">
              <a:rPr lang="en-US" altLang="ja-JP"/>
              <a:pPr/>
              <a:t>‹#›</a:t>
            </a:fld>
            <a:endParaRPr lang="en-US" altLang="ja-JP"/>
          </a:p>
        </p:txBody>
      </p:sp>
      <p:sp>
        <p:nvSpPr>
          <p:cNvPr id="1029" name="Rectangle 6"/>
          <p:cNvSpPr>
            <a:spLocks noChangeArrowheads="1"/>
          </p:cNvSpPr>
          <p:nvPr userDrawn="1"/>
        </p:nvSpPr>
        <p:spPr>
          <a:xfrm>
            <a:off x="0" y="0"/>
            <a:ext cx="9906000" cy="366713"/>
          </a:xfrm>
          <a:prstGeom prst="rect">
            <a:avLst/>
          </a:prstGeom>
          <a:noFill/>
          <a:ln>
            <a:noFill/>
          </a:ln>
          <a:effectLst/>
        </p:spPr>
        <p:txBody>
          <a:bodyPr wrap="none" anchor="ctr"/>
          <a:lstStyle/>
          <a:p>
            <a:endParaRPr lang="ja-JP" altLang="en-US"/>
          </a:p>
        </p:txBody>
      </p:sp>
      <p:grpSp>
        <p:nvGrpSpPr>
          <p:cNvPr id="1030" name="Group 27"/>
          <p:cNvGrpSpPr/>
          <p:nvPr userDrawn="1"/>
        </p:nvGrpSpPr>
        <p:grpSpPr>
          <a:xfrm>
            <a:off x="0" y="333375"/>
            <a:ext cx="9906000" cy="214313"/>
            <a:chOff x="0" y="255"/>
            <a:chExt cx="6240" cy="135"/>
          </a:xfrm>
        </p:grpSpPr>
        <p:sp>
          <p:nvSpPr>
            <p:cNvPr id="1031" name="Rectangle 28"/>
            <p:cNvSpPr>
              <a:spLocks noChangeArrowheads="1"/>
            </p:cNvSpPr>
            <p:nvPr userDrawn="1"/>
          </p:nvSpPr>
          <p:spPr>
            <a:xfrm>
              <a:off x="0" y="345"/>
              <a:ext cx="6240" cy="45"/>
            </a:xfrm>
            <a:prstGeom prst="rect">
              <a:avLst/>
            </a:prstGeom>
            <a:solidFill>
              <a:srgbClr val="FF0000"/>
            </a:solidFill>
            <a:ln>
              <a:noFill/>
            </a:ln>
            <a:effectLst/>
          </p:spPr>
          <p:txBody>
            <a:bodyPr wrap="none" anchor="ctr"/>
            <a:lstStyle/>
            <a:p>
              <a:endParaRPr lang="ja-JP" altLang="en-US"/>
            </a:p>
          </p:txBody>
        </p:sp>
        <p:sp>
          <p:nvSpPr>
            <p:cNvPr id="1032" name="Rectangle 29"/>
            <p:cNvSpPr>
              <a:spLocks noChangeArrowheads="1"/>
            </p:cNvSpPr>
            <p:nvPr userDrawn="1"/>
          </p:nvSpPr>
          <p:spPr>
            <a:xfrm>
              <a:off x="0" y="300"/>
              <a:ext cx="6240" cy="45"/>
            </a:xfrm>
            <a:prstGeom prst="rect">
              <a:avLst/>
            </a:prstGeom>
            <a:solidFill>
              <a:srgbClr val="FF3399"/>
            </a:solidFill>
            <a:ln>
              <a:noFill/>
            </a:ln>
            <a:effectLst/>
          </p:spPr>
          <p:txBody>
            <a:bodyPr wrap="none" anchor="ctr"/>
            <a:lstStyle/>
            <a:p>
              <a:endParaRPr lang="ja-JP" altLang="en-US"/>
            </a:p>
          </p:txBody>
        </p:sp>
        <p:sp>
          <p:nvSpPr>
            <p:cNvPr id="1033" name="Rectangle 30"/>
            <p:cNvSpPr>
              <a:spLocks noChangeArrowheads="1"/>
            </p:cNvSpPr>
            <p:nvPr userDrawn="1"/>
          </p:nvSpPr>
          <p:spPr>
            <a:xfrm>
              <a:off x="0" y="255"/>
              <a:ext cx="6240" cy="45"/>
            </a:xfrm>
            <a:prstGeom prst="rect">
              <a:avLst/>
            </a:prstGeom>
            <a:solidFill>
              <a:srgbClr val="FFCCFF"/>
            </a:solidFill>
            <a:ln>
              <a:noFill/>
            </a:ln>
            <a:effectLst/>
          </p:spPr>
          <p:txBody>
            <a:bodyPr wrap="none" anchor="ctr"/>
            <a:lstStyle/>
            <a:p>
              <a:endParaRPr lang="ja-JP" altLang="en-US"/>
            </a:p>
          </p:txBody>
        </p:sp>
      </p:grpSp>
      <p:sp>
        <p:nvSpPr>
          <p:cNvPr id="1034" name="Rectangle 22"/>
          <p:cNvSpPr>
            <a:spLocks noGrp="1" noChangeArrowheads="1"/>
          </p:cNvSpPr>
          <p:nvPr>
            <p:ph type="title"/>
          </p:nvPr>
        </p:nvSpPr>
        <p:spPr>
          <a:xfrm>
            <a:off x="0" y="0"/>
            <a:ext cx="8266113" cy="476250"/>
          </a:xfrm>
          <a:prstGeom prst="rect">
            <a:avLst/>
          </a:prstGeom>
          <a:noFill/>
          <a:ln>
            <a:noFill/>
          </a:ln>
          <a:effec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grpSp>
        <p:nvGrpSpPr>
          <p:cNvPr id="1035" name="グループ化 12"/>
          <p:cNvGrpSpPr>
            <a:grpSpLocks noChangeAspect="1"/>
          </p:cNvGrpSpPr>
          <p:nvPr userDrawn="1"/>
        </p:nvGrpSpPr>
        <p:grpSpPr>
          <a:xfrm>
            <a:off x="8763198" y="9625"/>
            <a:ext cx="1134000" cy="314126"/>
            <a:chOff x="4624168" y="4098236"/>
            <a:chExt cx="2957141" cy="819150"/>
          </a:xfrm>
        </p:grpSpPr>
        <p:sp>
          <p:nvSpPr>
            <p:cNvPr id="1036" name="フリーフォーム: 図形 8"/>
            <p:cNvSpPr/>
            <p:nvPr/>
          </p:nvSpPr>
          <p:spPr>
            <a:xfrm>
              <a:off x="4624168" y="4098236"/>
              <a:ext cx="971550"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a:p>
          </p:txBody>
        </p:sp>
        <p:sp>
          <p:nvSpPr>
            <p:cNvPr id="1037" name="フリーフォーム: 図形 9"/>
            <p:cNvSpPr/>
            <p:nvPr/>
          </p:nvSpPr>
          <p:spPr>
            <a:xfrm>
              <a:off x="7190784" y="4524946"/>
              <a:ext cx="390525" cy="352425"/>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a:p>
          </p:txBody>
        </p:sp>
        <p:sp>
          <p:nvSpPr>
            <p:cNvPr id="1038" name="フリーフォーム: 図形 10"/>
            <p:cNvSpPr/>
            <p:nvPr/>
          </p:nvSpPr>
          <p:spPr>
            <a:xfrm>
              <a:off x="7103392" y="4363774"/>
              <a:ext cx="476250" cy="514350"/>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a:p>
          </p:txBody>
        </p:sp>
        <p:sp>
          <p:nvSpPr>
            <p:cNvPr id="1039" name="フリーフォーム: 図形 11"/>
            <p:cNvSpPr/>
            <p:nvPr/>
          </p:nvSpPr>
          <p:spPr>
            <a:xfrm>
              <a:off x="6484267" y="4397940"/>
              <a:ext cx="476250" cy="476250"/>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a:p>
          </p:txBody>
        </p:sp>
        <p:sp>
          <p:nvSpPr>
            <p:cNvPr id="1040" name="フリーフォーム: 図形 12"/>
            <p:cNvSpPr/>
            <p:nvPr/>
          </p:nvSpPr>
          <p:spPr>
            <a:xfrm>
              <a:off x="6793496" y="4397940"/>
              <a:ext cx="142875"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a:p>
          </p:txBody>
        </p:sp>
        <p:sp>
          <p:nvSpPr>
            <p:cNvPr id="1041" name="フリーフォーム: 図形 13"/>
            <p:cNvSpPr/>
            <p:nvPr/>
          </p:nvSpPr>
          <p:spPr>
            <a:xfrm>
              <a:off x="6513375" y="4397940"/>
              <a:ext cx="142875"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a:p>
          </p:txBody>
        </p:sp>
        <p:sp>
          <p:nvSpPr>
            <p:cNvPr id="1042" name="フリーフォーム: 図形 14"/>
            <p:cNvSpPr/>
            <p:nvPr/>
          </p:nvSpPr>
          <p:spPr>
            <a:xfrm>
              <a:off x="6150387" y="4397940"/>
              <a:ext cx="219075" cy="476250"/>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a:p>
          </p:txBody>
        </p:sp>
        <p:sp>
          <p:nvSpPr>
            <p:cNvPr id="1043" name="フリーフォーム: 図形 15"/>
            <p:cNvSpPr/>
            <p:nvPr/>
          </p:nvSpPr>
          <p:spPr>
            <a:xfrm>
              <a:off x="5863313" y="4363783"/>
              <a:ext cx="285750" cy="514350"/>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a:p>
          </p:txBody>
        </p:sp>
        <p:sp>
          <p:nvSpPr>
            <p:cNvPr id="1044" name="フリーフォーム: 図形 16"/>
            <p:cNvSpPr/>
            <p:nvPr/>
          </p:nvSpPr>
          <p:spPr>
            <a:xfrm>
              <a:off x="5899880" y="4139269"/>
              <a:ext cx="190500" cy="200025"/>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a:p>
          </p:txBody>
        </p:sp>
        <p:sp>
          <p:nvSpPr>
            <p:cNvPr id="1045" name="フリーフォーム: 図形 17"/>
            <p:cNvSpPr/>
            <p:nvPr/>
          </p:nvSpPr>
          <p:spPr>
            <a:xfrm>
              <a:off x="6114792" y="4129592"/>
              <a:ext cx="200025" cy="200025"/>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a:p>
          </p:txBody>
        </p:sp>
        <p:sp>
          <p:nvSpPr>
            <p:cNvPr id="1046" name="フリーフォーム: 図形 18"/>
            <p:cNvSpPr/>
            <p:nvPr/>
          </p:nvSpPr>
          <p:spPr>
            <a:xfrm>
              <a:off x="6335839" y="4129592"/>
              <a:ext cx="209550" cy="200025"/>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a:p>
          </p:txBody>
        </p:sp>
        <p:sp>
          <p:nvSpPr>
            <p:cNvPr id="1047" name="フリーフォーム: 図形 19"/>
            <p:cNvSpPr/>
            <p:nvPr/>
          </p:nvSpPr>
          <p:spPr>
            <a:xfrm>
              <a:off x="6554514" y="4131697"/>
              <a:ext cx="209550" cy="200025"/>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a:p>
          </p:txBody>
        </p:sp>
        <p:sp>
          <p:nvSpPr>
            <p:cNvPr id="1048" name="フリーフォーム: 図形 20"/>
            <p:cNvSpPr/>
            <p:nvPr/>
          </p:nvSpPr>
          <p:spPr>
            <a:xfrm>
              <a:off x="6776113" y="4130182"/>
              <a:ext cx="209550" cy="200025"/>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a:p>
          </p:txBody>
        </p:sp>
      </p:grpSp>
    </p:spTree>
    <p:extLst>
      <p:ext uri="{BB962C8B-B14F-4D97-AF65-F5344CB8AC3E}">
        <p14:creationId xmlns:p14="http://schemas.microsoft.com/office/powerpoint/2010/main" val="2604892808"/>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Lst>
  <p:hf hdr="0" ftr="0" dt="0"/>
  <p:txStyles>
    <p:titleStyle>
      <a:lvl1pPr algn="l" rtl="0" fontAlgn="base">
        <a:spcBef>
          <a:spcPct val="0"/>
        </a:spcBef>
        <a:spcAft>
          <a:spcPct val="0"/>
        </a:spcAft>
        <a:defRPr kumimoji="1" sz="2800" kern="1200">
          <a:solidFill>
            <a:schemeClr val="tx1"/>
          </a:solidFill>
          <a:latin typeface="+mj-lt"/>
          <a:ea typeface="+mj-ea"/>
          <a:cs typeface="+mj-cs"/>
        </a:defRPr>
      </a:lvl1pPr>
      <a:lvl2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2pPr>
      <a:lvl3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3pPr>
      <a:lvl4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4pPr>
      <a:lvl5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5pPr>
      <a:lvl6pPr marL="4572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6pPr>
      <a:lvl7pPr marL="9144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7pPr>
      <a:lvl8pPr marL="13716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8pPr>
      <a:lvl9pPr marL="18288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9pPr>
    </p:titleStyle>
    <p:bodyStyle>
      <a:lvl1pPr marL="342900" indent="-342900" algn="l" rtl="0" fontAlgn="base">
        <a:spcBef>
          <a:spcPct val="20000"/>
        </a:spcBef>
        <a:spcAft>
          <a:spcPct val="0"/>
        </a:spcAft>
        <a:buChar char="•"/>
        <a:defRPr kumimoji="1" sz="3200" kern="1200">
          <a:solidFill>
            <a:schemeClr val="tx1"/>
          </a:solidFill>
          <a:latin typeface="+mn-lt"/>
          <a:ea typeface="+mn-ea"/>
          <a:cs typeface="+mn-cs"/>
        </a:defRPr>
      </a:lvl1pPr>
      <a:lvl2pPr marL="742950" indent="-285750" algn="l" rtl="0" fontAlgn="base">
        <a:spcBef>
          <a:spcPct val="20000"/>
        </a:spcBef>
        <a:spcAft>
          <a:spcPct val="0"/>
        </a:spcAft>
        <a:buChar char="–"/>
        <a:defRPr kumimoji="1" sz="2800" kern="1200">
          <a:solidFill>
            <a:schemeClr val="tx1"/>
          </a:solidFill>
          <a:latin typeface="+mn-lt"/>
          <a:ea typeface="+mn-ea"/>
          <a:cs typeface="+mn-cs"/>
        </a:defRPr>
      </a:lvl2pPr>
      <a:lvl3pPr marL="1143000" indent="-228600" algn="l" rtl="0" fontAlgn="base">
        <a:spcBef>
          <a:spcPct val="20000"/>
        </a:spcBef>
        <a:spcAft>
          <a:spcPct val="0"/>
        </a:spcAft>
        <a:buChar char="•"/>
        <a:defRPr kumimoji="1" sz="2400" kern="1200">
          <a:solidFill>
            <a:schemeClr val="tx1"/>
          </a:solidFill>
          <a:latin typeface="+mn-lt"/>
          <a:ea typeface="+mn-ea"/>
          <a:cs typeface="+mn-cs"/>
        </a:defRPr>
      </a:lvl3pPr>
      <a:lvl4pPr marL="1600200" indent="-228600" algn="l" rtl="0" fontAlgn="base">
        <a:spcBef>
          <a:spcPct val="20000"/>
        </a:spcBef>
        <a:spcAft>
          <a:spcPct val="0"/>
        </a:spcAft>
        <a:buChar char="–"/>
        <a:defRPr kumimoji="1" sz="2000" kern="1200">
          <a:solidFill>
            <a:schemeClr val="tx1"/>
          </a:solidFill>
          <a:latin typeface="+mn-lt"/>
          <a:ea typeface="+mn-ea"/>
          <a:cs typeface="+mn-cs"/>
        </a:defRPr>
      </a:lvl4pPr>
      <a:lvl5pPr marL="2057400" indent="-228600" algn="l" rtl="0" fontAlgn="base">
        <a:spcBef>
          <a:spcPct val="20000"/>
        </a:spcBef>
        <a:spcAft>
          <a:spcPct val="0"/>
        </a:spcAft>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body" idx="1"/>
          </p:nvPr>
        </p:nvSpPr>
        <p:spPr>
          <a:xfrm>
            <a:off x="495300" y="1600202"/>
            <a:ext cx="8915400" cy="4525963"/>
          </a:xfrm>
          <a:prstGeom prst="rect">
            <a:avLst/>
          </a:prstGeom>
          <a:noFill/>
          <a:ln w="9525">
            <a:noFill/>
            <a:miter lim="800000"/>
            <a:headEnd/>
            <a:tailEnd/>
          </a:ln>
        </p:spPr>
        <p:txBody>
          <a:bodyPr vert="horz" wrap="square" lIns="91407" tIns="45704" rIns="91407" bIns="45704"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3"/>
          <p:cNvSpPr>
            <a:spLocks noGrp="1" noChangeArrowheads="1"/>
          </p:cNvSpPr>
          <p:nvPr>
            <p:ph type="dt" sz="half" idx="2"/>
          </p:nvPr>
        </p:nvSpPr>
        <p:spPr>
          <a:xfrm>
            <a:off x="495300" y="6245225"/>
            <a:ext cx="2311400" cy="476250"/>
          </a:xfrm>
          <a:prstGeom prst="rect">
            <a:avLst/>
          </a:prstGeom>
          <a:noFill/>
          <a:ln w="9525">
            <a:noFill/>
            <a:miter lim="800000"/>
            <a:headEnd/>
            <a:tailEnd/>
          </a:ln>
          <a:effectLst/>
        </p:spPr>
        <p:txBody>
          <a:bodyPr vert="horz" wrap="square" lIns="91407" tIns="45704" rIns="91407" bIns="45704" numCol="1" anchor="t" anchorCtr="0" compatLnSpc="1">
            <a:prstTxWarp prst="textNoShape">
              <a:avLst/>
            </a:prstTxWarp>
          </a:bodyPr>
          <a:lstStyle>
            <a:lvl1pPr algn="l">
              <a:defRPr sz="1400">
                <a:solidFill>
                  <a:srgbClr val="000000"/>
                </a:solidFill>
                <a:latin typeface="Arial" charset="0"/>
                <a:ea typeface="ＭＳ Ｐゴシック" pitchFamily="50" charset="-128"/>
              </a:defRPr>
            </a:lvl1pPr>
          </a:lstStyle>
          <a:p>
            <a:pPr>
              <a:defRPr/>
            </a:pPr>
            <a:endParaRPr lang="en-US" altLang="ja-JP" dirty="0"/>
          </a:p>
        </p:txBody>
      </p:sp>
      <p:sp>
        <p:nvSpPr>
          <p:cNvPr id="1027" name="Rectangle 4"/>
          <p:cNvSpPr>
            <a:spLocks noGrp="1" noChangeArrowheads="1"/>
          </p:cNvSpPr>
          <p:nvPr>
            <p:ph type="ftr" sz="quarter" idx="3"/>
          </p:nvPr>
        </p:nvSpPr>
        <p:spPr>
          <a:xfrm>
            <a:off x="3384550" y="6245225"/>
            <a:ext cx="3136900" cy="476250"/>
          </a:xfrm>
          <a:prstGeom prst="rect">
            <a:avLst/>
          </a:prstGeom>
          <a:noFill/>
          <a:ln w="9525">
            <a:noFill/>
            <a:miter lim="800000"/>
            <a:headEnd/>
            <a:tailEnd/>
          </a:ln>
          <a:effectLst/>
        </p:spPr>
        <p:txBody>
          <a:bodyPr vert="horz" wrap="square" lIns="91407" tIns="45704" rIns="91407" bIns="45704" numCol="1" anchor="t" anchorCtr="0" compatLnSpc="1">
            <a:prstTxWarp prst="textNoShape">
              <a:avLst/>
            </a:prstTxWarp>
          </a:bodyPr>
          <a:lstStyle>
            <a:lvl1pPr algn="ctr">
              <a:defRPr sz="1400">
                <a:solidFill>
                  <a:srgbClr val="000000"/>
                </a:solidFill>
                <a:latin typeface="Arial" charset="0"/>
                <a:ea typeface="ＭＳ Ｐゴシック" pitchFamily="50" charset="-128"/>
              </a:defRPr>
            </a:lvl1pPr>
          </a:lstStyle>
          <a:p>
            <a:pPr>
              <a:defRPr/>
            </a:pPr>
            <a:endParaRPr lang="en-US" altLang="ja-JP" dirty="0"/>
          </a:p>
        </p:txBody>
      </p:sp>
      <p:sp>
        <p:nvSpPr>
          <p:cNvPr id="1028" name="Rectangle 5"/>
          <p:cNvSpPr>
            <a:spLocks noGrp="1" noChangeArrowheads="1"/>
          </p:cNvSpPr>
          <p:nvPr>
            <p:ph type="sldNum" sz="quarter" idx="4"/>
          </p:nvPr>
        </p:nvSpPr>
        <p:spPr>
          <a:xfrm>
            <a:off x="7594600" y="6237288"/>
            <a:ext cx="2311400" cy="476250"/>
          </a:xfrm>
          <a:prstGeom prst="rect">
            <a:avLst/>
          </a:prstGeom>
          <a:noFill/>
          <a:ln w="9525">
            <a:noFill/>
            <a:miter lim="800000"/>
            <a:headEnd/>
            <a:tailEnd/>
          </a:ln>
          <a:effectLst/>
        </p:spPr>
        <p:txBody>
          <a:bodyPr vert="horz" wrap="square" lIns="91407" tIns="45704" rIns="91407" bIns="45704" numCol="1" anchor="t" anchorCtr="0" compatLnSpc="1">
            <a:prstTxWarp prst="textNoShape">
              <a:avLst/>
            </a:prstTxWarp>
          </a:bodyPr>
          <a:lstStyle>
            <a:lvl1pPr algn="r">
              <a:defRPr sz="1400">
                <a:solidFill>
                  <a:srgbClr val="000000"/>
                </a:solidFill>
                <a:latin typeface="Arial" charset="0"/>
                <a:ea typeface="ＭＳ Ｐゴシック" pitchFamily="50" charset="-128"/>
              </a:defRPr>
            </a:lvl1pPr>
          </a:lstStyle>
          <a:p>
            <a:pPr>
              <a:defRPr/>
            </a:pPr>
            <a:fld id="{C3119069-7826-4511-981A-83D38F625CB6}" type="slidenum">
              <a:rPr lang="en-US" altLang="ja-JP"/>
              <a:pPr>
                <a:defRPr/>
              </a:pPr>
              <a:t>‹#›</a:t>
            </a:fld>
            <a:endParaRPr lang="en-US" altLang="ja-JP" dirty="0"/>
          </a:p>
        </p:txBody>
      </p:sp>
      <p:sp>
        <p:nvSpPr>
          <p:cNvPr id="1029" name="Rectangle 6"/>
          <p:cNvSpPr>
            <a:spLocks noChangeArrowheads="1"/>
          </p:cNvSpPr>
          <p:nvPr/>
        </p:nvSpPr>
        <p:spPr>
          <a:xfrm>
            <a:off x="0" y="1"/>
            <a:ext cx="9906000" cy="366713"/>
          </a:xfrm>
          <a:prstGeom prst="rect">
            <a:avLst/>
          </a:prstGeom>
          <a:noFill/>
          <a:ln w="9525" algn="ctr">
            <a:noFill/>
            <a:miter lim="800000"/>
            <a:headEnd/>
            <a:tailEnd/>
          </a:ln>
          <a:effectLst/>
        </p:spPr>
        <p:txBody>
          <a:bodyPr wrap="none" anchor="ctr"/>
          <a:lstStyle/>
          <a:p>
            <a:pPr algn="ctr">
              <a:defRPr/>
            </a:pPr>
            <a:endParaRPr lang="ja-JP" altLang="en-US" sz="1600" b="1" dirty="0">
              <a:solidFill>
                <a:srgbClr val="000000"/>
              </a:solidFill>
              <a:ea typeface="ＭＳ Ｐゴシック" pitchFamily="50" charset="-128"/>
            </a:endParaRPr>
          </a:p>
        </p:txBody>
      </p:sp>
      <p:grpSp>
        <p:nvGrpSpPr>
          <p:cNvPr id="1030" name="Group 27"/>
          <p:cNvGrpSpPr/>
          <p:nvPr/>
        </p:nvGrpSpPr>
        <p:grpSpPr>
          <a:xfrm>
            <a:off x="0" y="333377"/>
            <a:ext cx="9906000" cy="214313"/>
            <a:chOff x="0" y="255"/>
            <a:chExt cx="6240" cy="135"/>
          </a:xfrm>
        </p:grpSpPr>
        <p:sp>
          <p:nvSpPr>
            <p:cNvPr id="1031" name="Rectangle 28"/>
            <p:cNvSpPr>
              <a:spLocks noChangeArrowheads="1"/>
            </p:cNvSpPr>
            <p:nvPr userDrawn="1"/>
          </p:nvSpPr>
          <p:spPr>
            <a:xfrm>
              <a:off x="0" y="345"/>
              <a:ext cx="6240" cy="45"/>
            </a:xfrm>
            <a:prstGeom prst="rect">
              <a:avLst/>
            </a:prstGeom>
            <a:solidFill>
              <a:srgbClr val="FF0000"/>
            </a:solidFill>
            <a:ln w="9525" algn="ctr">
              <a:noFill/>
              <a:miter lim="800000"/>
              <a:headEnd/>
              <a:tailEnd/>
            </a:ln>
            <a:effectLst/>
          </p:spPr>
          <p:txBody>
            <a:bodyPr wrap="none" anchor="ctr"/>
            <a:lstStyle/>
            <a:p>
              <a:pPr algn="ctr">
                <a:defRPr/>
              </a:pPr>
              <a:endParaRPr lang="ja-JP" altLang="en-US" sz="1600" b="1" dirty="0">
                <a:solidFill>
                  <a:srgbClr val="000000"/>
                </a:solidFill>
                <a:ea typeface="ＭＳ Ｐゴシック" pitchFamily="50" charset="-128"/>
              </a:endParaRPr>
            </a:p>
          </p:txBody>
        </p:sp>
        <p:sp>
          <p:nvSpPr>
            <p:cNvPr id="1032" name="Rectangle 29"/>
            <p:cNvSpPr>
              <a:spLocks noChangeArrowheads="1"/>
            </p:cNvSpPr>
            <p:nvPr userDrawn="1"/>
          </p:nvSpPr>
          <p:spPr>
            <a:xfrm>
              <a:off x="0" y="300"/>
              <a:ext cx="6240" cy="45"/>
            </a:xfrm>
            <a:prstGeom prst="rect">
              <a:avLst/>
            </a:prstGeom>
            <a:solidFill>
              <a:srgbClr val="FF3399"/>
            </a:solidFill>
            <a:ln w="9525" algn="ctr">
              <a:noFill/>
              <a:miter lim="800000"/>
              <a:headEnd/>
              <a:tailEnd/>
            </a:ln>
            <a:effectLst/>
          </p:spPr>
          <p:txBody>
            <a:bodyPr wrap="none" anchor="ctr"/>
            <a:lstStyle/>
            <a:p>
              <a:pPr algn="ctr">
                <a:defRPr/>
              </a:pPr>
              <a:endParaRPr lang="ja-JP" altLang="en-US" sz="1600" b="1" dirty="0">
                <a:solidFill>
                  <a:srgbClr val="000000"/>
                </a:solidFill>
                <a:ea typeface="ＭＳ Ｐゴシック" pitchFamily="50" charset="-128"/>
              </a:endParaRPr>
            </a:p>
          </p:txBody>
        </p:sp>
        <p:sp>
          <p:nvSpPr>
            <p:cNvPr id="1033" name="Rectangle 30"/>
            <p:cNvSpPr>
              <a:spLocks noChangeArrowheads="1"/>
            </p:cNvSpPr>
            <p:nvPr userDrawn="1"/>
          </p:nvSpPr>
          <p:spPr>
            <a:xfrm>
              <a:off x="0" y="255"/>
              <a:ext cx="6240" cy="45"/>
            </a:xfrm>
            <a:prstGeom prst="rect">
              <a:avLst/>
            </a:prstGeom>
            <a:solidFill>
              <a:srgbClr val="FFCCFF"/>
            </a:solidFill>
            <a:ln w="9525" algn="ctr">
              <a:noFill/>
              <a:miter lim="800000"/>
              <a:headEnd/>
              <a:tailEnd/>
            </a:ln>
            <a:effectLst/>
          </p:spPr>
          <p:txBody>
            <a:bodyPr wrap="none" anchor="ctr"/>
            <a:lstStyle/>
            <a:p>
              <a:pPr algn="ctr">
                <a:defRPr/>
              </a:pPr>
              <a:endParaRPr lang="ja-JP" altLang="en-US" sz="1600" b="1" dirty="0">
                <a:solidFill>
                  <a:srgbClr val="000000"/>
                </a:solidFill>
                <a:ea typeface="ＭＳ Ｐゴシック" pitchFamily="50" charset="-128"/>
              </a:endParaRPr>
            </a:p>
          </p:txBody>
        </p:sp>
      </p:grpSp>
      <p:sp>
        <p:nvSpPr>
          <p:cNvPr id="1034" name="Rectangle 22"/>
          <p:cNvSpPr>
            <a:spLocks noGrp="1" noChangeArrowheads="1"/>
          </p:cNvSpPr>
          <p:nvPr>
            <p:ph type="title"/>
          </p:nvPr>
        </p:nvSpPr>
        <p:spPr>
          <a:xfrm>
            <a:off x="1" y="0"/>
            <a:ext cx="8266113" cy="476250"/>
          </a:xfrm>
          <a:prstGeom prst="rect">
            <a:avLst/>
          </a:prstGeom>
          <a:noFill/>
          <a:ln w="9525">
            <a:noFill/>
            <a:miter lim="800000"/>
            <a:headEnd/>
            <a:tailEnd/>
          </a:ln>
        </p:spPr>
        <p:txBody>
          <a:bodyPr vert="horz" wrap="square" lIns="91407" tIns="45704" rIns="91407" bIns="45704" numCol="1" anchor="ctr" anchorCtr="0" compatLnSpc="1">
            <a:prstTxWarp prst="textNoShape">
              <a:avLst/>
            </a:prstTxWarp>
          </a:bodyPr>
          <a:lstStyle/>
          <a:p>
            <a:pPr lvl="0"/>
            <a:r>
              <a:rPr lang="ja-JP" altLang="en-US"/>
              <a:t>マスタ タイトルの書式設定</a:t>
            </a:r>
          </a:p>
        </p:txBody>
      </p:sp>
      <p:pic>
        <p:nvPicPr>
          <p:cNvPr id="1035" name="Picture 32" descr="ppjtitle"/>
          <p:cNvPicPr>
            <a:picLocks noChangeAspect="1" noChangeArrowheads="1"/>
          </p:cNvPicPr>
          <p:nvPr/>
        </p:nvPicPr>
        <p:blipFill>
          <a:blip r:embed="rId2"/>
          <a:stretch>
            <a:fillRect/>
          </a:stretch>
        </p:blipFill>
        <p:spPr>
          <a:xfrm>
            <a:off x="8697914" y="1"/>
            <a:ext cx="1208087" cy="334963"/>
          </a:xfrm>
          <a:prstGeom prst="rect">
            <a:avLst/>
          </a:prstGeom>
          <a:noFill/>
          <a:ln w="9525">
            <a:noFill/>
            <a:miter lim="800000"/>
            <a:headEnd/>
            <a:tailEnd/>
          </a:ln>
        </p:spPr>
      </p:pic>
    </p:spTree>
    <p:extLst>
      <p:ext uri="{BB962C8B-B14F-4D97-AF65-F5344CB8AC3E}">
        <p14:creationId xmlns:p14="http://schemas.microsoft.com/office/powerpoint/2010/main" val="3003802293"/>
      </p:ext>
    </p:extLst>
  </p:cSld>
  <p:clrMap bg1="lt1" tx1="dk1" bg2="lt2" tx2="dk2" accent1="accent1" accent2="accent2" accent3="accent3" accent4="accent4" accent5="accent5" accent6="accent6" hlink="hlink" folHlink="folHlink"/>
  <p:hf hdr="0" ftr="0" dt="0"/>
  <p:txStyles>
    <p:title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ＭＳ Ｐゴシック" pitchFamily="50" charset="-128"/>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ＭＳ Ｐゴシック" pitchFamily="50" charset="-128"/>
        </a:defRPr>
      </a:lvl2pPr>
      <a:lvl3pPr marL="1143000" indent="-228600" algn="l" rtl="0" eaLnBrk="0" fontAlgn="base" hangingPunct="0">
        <a:spcBef>
          <a:spcPct val="20000"/>
        </a:spcBef>
        <a:spcAft>
          <a:spcPct val="0"/>
        </a:spcAft>
        <a:buChar char="•"/>
        <a:defRPr kumimoji="1" sz="2400">
          <a:solidFill>
            <a:schemeClr val="tx1"/>
          </a:solidFill>
          <a:latin typeface="+mn-lt"/>
          <a:ea typeface="ＭＳ Ｐゴシック" pitchFamily="50" charset="-128"/>
        </a:defRPr>
      </a:lvl3pPr>
      <a:lvl4pPr marL="1600200" indent="-228600" algn="l" rtl="0" eaLnBrk="0" fontAlgn="base" hangingPunct="0">
        <a:spcBef>
          <a:spcPct val="20000"/>
        </a:spcBef>
        <a:spcAft>
          <a:spcPct val="0"/>
        </a:spcAft>
        <a:buChar char="–"/>
        <a:defRPr kumimoji="1" sz="2000">
          <a:solidFill>
            <a:schemeClr val="tx1"/>
          </a:solidFill>
          <a:latin typeface="+mn-lt"/>
          <a:ea typeface="ＭＳ Ｐゴシック" pitchFamily="50" charset="-128"/>
        </a:defRPr>
      </a:lvl4pPr>
      <a:lvl5pPr marL="2057400" indent="-230188" algn="l" rtl="0" eaLnBrk="0" fontAlgn="base" hangingPunct="0">
        <a:spcBef>
          <a:spcPct val="20000"/>
        </a:spcBef>
        <a:spcAft>
          <a:spcPct val="0"/>
        </a:spcAft>
        <a:buChar char="»"/>
        <a:defRPr kumimoji="1" sz="2000">
          <a:solidFill>
            <a:schemeClr val="tx1"/>
          </a:solidFill>
          <a:latin typeface="+mn-lt"/>
          <a:ea typeface="ＭＳ Ｐゴシック" pitchFamily="50" charset="-128"/>
        </a:defRPr>
      </a:lvl5pPr>
      <a:lvl6pPr marL="2514600" indent="-230188" algn="l" rtl="0" fontAlgn="base">
        <a:spcBef>
          <a:spcPct val="20000"/>
        </a:spcBef>
        <a:spcAft>
          <a:spcPct val="0"/>
        </a:spcAft>
        <a:buChar char="»"/>
        <a:defRPr kumimoji="1" sz="2000">
          <a:solidFill>
            <a:schemeClr val="tx1"/>
          </a:solidFill>
          <a:latin typeface="+mn-lt"/>
          <a:ea typeface="+mn-ea"/>
        </a:defRPr>
      </a:lvl6pPr>
      <a:lvl7pPr marL="2971800" indent="-230188" algn="l" rtl="0" fontAlgn="base">
        <a:spcBef>
          <a:spcPct val="20000"/>
        </a:spcBef>
        <a:spcAft>
          <a:spcPct val="0"/>
        </a:spcAft>
        <a:buChar char="»"/>
        <a:defRPr kumimoji="1" sz="2000">
          <a:solidFill>
            <a:schemeClr val="tx1"/>
          </a:solidFill>
          <a:latin typeface="+mn-lt"/>
          <a:ea typeface="+mn-ea"/>
        </a:defRPr>
      </a:lvl7pPr>
      <a:lvl8pPr marL="3429000" indent="-230188" algn="l" rtl="0" fontAlgn="base">
        <a:spcBef>
          <a:spcPct val="20000"/>
        </a:spcBef>
        <a:spcAft>
          <a:spcPct val="0"/>
        </a:spcAft>
        <a:buChar char="»"/>
        <a:defRPr kumimoji="1" sz="2000">
          <a:solidFill>
            <a:schemeClr val="tx1"/>
          </a:solidFill>
          <a:latin typeface="+mn-lt"/>
          <a:ea typeface="+mn-ea"/>
        </a:defRPr>
      </a:lvl8pPr>
      <a:lvl9pPr marL="3886200" indent="-230188"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95300" y="1600206"/>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193">
                <a:solidFill>
                  <a:srgbClr val="000000"/>
                </a:solidFill>
                <a:latin typeface="Arial" charset="0"/>
                <a:ea typeface="ＭＳ Ｐゴシック" pitchFamily="50" charset="-128"/>
              </a:defRPr>
            </a:lvl1pPr>
          </a:lstStyle>
          <a:p>
            <a:pPr>
              <a:defRPr/>
            </a:pPr>
            <a:endParaRPr lang="en-US" altLang="ja-JP" dirty="0"/>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193">
                <a:solidFill>
                  <a:srgbClr val="000000"/>
                </a:solidFill>
                <a:latin typeface="Arial" charset="0"/>
                <a:ea typeface="ＭＳ Ｐゴシック" pitchFamily="50" charset="-128"/>
              </a:defRPr>
            </a:lvl1pPr>
          </a:lstStyle>
          <a:p>
            <a:pPr>
              <a:defRPr/>
            </a:pPr>
            <a:endParaRPr lang="en-US" altLang="ja-JP" dirty="0"/>
          </a:p>
        </p:txBody>
      </p:sp>
      <p:sp>
        <p:nvSpPr>
          <p:cNvPr id="30725" name="Rectangle 5"/>
          <p:cNvSpPr>
            <a:spLocks noGrp="1" noChangeArrowheads="1"/>
          </p:cNvSpPr>
          <p:nvPr>
            <p:ph type="sldNum" sz="quarter" idx="4"/>
          </p:nvPr>
        </p:nvSpPr>
        <p:spPr bwMode="auto">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193">
                <a:solidFill>
                  <a:srgbClr val="000000"/>
                </a:solidFill>
                <a:latin typeface="Arial" charset="0"/>
                <a:ea typeface="ＭＳ Ｐゴシック" pitchFamily="50" charset="-128"/>
              </a:defRPr>
            </a:lvl1pPr>
          </a:lstStyle>
          <a:p>
            <a:pPr>
              <a:defRPr/>
            </a:pPr>
            <a:fld id="{41D9C5F3-0171-4BEC-8CA7-993AD018E031}" type="slidenum">
              <a:rPr lang="en-US" altLang="ja-JP"/>
              <a:pPr>
                <a:defRPr/>
              </a:pPr>
              <a:t>‹#›</a:t>
            </a:fld>
            <a:endParaRPr lang="en-US" altLang="ja-JP" dirty="0"/>
          </a:p>
        </p:txBody>
      </p:sp>
      <p:sp>
        <p:nvSpPr>
          <p:cNvPr id="1030" name="Rectangle 6"/>
          <p:cNvSpPr>
            <a:spLocks noChangeArrowheads="1"/>
          </p:cNvSpPr>
          <p:nvPr/>
        </p:nvSpPr>
        <p:spPr bwMode="auto">
          <a:xfrm>
            <a:off x="0" y="6"/>
            <a:ext cx="9906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nvGrpSpPr>
          <p:cNvPr id="1031" name="Group 27"/>
          <p:cNvGrpSpPr>
            <a:grpSpLocks/>
          </p:cNvGrpSpPr>
          <p:nvPr/>
        </p:nvGrpSpPr>
        <p:grpSpPr bwMode="auto">
          <a:xfrm>
            <a:off x="0" y="333378"/>
            <a:ext cx="9906000" cy="214313"/>
            <a:chOff x="0" y="255"/>
            <a:chExt cx="6240" cy="135"/>
          </a:xfrm>
        </p:grpSpPr>
        <p:sp>
          <p:nvSpPr>
            <p:cNvPr id="1034"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5"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6"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
        <p:nvSpPr>
          <p:cNvPr id="1032" name="Rectangle 22"/>
          <p:cNvSpPr>
            <a:spLocks noGrp="1" noChangeArrowheads="1"/>
          </p:cNvSpPr>
          <p:nvPr>
            <p:ph type="title"/>
          </p:nvPr>
        </p:nvSpPr>
        <p:spPr bwMode="auto">
          <a:xfrm>
            <a:off x="2" y="0"/>
            <a:ext cx="8266113"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pic>
        <p:nvPicPr>
          <p:cNvPr id="13" name="Picture 32" descr="ppjtitle"/>
          <p:cNvPicPr/>
          <p:nvPr userDrawn="1"/>
        </p:nvPicPr>
        <p:blipFill>
          <a:blip r:embed="rId5"/>
          <a:srcRect l="1758" r="81940" b="42699"/>
          <a:stretch>
            <a:fillRect/>
          </a:stretch>
        </p:blipFill>
        <p:spPr>
          <a:xfrm>
            <a:off x="8697960" y="0"/>
            <a:ext cx="1207800" cy="334440"/>
          </a:xfrm>
          <a:prstGeom prst="rect">
            <a:avLst/>
          </a:prstGeom>
          <a:ln>
            <a:noFill/>
          </a:ln>
        </p:spPr>
      </p:pic>
    </p:spTree>
    <p:extLst>
      <p:ext uri="{BB962C8B-B14F-4D97-AF65-F5344CB8AC3E}">
        <p14:creationId xmlns:p14="http://schemas.microsoft.com/office/powerpoint/2010/main" val="2422356028"/>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Lst>
  <p:hf hdr="0" ftr="0" dt="0"/>
  <p:txStyles>
    <p:titleStyle>
      <a:lvl1pPr algn="l" rtl="0" eaLnBrk="0" fontAlgn="base" hangingPunct="0">
        <a:spcBef>
          <a:spcPct val="0"/>
        </a:spcBef>
        <a:spcAft>
          <a:spcPct val="0"/>
        </a:spcAft>
        <a:defRPr kumimoji="1" sz="2200" b="1">
          <a:solidFill>
            <a:schemeClr val="tx1"/>
          </a:solidFill>
          <a:latin typeface="メイリオ" panose="020B0604030504040204" pitchFamily="50" charset="-128"/>
          <a:ea typeface="メイリオ" panose="020B0604030504040204" pitchFamily="50" charset="-128"/>
          <a:cs typeface="+mj-cs"/>
        </a:defRPr>
      </a:lvl1pPr>
      <a:lvl2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5pPr>
      <a:lvl6pPr marL="389586"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6pPr>
      <a:lvl7pPr marL="779173"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7pPr>
      <a:lvl8pPr marL="1168759"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8pPr>
      <a:lvl9pPr marL="1558345"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9pPr>
    </p:titleStyle>
    <p:bodyStyle>
      <a:lvl1pPr marL="292190" indent="-292190" algn="l" rtl="0" eaLnBrk="0" fontAlgn="base" hangingPunct="0">
        <a:spcBef>
          <a:spcPct val="20000"/>
        </a:spcBef>
        <a:spcAft>
          <a:spcPct val="0"/>
        </a:spcAft>
        <a:buChar char="•"/>
        <a:defRPr kumimoji="1" sz="2727">
          <a:solidFill>
            <a:schemeClr val="tx1"/>
          </a:solidFill>
          <a:latin typeface="+mn-lt"/>
          <a:ea typeface="ＭＳ Ｐゴシック" pitchFamily="50" charset="-128"/>
          <a:cs typeface="+mn-cs"/>
        </a:defRPr>
      </a:lvl1pPr>
      <a:lvl2pPr marL="633078" indent="-243492" algn="l" rtl="0" eaLnBrk="0" fontAlgn="base" hangingPunct="0">
        <a:spcBef>
          <a:spcPct val="20000"/>
        </a:spcBef>
        <a:spcAft>
          <a:spcPct val="0"/>
        </a:spcAft>
        <a:buChar char="–"/>
        <a:defRPr kumimoji="1" sz="2386">
          <a:solidFill>
            <a:schemeClr val="tx1"/>
          </a:solidFill>
          <a:latin typeface="+mn-lt"/>
          <a:ea typeface="ＭＳ Ｐゴシック" pitchFamily="50" charset="-128"/>
        </a:defRPr>
      </a:lvl2pPr>
      <a:lvl3pPr marL="973966" indent="-194793" algn="l" rtl="0" eaLnBrk="0" fontAlgn="base" hangingPunct="0">
        <a:spcBef>
          <a:spcPct val="20000"/>
        </a:spcBef>
        <a:spcAft>
          <a:spcPct val="0"/>
        </a:spcAft>
        <a:buChar char="•"/>
        <a:defRPr kumimoji="1" sz="2045">
          <a:solidFill>
            <a:schemeClr val="tx1"/>
          </a:solidFill>
          <a:latin typeface="+mn-lt"/>
          <a:ea typeface="ＭＳ Ｐゴシック" pitchFamily="50" charset="-128"/>
        </a:defRPr>
      </a:lvl3pPr>
      <a:lvl4pPr marL="1363553"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4pPr>
      <a:lvl5pPr marL="1753139"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5pPr>
      <a:lvl6pPr marL="2142725" indent="-194793" algn="l" rtl="0" fontAlgn="base">
        <a:spcBef>
          <a:spcPct val="20000"/>
        </a:spcBef>
        <a:spcAft>
          <a:spcPct val="0"/>
        </a:spcAft>
        <a:buChar char="»"/>
        <a:defRPr kumimoji="1" sz="1704">
          <a:solidFill>
            <a:schemeClr val="tx1"/>
          </a:solidFill>
          <a:latin typeface="+mn-lt"/>
          <a:ea typeface="+mn-ea"/>
        </a:defRPr>
      </a:lvl6pPr>
      <a:lvl7pPr marL="2532312" indent="-194793" algn="l" rtl="0" fontAlgn="base">
        <a:spcBef>
          <a:spcPct val="20000"/>
        </a:spcBef>
        <a:spcAft>
          <a:spcPct val="0"/>
        </a:spcAft>
        <a:buChar char="»"/>
        <a:defRPr kumimoji="1" sz="1704">
          <a:solidFill>
            <a:schemeClr val="tx1"/>
          </a:solidFill>
          <a:latin typeface="+mn-lt"/>
          <a:ea typeface="+mn-ea"/>
        </a:defRPr>
      </a:lvl7pPr>
      <a:lvl8pPr marL="2921898" indent="-194793" algn="l" rtl="0" fontAlgn="base">
        <a:spcBef>
          <a:spcPct val="20000"/>
        </a:spcBef>
        <a:spcAft>
          <a:spcPct val="0"/>
        </a:spcAft>
        <a:buChar char="»"/>
        <a:defRPr kumimoji="1" sz="1704">
          <a:solidFill>
            <a:schemeClr val="tx1"/>
          </a:solidFill>
          <a:latin typeface="+mn-lt"/>
          <a:ea typeface="+mn-ea"/>
        </a:defRPr>
      </a:lvl8pPr>
      <a:lvl9pPr marL="3311484" indent="-194793" algn="l" rtl="0" fontAlgn="base">
        <a:spcBef>
          <a:spcPct val="20000"/>
        </a:spcBef>
        <a:spcAft>
          <a:spcPct val="0"/>
        </a:spcAft>
        <a:buChar char="»"/>
        <a:defRPr kumimoji="1" sz="1704">
          <a:solidFill>
            <a:schemeClr val="tx1"/>
          </a:solidFill>
          <a:latin typeface="+mn-lt"/>
          <a:ea typeface="+mn-ea"/>
        </a:defRPr>
      </a:lvl9pPr>
    </p:bodyStyle>
    <p:otherStyle>
      <a:defPPr>
        <a:defRPr lang="ja-JP"/>
      </a:defPPr>
      <a:lvl1pPr marL="0" algn="l" defTabSz="779173" rtl="0" eaLnBrk="1" latinLnBrk="0" hangingPunct="1">
        <a:defRPr kumimoji="1" sz="1534" kern="1200">
          <a:solidFill>
            <a:schemeClr val="tx1"/>
          </a:solidFill>
          <a:latin typeface="+mn-lt"/>
          <a:ea typeface="+mn-ea"/>
          <a:cs typeface="+mn-cs"/>
        </a:defRPr>
      </a:lvl1pPr>
      <a:lvl2pPr marL="389586" algn="l" defTabSz="779173" rtl="0" eaLnBrk="1" latinLnBrk="0" hangingPunct="1">
        <a:defRPr kumimoji="1" sz="1534" kern="1200">
          <a:solidFill>
            <a:schemeClr val="tx1"/>
          </a:solidFill>
          <a:latin typeface="+mn-lt"/>
          <a:ea typeface="+mn-ea"/>
          <a:cs typeface="+mn-cs"/>
        </a:defRPr>
      </a:lvl2pPr>
      <a:lvl3pPr marL="779173" algn="l" defTabSz="779173" rtl="0" eaLnBrk="1" latinLnBrk="0" hangingPunct="1">
        <a:defRPr kumimoji="1" sz="1534" kern="1200">
          <a:solidFill>
            <a:schemeClr val="tx1"/>
          </a:solidFill>
          <a:latin typeface="+mn-lt"/>
          <a:ea typeface="+mn-ea"/>
          <a:cs typeface="+mn-cs"/>
        </a:defRPr>
      </a:lvl3pPr>
      <a:lvl4pPr marL="1168759" algn="l" defTabSz="779173" rtl="0" eaLnBrk="1" latinLnBrk="0" hangingPunct="1">
        <a:defRPr kumimoji="1" sz="1534" kern="1200">
          <a:solidFill>
            <a:schemeClr val="tx1"/>
          </a:solidFill>
          <a:latin typeface="+mn-lt"/>
          <a:ea typeface="+mn-ea"/>
          <a:cs typeface="+mn-cs"/>
        </a:defRPr>
      </a:lvl4pPr>
      <a:lvl5pPr marL="1558345" algn="l" defTabSz="779173" rtl="0" eaLnBrk="1" latinLnBrk="0" hangingPunct="1">
        <a:defRPr kumimoji="1" sz="1534" kern="1200">
          <a:solidFill>
            <a:schemeClr val="tx1"/>
          </a:solidFill>
          <a:latin typeface="+mn-lt"/>
          <a:ea typeface="+mn-ea"/>
          <a:cs typeface="+mn-cs"/>
        </a:defRPr>
      </a:lvl5pPr>
      <a:lvl6pPr marL="1947932" algn="l" defTabSz="779173" rtl="0" eaLnBrk="1" latinLnBrk="0" hangingPunct="1">
        <a:defRPr kumimoji="1" sz="1534" kern="1200">
          <a:solidFill>
            <a:schemeClr val="tx1"/>
          </a:solidFill>
          <a:latin typeface="+mn-lt"/>
          <a:ea typeface="+mn-ea"/>
          <a:cs typeface="+mn-cs"/>
        </a:defRPr>
      </a:lvl6pPr>
      <a:lvl7pPr marL="2337518" algn="l" defTabSz="779173" rtl="0" eaLnBrk="1" latinLnBrk="0" hangingPunct="1">
        <a:defRPr kumimoji="1" sz="1534" kern="1200">
          <a:solidFill>
            <a:schemeClr val="tx1"/>
          </a:solidFill>
          <a:latin typeface="+mn-lt"/>
          <a:ea typeface="+mn-ea"/>
          <a:cs typeface="+mn-cs"/>
        </a:defRPr>
      </a:lvl7pPr>
      <a:lvl8pPr marL="2727104" algn="l" defTabSz="779173" rtl="0" eaLnBrk="1" latinLnBrk="0" hangingPunct="1">
        <a:defRPr kumimoji="1" sz="1534" kern="1200">
          <a:solidFill>
            <a:schemeClr val="tx1"/>
          </a:solidFill>
          <a:latin typeface="+mn-lt"/>
          <a:ea typeface="+mn-ea"/>
          <a:cs typeface="+mn-cs"/>
        </a:defRPr>
      </a:lvl8pPr>
      <a:lvl9pPr marL="3116691" algn="l" defTabSz="779173" rtl="0" eaLnBrk="1" latinLnBrk="0" hangingPunct="1">
        <a:defRPr kumimoji="1" sz="1534"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body" idx="1"/>
          </p:nvPr>
        </p:nvSpPr>
        <p:spPr>
          <a:xfrm>
            <a:off x="495300" y="1600200"/>
            <a:ext cx="8915400" cy="4525963"/>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3"/>
          <p:cNvSpPr>
            <a:spLocks noGrp="1" noChangeArrowheads="1"/>
          </p:cNvSpPr>
          <p:nvPr>
            <p:ph type="dt" sz="half" idx="2"/>
          </p:nvPr>
        </p:nvSpPr>
        <p:spPr>
          <a:xfrm>
            <a:off x="495300" y="6245225"/>
            <a:ext cx="23114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l">
              <a:defRPr sz="1400"/>
            </a:lvl1pPr>
          </a:lstStyle>
          <a:p>
            <a:endParaRPr lang="en-US" altLang="ja-JP"/>
          </a:p>
        </p:txBody>
      </p:sp>
      <p:sp>
        <p:nvSpPr>
          <p:cNvPr id="1027" name="Rectangle 4"/>
          <p:cNvSpPr>
            <a:spLocks noGrp="1" noChangeArrowheads="1"/>
          </p:cNvSpPr>
          <p:nvPr>
            <p:ph type="ftr" sz="quarter" idx="3"/>
          </p:nvPr>
        </p:nvSpPr>
        <p:spPr>
          <a:xfrm>
            <a:off x="3384550" y="6245225"/>
            <a:ext cx="31369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sz="1400"/>
            </a:lvl1pPr>
          </a:lstStyle>
          <a:p>
            <a:endParaRPr lang="en-US" altLang="ja-JP"/>
          </a:p>
        </p:txBody>
      </p:sp>
      <p:sp>
        <p:nvSpPr>
          <p:cNvPr id="1028" name="Rectangle 5"/>
          <p:cNvSpPr>
            <a:spLocks noGrp="1" noChangeArrowheads="1"/>
          </p:cNvSpPr>
          <p:nvPr>
            <p:ph type="sldNum" sz="quarter" idx="4"/>
          </p:nvPr>
        </p:nvSpPr>
        <p:spPr>
          <a:xfrm>
            <a:off x="7594600" y="6237288"/>
            <a:ext cx="23114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1400"/>
            </a:lvl1pPr>
          </a:lstStyle>
          <a:p>
            <a:fld id="{F245FCB2-03D4-4C5B-9B1A-4180124C4B36}" type="slidenum">
              <a:rPr lang="en-US" altLang="ja-JP"/>
              <a:pPr/>
              <a:t>‹#›</a:t>
            </a:fld>
            <a:endParaRPr lang="en-US" altLang="ja-JP"/>
          </a:p>
        </p:txBody>
      </p:sp>
      <p:sp>
        <p:nvSpPr>
          <p:cNvPr id="1029" name="Rectangle 6"/>
          <p:cNvSpPr>
            <a:spLocks noChangeArrowheads="1"/>
          </p:cNvSpPr>
          <p:nvPr userDrawn="1"/>
        </p:nvSpPr>
        <p:spPr>
          <a:xfrm>
            <a:off x="0" y="0"/>
            <a:ext cx="9906000" cy="366713"/>
          </a:xfrm>
          <a:prstGeom prst="rect">
            <a:avLst/>
          </a:prstGeom>
          <a:noFill/>
          <a:ln>
            <a:noFill/>
          </a:ln>
          <a:effectLst/>
        </p:spPr>
        <p:txBody>
          <a:bodyPr wrap="none" anchor="ctr"/>
          <a:lstStyle/>
          <a:p>
            <a:endParaRPr lang="ja-JP" altLang="en-US"/>
          </a:p>
        </p:txBody>
      </p:sp>
      <p:sp>
        <p:nvSpPr>
          <p:cNvPr id="1034" name="Rectangle 22"/>
          <p:cNvSpPr>
            <a:spLocks noGrp="1" noChangeArrowheads="1"/>
          </p:cNvSpPr>
          <p:nvPr>
            <p:ph type="title"/>
          </p:nvPr>
        </p:nvSpPr>
        <p:spPr>
          <a:xfrm>
            <a:off x="0" y="0"/>
            <a:ext cx="8266113" cy="476250"/>
          </a:xfrm>
          <a:prstGeom prst="rect">
            <a:avLst/>
          </a:prstGeom>
          <a:noFill/>
          <a:ln>
            <a:noFill/>
          </a:ln>
          <a:effec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3196214959"/>
      </p:ext>
    </p:extLst>
  </p:cSld>
  <p:clrMap bg1="lt1" tx1="dk1" bg2="lt2" tx2="dk2" accent1="accent1" accent2="accent2" accent3="accent3" accent4="accent4" accent5="accent5" accent6="accent6" hlink="hlink" folHlink="folHlink"/>
  <p:sldLayoutIdLst>
    <p:sldLayoutId id="2147483815" r:id="rId1"/>
    <p:sldLayoutId id="2147483816" r:id="rId2"/>
  </p:sldLayoutIdLst>
  <p:hf hdr="0" ftr="0" dt="0"/>
  <p:txStyles>
    <p:titleStyle>
      <a:lvl1pPr algn="l" rtl="0" fontAlgn="base">
        <a:spcBef>
          <a:spcPct val="0"/>
        </a:spcBef>
        <a:spcAft>
          <a:spcPct val="0"/>
        </a:spcAft>
        <a:defRPr kumimoji="1" sz="2800" kern="1200">
          <a:solidFill>
            <a:schemeClr val="tx1"/>
          </a:solidFill>
          <a:latin typeface="+mj-lt"/>
          <a:ea typeface="+mj-ea"/>
          <a:cs typeface="+mj-cs"/>
        </a:defRPr>
      </a:lvl1pPr>
      <a:lvl2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2pPr>
      <a:lvl3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3pPr>
      <a:lvl4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4pPr>
      <a:lvl5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5pPr>
      <a:lvl6pPr marL="4572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6pPr>
      <a:lvl7pPr marL="9144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7pPr>
      <a:lvl8pPr marL="13716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8pPr>
      <a:lvl9pPr marL="18288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9pPr>
    </p:titleStyle>
    <p:bodyStyle>
      <a:lvl1pPr marL="342900" indent="-342900" algn="l" rtl="0" fontAlgn="base">
        <a:spcBef>
          <a:spcPct val="20000"/>
        </a:spcBef>
        <a:spcAft>
          <a:spcPct val="0"/>
        </a:spcAft>
        <a:buChar char="•"/>
        <a:defRPr kumimoji="1" sz="3200" kern="1200">
          <a:solidFill>
            <a:schemeClr val="tx1"/>
          </a:solidFill>
          <a:latin typeface="+mn-lt"/>
          <a:ea typeface="+mn-ea"/>
          <a:cs typeface="+mn-cs"/>
        </a:defRPr>
      </a:lvl1pPr>
      <a:lvl2pPr marL="742950" indent="-285750" algn="l" rtl="0" fontAlgn="base">
        <a:spcBef>
          <a:spcPct val="20000"/>
        </a:spcBef>
        <a:spcAft>
          <a:spcPct val="0"/>
        </a:spcAft>
        <a:buChar char="–"/>
        <a:defRPr kumimoji="1" sz="2800" kern="1200">
          <a:solidFill>
            <a:schemeClr val="tx1"/>
          </a:solidFill>
          <a:latin typeface="+mn-lt"/>
          <a:ea typeface="+mn-ea"/>
          <a:cs typeface="+mn-cs"/>
        </a:defRPr>
      </a:lvl2pPr>
      <a:lvl3pPr marL="1143000" indent="-228600" algn="l" rtl="0" fontAlgn="base">
        <a:spcBef>
          <a:spcPct val="20000"/>
        </a:spcBef>
        <a:spcAft>
          <a:spcPct val="0"/>
        </a:spcAft>
        <a:buChar char="•"/>
        <a:defRPr kumimoji="1" sz="2400" kern="1200">
          <a:solidFill>
            <a:schemeClr val="tx1"/>
          </a:solidFill>
          <a:latin typeface="+mn-lt"/>
          <a:ea typeface="+mn-ea"/>
          <a:cs typeface="+mn-cs"/>
        </a:defRPr>
      </a:lvl3pPr>
      <a:lvl4pPr marL="1600200" indent="-228600" algn="l" rtl="0" fontAlgn="base">
        <a:spcBef>
          <a:spcPct val="20000"/>
        </a:spcBef>
        <a:spcAft>
          <a:spcPct val="0"/>
        </a:spcAft>
        <a:buChar char="–"/>
        <a:defRPr kumimoji="1" sz="2000" kern="1200">
          <a:solidFill>
            <a:schemeClr val="tx1"/>
          </a:solidFill>
          <a:latin typeface="+mn-lt"/>
          <a:ea typeface="+mn-ea"/>
          <a:cs typeface="+mn-cs"/>
        </a:defRPr>
      </a:lvl4pPr>
      <a:lvl5pPr marL="2057400" indent="-228600" algn="l" rtl="0" fontAlgn="base">
        <a:spcBef>
          <a:spcPct val="20000"/>
        </a:spcBef>
        <a:spcAft>
          <a:spcPct val="0"/>
        </a:spcAft>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95300" y="1600206"/>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193">
                <a:solidFill>
                  <a:srgbClr val="000000"/>
                </a:solidFill>
                <a:latin typeface="Arial" charset="0"/>
                <a:ea typeface="ＭＳ Ｐゴシック" pitchFamily="50" charset="-128"/>
              </a:defRPr>
            </a:lvl1pPr>
          </a:lstStyle>
          <a:p>
            <a:pPr>
              <a:defRPr/>
            </a:pPr>
            <a:endParaRPr lang="en-US" altLang="ja-JP"/>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193">
                <a:solidFill>
                  <a:srgbClr val="000000"/>
                </a:solidFill>
                <a:latin typeface="Arial" charset="0"/>
                <a:ea typeface="ＭＳ Ｐゴシック" pitchFamily="50" charset="-128"/>
              </a:defRPr>
            </a:lvl1pPr>
          </a:lstStyle>
          <a:p>
            <a:pPr>
              <a:defRPr/>
            </a:pPr>
            <a:endParaRPr lang="en-US" altLang="ja-JP"/>
          </a:p>
        </p:txBody>
      </p:sp>
      <p:sp>
        <p:nvSpPr>
          <p:cNvPr id="30725" name="Rectangle 5"/>
          <p:cNvSpPr>
            <a:spLocks noGrp="1" noChangeArrowheads="1"/>
          </p:cNvSpPr>
          <p:nvPr>
            <p:ph type="sldNum" sz="quarter" idx="4"/>
          </p:nvPr>
        </p:nvSpPr>
        <p:spPr bwMode="auto">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193">
                <a:solidFill>
                  <a:srgbClr val="000000"/>
                </a:solidFill>
                <a:latin typeface="Arial" charset="0"/>
                <a:ea typeface="ＭＳ Ｐゴシック" pitchFamily="50" charset="-128"/>
              </a:defRPr>
            </a:lvl1pPr>
          </a:lstStyle>
          <a:p>
            <a:pPr>
              <a:defRPr/>
            </a:pPr>
            <a:fld id="{41D9C5F3-0171-4BEC-8CA7-993AD018E031}" type="slidenum">
              <a:rPr lang="en-US" altLang="ja-JP"/>
              <a:pPr>
                <a:defRPr/>
              </a:pPr>
              <a:t>‹#›</a:t>
            </a:fld>
            <a:endParaRPr lang="en-US" altLang="ja-JP"/>
          </a:p>
        </p:txBody>
      </p:sp>
      <p:sp>
        <p:nvSpPr>
          <p:cNvPr id="1030" name="Rectangle 6"/>
          <p:cNvSpPr>
            <a:spLocks noChangeArrowheads="1"/>
          </p:cNvSpPr>
          <p:nvPr/>
        </p:nvSpPr>
        <p:spPr bwMode="auto">
          <a:xfrm>
            <a:off x="0" y="6"/>
            <a:ext cx="9906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nvGrpSpPr>
          <p:cNvPr id="1031" name="Group 27"/>
          <p:cNvGrpSpPr>
            <a:grpSpLocks/>
          </p:cNvGrpSpPr>
          <p:nvPr/>
        </p:nvGrpSpPr>
        <p:grpSpPr bwMode="auto">
          <a:xfrm>
            <a:off x="0" y="333378"/>
            <a:ext cx="9906000" cy="214313"/>
            <a:chOff x="0" y="255"/>
            <a:chExt cx="6240" cy="135"/>
          </a:xfrm>
        </p:grpSpPr>
        <p:sp>
          <p:nvSpPr>
            <p:cNvPr id="1034"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5"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6"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
        <p:nvSpPr>
          <p:cNvPr id="1032" name="Rectangle 22"/>
          <p:cNvSpPr>
            <a:spLocks noGrp="1" noChangeArrowheads="1"/>
          </p:cNvSpPr>
          <p:nvPr>
            <p:ph type="title"/>
          </p:nvPr>
        </p:nvSpPr>
        <p:spPr bwMode="auto">
          <a:xfrm>
            <a:off x="2" y="0"/>
            <a:ext cx="8266113"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pic>
        <p:nvPicPr>
          <p:cNvPr id="13" name="Picture 32" descr="ppjtitle"/>
          <p:cNvPicPr/>
          <p:nvPr userDrawn="1"/>
        </p:nvPicPr>
        <p:blipFill>
          <a:blip r:embed="rId5"/>
          <a:srcRect l="1758" r="81940" b="42699"/>
          <a:stretch>
            <a:fillRect/>
          </a:stretch>
        </p:blipFill>
        <p:spPr>
          <a:xfrm>
            <a:off x="8697960" y="0"/>
            <a:ext cx="1207800" cy="334440"/>
          </a:xfrm>
          <a:prstGeom prst="rect">
            <a:avLst/>
          </a:prstGeom>
          <a:ln>
            <a:noFill/>
          </a:ln>
        </p:spPr>
      </p:pic>
    </p:spTree>
    <p:extLst>
      <p:ext uri="{BB962C8B-B14F-4D97-AF65-F5344CB8AC3E}">
        <p14:creationId xmlns:p14="http://schemas.microsoft.com/office/powerpoint/2010/main" val="438812958"/>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dt="0"/>
  <p:txStyles>
    <p:titleStyle>
      <a:lvl1pPr algn="l" rtl="0" eaLnBrk="0" fontAlgn="base" hangingPunct="0">
        <a:spcBef>
          <a:spcPct val="0"/>
        </a:spcBef>
        <a:spcAft>
          <a:spcPct val="0"/>
        </a:spcAft>
        <a:defRPr kumimoji="1" sz="2200" b="1">
          <a:solidFill>
            <a:schemeClr val="tx1"/>
          </a:solidFill>
          <a:latin typeface="メイリオ" panose="020B0604030504040204" pitchFamily="50" charset="-128"/>
          <a:ea typeface="メイリオ" panose="020B0604030504040204" pitchFamily="50" charset="-128"/>
          <a:cs typeface="+mj-cs"/>
        </a:defRPr>
      </a:lvl1pPr>
      <a:lvl2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5pPr>
      <a:lvl6pPr marL="389586"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6pPr>
      <a:lvl7pPr marL="779173"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7pPr>
      <a:lvl8pPr marL="1168759"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8pPr>
      <a:lvl9pPr marL="1558345"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9pPr>
    </p:titleStyle>
    <p:bodyStyle>
      <a:lvl1pPr marL="292190" indent="-292190" algn="l" rtl="0" eaLnBrk="0" fontAlgn="base" hangingPunct="0">
        <a:spcBef>
          <a:spcPct val="20000"/>
        </a:spcBef>
        <a:spcAft>
          <a:spcPct val="0"/>
        </a:spcAft>
        <a:buChar char="•"/>
        <a:defRPr kumimoji="1" sz="2727">
          <a:solidFill>
            <a:schemeClr val="tx1"/>
          </a:solidFill>
          <a:latin typeface="+mn-lt"/>
          <a:ea typeface="ＭＳ Ｐゴシック" pitchFamily="50" charset="-128"/>
          <a:cs typeface="+mn-cs"/>
        </a:defRPr>
      </a:lvl1pPr>
      <a:lvl2pPr marL="633078" indent="-243492" algn="l" rtl="0" eaLnBrk="0" fontAlgn="base" hangingPunct="0">
        <a:spcBef>
          <a:spcPct val="20000"/>
        </a:spcBef>
        <a:spcAft>
          <a:spcPct val="0"/>
        </a:spcAft>
        <a:buChar char="–"/>
        <a:defRPr kumimoji="1" sz="2386">
          <a:solidFill>
            <a:schemeClr val="tx1"/>
          </a:solidFill>
          <a:latin typeface="+mn-lt"/>
          <a:ea typeface="ＭＳ Ｐゴシック" pitchFamily="50" charset="-128"/>
        </a:defRPr>
      </a:lvl2pPr>
      <a:lvl3pPr marL="973966" indent="-194793" algn="l" rtl="0" eaLnBrk="0" fontAlgn="base" hangingPunct="0">
        <a:spcBef>
          <a:spcPct val="20000"/>
        </a:spcBef>
        <a:spcAft>
          <a:spcPct val="0"/>
        </a:spcAft>
        <a:buChar char="•"/>
        <a:defRPr kumimoji="1" sz="2045">
          <a:solidFill>
            <a:schemeClr val="tx1"/>
          </a:solidFill>
          <a:latin typeface="+mn-lt"/>
          <a:ea typeface="ＭＳ Ｐゴシック" pitchFamily="50" charset="-128"/>
        </a:defRPr>
      </a:lvl3pPr>
      <a:lvl4pPr marL="1363553"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4pPr>
      <a:lvl5pPr marL="1753139"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5pPr>
      <a:lvl6pPr marL="2142725" indent="-194793" algn="l" rtl="0" fontAlgn="base">
        <a:spcBef>
          <a:spcPct val="20000"/>
        </a:spcBef>
        <a:spcAft>
          <a:spcPct val="0"/>
        </a:spcAft>
        <a:buChar char="»"/>
        <a:defRPr kumimoji="1" sz="1704">
          <a:solidFill>
            <a:schemeClr val="tx1"/>
          </a:solidFill>
          <a:latin typeface="+mn-lt"/>
          <a:ea typeface="+mn-ea"/>
        </a:defRPr>
      </a:lvl6pPr>
      <a:lvl7pPr marL="2532312" indent="-194793" algn="l" rtl="0" fontAlgn="base">
        <a:spcBef>
          <a:spcPct val="20000"/>
        </a:spcBef>
        <a:spcAft>
          <a:spcPct val="0"/>
        </a:spcAft>
        <a:buChar char="»"/>
        <a:defRPr kumimoji="1" sz="1704">
          <a:solidFill>
            <a:schemeClr val="tx1"/>
          </a:solidFill>
          <a:latin typeface="+mn-lt"/>
          <a:ea typeface="+mn-ea"/>
        </a:defRPr>
      </a:lvl7pPr>
      <a:lvl8pPr marL="2921898" indent="-194793" algn="l" rtl="0" fontAlgn="base">
        <a:spcBef>
          <a:spcPct val="20000"/>
        </a:spcBef>
        <a:spcAft>
          <a:spcPct val="0"/>
        </a:spcAft>
        <a:buChar char="»"/>
        <a:defRPr kumimoji="1" sz="1704">
          <a:solidFill>
            <a:schemeClr val="tx1"/>
          </a:solidFill>
          <a:latin typeface="+mn-lt"/>
          <a:ea typeface="+mn-ea"/>
        </a:defRPr>
      </a:lvl8pPr>
      <a:lvl9pPr marL="3311484" indent="-194793" algn="l" rtl="0" fontAlgn="base">
        <a:spcBef>
          <a:spcPct val="20000"/>
        </a:spcBef>
        <a:spcAft>
          <a:spcPct val="0"/>
        </a:spcAft>
        <a:buChar char="»"/>
        <a:defRPr kumimoji="1" sz="1704">
          <a:solidFill>
            <a:schemeClr val="tx1"/>
          </a:solidFill>
          <a:latin typeface="+mn-lt"/>
          <a:ea typeface="+mn-ea"/>
        </a:defRPr>
      </a:lvl9pPr>
    </p:bodyStyle>
    <p:otherStyle>
      <a:defPPr>
        <a:defRPr lang="ja-JP"/>
      </a:defPPr>
      <a:lvl1pPr marL="0" algn="l" defTabSz="779173" rtl="0" eaLnBrk="1" latinLnBrk="0" hangingPunct="1">
        <a:defRPr kumimoji="1" sz="1534" kern="1200">
          <a:solidFill>
            <a:schemeClr val="tx1"/>
          </a:solidFill>
          <a:latin typeface="+mn-lt"/>
          <a:ea typeface="+mn-ea"/>
          <a:cs typeface="+mn-cs"/>
        </a:defRPr>
      </a:lvl1pPr>
      <a:lvl2pPr marL="389586" algn="l" defTabSz="779173" rtl="0" eaLnBrk="1" latinLnBrk="0" hangingPunct="1">
        <a:defRPr kumimoji="1" sz="1534" kern="1200">
          <a:solidFill>
            <a:schemeClr val="tx1"/>
          </a:solidFill>
          <a:latin typeface="+mn-lt"/>
          <a:ea typeface="+mn-ea"/>
          <a:cs typeface="+mn-cs"/>
        </a:defRPr>
      </a:lvl2pPr>
      <a:lvl3pPr marL="779173" algn="l" defTabSz="779173" rtl="0" eaLnBrk="1" latinLnBrk="0" hangingPunct="1">
        <a:defRPr kumimoji="1" sz="1534" kern="1200">
          <a:solidFill>
            <a:schemeClr val="tx1"/>
          </a:solidFill>
          <a:latin typeface="+mn-lt"/>
          <a:ea typeface="+mn-ea"/>
          <a:cs typeface="+mn-cs"/>
        </a:defRPr>
      </a:lvl3pPr>
      <a:lvl4pPr marL="1168759" algn="l" defTabSz="779173" rtl="0" eaLnBrk="1" latinLnBrk="0" hangingPunct="1">
        <a:defRPr kumimoji="1" sz="1534" kern="1200">
          <a:solidFill>
            <a:schemeClr val="tx1"/>
          </a:solidFill>
          <a:latin typeface="+mn-lt"/>
          <a:ea typeface="+mn-ea"/>
          <a:cs typeface="+mn-cs"/>
        </a:defRPr>
      </a:lvl4pPr>
      <a:lvl5pPr marL="1558345" algn="l" defTabSz="779173" rtl="0" eaLnBrk="1" latinLnBrk="0" hangingPunct="1">
        <a:defRPr kumimoji="1" sz="1534" kern="1200">
          <a:solidFill>
            <a:schemeClr val="tx1"/>
          </a:solidFill>
          <a:latin typeface="+mn-lt"/>
          <a:ea typeface="+mn-ea"/>
          <a:cs typeface="+mn-cs"/>
        </a:defRPr>
      </a:lvl5pPr>
      <a:lvl6pPr marL="1947932" algn="l" defTabSz="779173" rtl="0" eaLnBrk="1" latinLnBrk="0" hangingPunct="1">
        <a:defRPr kumimoji="1" sz="1534" kern="1200">
          <a:solidFill>
            <a:schemeClr val="tx1"/>
          </a:solidFill>
          <a:latin typeface="+mn-lt"/>
          <a:ea typeface="+mn-ea"/>
          <a:cs typeface="+mn-cs"/>
        </a:defRPr>
      </a:lvl6pPr>
      <a:lvl7pPr marL="2337518" algn="l" defTabSz="779173" rtl="0" eaLnBrk="1" latinLnBrk="0" hangingPunct="1">
        <a:defRPr kumimoji="1" sz="1534" kern="1200">
          <a:solidFill>
            <a:schemeClr val="tx1"/>
          </a:solidFill>
          <a:latin typeface="+mn-lt"/>
          <a:ea typeface="+mn-ea"/>
          <a:cs typeface="+mn-cs"/>
        </a:defRPr>
      </a:lvl7pPr>
      <a:lvl8pPr marL="2727104" algn="l" defTabSz="779173" rtl="0" eaLnBrk="1" latinLnBrk="0" hangingPunct="1">
        <a:defRPr kumimoji="1" sz="1534" kern="1200">
          <a:solidFill>
            <a:schemeClr val="tx1"/>
          </a:solidFill>
          <a:latin typeface="+mn-lt"/>
          <a:ea typeface="+mn-ea"/>
          <a:cs typeface="+mn-cs"/>
        </a:defRPr>
      </a:lvl8pPr>
      <a:lvl9pPr marL="3116691" algn="l" defTabSz="779173" rtl="0" eaLnBrk="1" latinLnBrk="0" hangingPunct="1">
        <a:defRPr kumimoji="1" sz="1534"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body" idx="1"/>
          </p:nvPr>
        </p:nvSpPr>
        <p:spPr>
          <a:xfrm>
            <a:off x="495300" y="1600202"/>
            <a:ext cx="8915400" cy="4525963"/>
          </a:xfrm>
          <a:prstGeom prst="rect">
            <a:avLst/>
          </a:prstGeom>
          <a:noFill/>
          <a:ln w="9525">
            <a:noFill/>
            <a:miter lim="800000"/>
            <a:headEnd/>
            <a:tailEnd/>
          </a:ln>
        </p:spPr>
        <p:txBody>
          <a:bodyPr vert="horz" wrap="square" lIns="91407" tIns="45704" rIns="91407" bIns="45704"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3"/>
          <p:cNvSpPr>
            <a:spLocks noGrp="1" noChangeArrowheads="1"/>
          </p:cNvSpPr>
          <p:nvPr>
            <p:ph type="dt" sz="half" idx="2"/>
          </p:nvPr>
        </p:nvSpPr>
        <p:spPr>
          <a:xfrm>
            <a:off x="495300" y="6245225"/>
            <a:ext cx="2311400" cy="476250"/>
          </a:xfrm>
          <a:prstGeom prst="rect">
            <a:avLst/>
          </a:prstGeom>
          <a:noFill/>
          <a:ln w="9525">
            <a:noFill/>
            <a:miter lim="800000"/>
            <a:headEnd/>
            <a:tailEnd/>
          </a:ln>
          <a:effectLst/>
        </p:spPr>
        <p:txBody>
          <a:bodyPr vert="horz" wrap="square" lIns="91407" tIns="45704" rIns="91407" bIns="45704" numCol="1" anchor="t" anchorCtr="0" compatLnSpc="1">
            <a:prstTxWarp prst="textNoShape">
              <a:avLst/>
            </a:prstTxWarp>
          </a:bodyPr>
          <a:lstStyle>
            <a:lvl1pPr algn="l">
              <a:defRPr sz="1400">
                <a:solidFill>
                  <a:srgbClr val="000000"/>
                </a:solidFill>
                <a:latin typeface="Arial" charset="0"/>
                <a:ea typeface="ＭＳ Ｐゴシック" pitchFamily="50" charset="-128"/>
              </a:defRPr>
            </a:lvl1pPr>
          </a:lstStyle>
          <a:p>
            <a:pPr>
              <a:defRPr/>
            </a:pPr>
            <a:endParaRPr lang="en-US" altLang="ja-JP" dirty="0"/>
          </a:p>
        </p:txBody>
      </p:sp>
      <p:sp>
        <p:nvSpPr>
          <p:cNvPr id="1027" name="Rectangle 4"/>
          <p:cNvSpPr>
            <a:spLocks noGrp="1" noChangeArrowheads="1"/>
          </p:cNvSpPr>
          <p:nvPr>
            <p:ph type="ftr" sz="quarter" idx="3"/>
          </p:nvPr>
        </p:nvSpPr>
        <p:spPr>
          <a:xfrm>
            <a:off x="3384550" y="6245225"/>
            <a:ext cx="3136900" cy="476250"/>
          </a:xfrm>
          <a:prstGeom prst="rect">
            <a:avLst/>
          </a:prstGeom>
          <a:noFill/>
          <a:ln w="9525">
            <a:noFill/>
            <a:miter lim="800000"/>
            <a:headEnd/>
            <a:tailEnd/>
          </a:ln>
          <a:effectLst/>
        </p:spPr>
        <p:txBody>
          <a:bodyPr vert="horz" wrap="square" lIns="91407" tIns="45704" rIns="91407" bIns="45704" numCol="1" anchor="t" anchorCtr="0" compatLnSpc="1">
            <a:prstTxWarp prst="textNoShape">
              <a:avLst/>
            </a:prstTxWarp>
          </a:bodyPr>
          <a:lstStyle>
            <a:lvl1pPr algn="ctr">
              <a:defRPr sz="1400">
                <a:solidFill>
                  <a:srgbClr val="000000"/>
                </a:solidFill>
                <a:latin typeface="Arial" charset="0"/>
                <a:ea typeface="ＭＳ Ｐゴシック" pitchFamily="50" charset="-128"/>
              </a:defRPr>
            </a:lvl1pPr>
          </a:lstStyle>
          <a:p>
            <a:pPr>
              <a:defRPr/>
            </a:pPr>
            <a:endParaRPr lang="en-US" altLang="ja-JP" dirty="0"/>
          </a:p>
        </p:txBody>
      </p:sp>
      <p:sp>
        <p:nvSpPr>
          <p:cNvPr id="1028" name="Rectangle 5"/>
          <p:cNvSpPr>
            <a:spLocks noGrp="1" noChangeArrowheads="1"/>
          </p:cNvSpPr>
          <p:nvPr>
            <p:ph type="sldNum" sz="quarter" idx="4"/>
          </p:nvPr>
        </p:nvSpPr>
        <p:spPr>
          <a:xfrm>
            <a:off x="7594600" y="6237288"/>
            <a:ext cx="2311400" cy="476250"/>
          </a:xfrm>
          <a:prstGeom prst="rect">
            <a:avLst/>
          </a:prstGeom>
          <a:noFill/>
          <a:ln w="9525">
            <a:noFill/>
            <a:miter lim="800000"/>
            <a:headEnd/>
            <a:tailEnd/>
          </a:ln>
          <a:effectLst/>
        </p:spPr>
        <p:txBody>
          <a:bodyPr vert="horz" wrap="square" lIns="91407" tIns="45704" rIns="91407" bIns="45704" numCol="1" anchor="t" anchorCtr="0" compatLnSpc="1">
            <a:prstTxWarp prst="textNoShape">
              <a:avLst/>
            </a:prstTxWarp>
          </a:bodyPr>
          <a:lstStyle>
            <a:lvl1pPr algn="r">
              <a:defRPr sz="1400">
                <a:solidFill>
                  <a:srgbClr val="000000"/>
                </a:solidFill>
                <a:latin typeface="Arial" charset="0"/>
                <a:ea typeface="ＭＳ Ｐゴシック" pitchFamily="50" charset="-128"/>
              </a:defRPr>
            </a:lvl1pPr>
          </a:lstStyle>
          <a:p>
            <a:pPr>
              <a:defRPr/>
            </a:pPr>
            <a:fld id="{C3119069-7826-4511-981A-83D38F625CB6}" type="slidenum">
              <a:rPr lang="en-US" altLang="ja-JP"/>
              <a:pPr>
                <a:defRPr/>
              </a:pPr>
              <a:t>‹#›</a:t>
            </a:fld>
            <a:endParaRPr lang="en-US" altLang="ja-JP" dirty="0"/>
          </a:p>
        </p:txBody>
      </p:sp>
      <p:sp>
        <p:nvSpPr>
          <p:cNvPr id="1029" name="Rectangle 6"/>
          <p:cNvSpPr>
            <a:spLocks noChangeArrowheads="1"/>
          </p:cNvSpPr>
          <p:nvPr/>
        </p:nvSpPr>
        <p:spPr>
          <a:xfrm>
            <a:off x="0" y="1"/>
            <a:ext cx="9906000" cy="366713"/>
          </a:xfrm>
          <a:prstGeom prst="rect">
            <a:avLst/>
          </a:prstGeom>
          <a:noFill/>
          <a:ln w="9525" algn="ctr">
            <a:noFill/>
            <a:miter lim="800000"/>
            <a:headEnd/>
            <a:tailEnd/>
          </a:ln>
          <a:effectLst/>
        </p:spPr>
        <p:txBody>
          <a:bodyPr wrap="none" anchor="ctr"/>
          <a:lstStyle/>
          <a:p>
            <a:pPr algn="ctr">
              <a:defRPr/>
            </a:pPr>
            <a:endParaRPr lang="ja-JP" altLang="en-US" sz="1600" b="1" dirty="0">
              <a:solidFill>
                <a:srgbClr val="000000"/>
              </a:solidFill>
              <a:ea typeface="ＭＳ Ｐゴシック" pitchFamily="50" charset="-128"/>
            </a:endParaRPr>
          </a:p>
        </p:txBody>
      </p:sp>
      <p:grpSp>
        <p:nvGrpSpPr>
          <p:cNvPr id="1030" name="Group 27"/>
          <p:cNvGrpSpPr/>
          <p:nvPr/>
        </p:nvGrpSpPr>
        <p:grpSpPr>
          <a:xfrm>
            <a:off x="0" y="333377"/>
            <a:ext cx="9906000" cy="214313"/>
            <a:chOff x="0" y="255"/>
            <a:chExt cx="6240" cy="135"/>
          </a:xfrm>
        </p:grpSpPr>
        <p:sp>
          <p:nvSpPr>
            <p:cNvPr id="1031" name="Rectangle 28"/>
            <p:cNvSpPr>
              <a:spLocks noChangeArrowheads="1"/>
            </p:cNvSpPr>
            <p:nvPr userDrawn="1"/>
          </p:nvSpPr>
          <p:spPr>
            <a:xfrm>
              <a:off x="0" y="345"/>
              <a:ext cx="6240" cy="45"/>
            </a:xfrm>
            <a:prstGeom prst="rect">
              <a:avLst/>
            </a:prstGeom>
            <a:solidFill>
              <a:srgbClr val="FF0000"/>
            </a:solidFill>
            <a:ln w="9525" algn="ctr">
              <a:noFill/>
              <a:miter lim="800000"/>
              <a:headEnd/>
              <a:tailEnd/>
            </a:ln>
            <a:effectLst/>
          </p:spPr>
          <p:txBody>
            <a:bodyPr wrap="none" anchor="ctr"/>
            <a:lstStyle/>
            <a:p>
              <a:pPr algn="ctr">
                <a:defRPr/>
              </a:pPr>
              <a:endParaRPr lang="ja-JP" altLang="en-US" sz="1600" b="1" dirty="0">
                <a:solidFill>
                  <a:srgbClr val="000000"/>
                </a:solidFill>
                <a:ea typeface="ＭＳ Ｐゴシック" pitchFamily="50" charset="-128"/>
              </a:endParaRPr>
            </a:p>
          </p:txBody>
        </p:sp>
        <p:sp>
          <p:nvSpPr>
            <p:cNvPr id="1032" name="Rectangle 29"/>
            <p:cNvSpPr>
              <a:spLocks noChangeArrowheads="1"/>
            </p:cNvSpPr>
            <p:nvPr userDrawn="1"/>
          </p:nvSpPr>
          <p:spPr>
            <a:xfrm>
              <a:off x="0" y="300"/>
              <a:ext cx="6240" cy="45"/>
            </a:xfrm>
            <a:prstGeom prst="rect">
              <a:avLst/>
            </a:prstGeom>
            <a:solidFill>
              <a:srgbClr val="FF3399"/>
            </a:solidFill>
            <a:ln w="9525" algn="ctr">
              <a:noFill/>
              <a:miter lim="800000"/>
              <a:headEnd/>
              <a:tailEnd/>
            </a:ln>
            <a:effectLst/>
          </p:spPr>
          <p:txBody>
            <a:bodyPr wrap="none" anchor="ctr"/>
            <a:lstStyle/>
            <a:p>
              <a:pPr algn="ctr">
                <a:defRPr/>
              </a:pPr>
              <a:endParaRPr lang="ja-JP" altLang="en-US" sz="1600" b="1" dirty="0">
                <a:solidFill>
                  <a:srgbClr val="000000"/>
                </a:solidFill>
                <a:ea typeface="ＭＳ Ｐゴシック" pitchFamily="50" charset="-128"/>
              </a:endParaRPr>
            </a:p>
          </p:txBody>
        </p:sp>
        <p:sp>
          <p:nvSpPr>
            <p:cNvPr id="1033" name="Rectangle 30"/>
            <p:cNvSpPr>
              <a:spLocks noChangeArrowheads="1"/>
            </p:cNvSpPr>
            <p:nvPr userDrawn="1"/>
          </p:nvSpPr>
          <p:spPr>
            <a:xfrm>
              <a:off x="0" y="255"/>
              <a:ext cx="6240" cy="45"/>
            </a:xfrm>
            <a:prstGeom prst="rect">
              <a:avLst/>
            </a:prstGeom>
            <a:solidFill>
              <a:srgbClr val="FFCCFF"/>
            </a:solidFill>
            <a:ln w="9525" algn="ctr">
              <a:noFill/>
              <a:miter lim="800000"/>
              <a:headEnd/>
              <a:tailEnd/>
            </a:ln>
            <a:effectLst/>
          </p:spPr>
          <p:txBody>
            <a:bodyPr wrap="none" anchor="ctr"/>
            <a:lstStyle/>
            <a:p>
              <a:pPr algn="ctr">
                <a:defRPr/>
              </a:pPr>
              <a:endParaRPr lang="ja-JP" altLang="en-US" sz="1600" b="1" dirty="0">
                <a:solidFill>
                  <a:srgbClr val="000000"/>
                </a:solidFill>
                <a:ea typeface="ＭＳ Ｐゴシック" pitchFamily="50" charset="-128"/>
              </a:endParaRPr>
            </a:p>
          </p:txBody>
        </p:sp>
      </p:grpSp>
      <p:sp>
        <p:nvSpPr>
          <p:cNvPr id="1034" name="Rectangle 22"/>
          <p:cNvSpPr>
            <a:spLocks noGrp="1" noChangeArrowheads="1"/>
          </p:cNvSpPr>
          <p:nvPr>
            <p:ph type="title"/>
          </p:nvPr>
        </p:nvSpPr>
        <p:spPr>
          <a:xfrm>
            <a:off x="1" y="0"/>
            <a:ext cx="8266113" cy="476250"/>
          </a:xfrm>
          <a:prstGeom prst="rect">
            <a:avLst/>
          </a:prstGeom>
          <a:noFill/>
          <a:ln w="9525">
            <a:noFill/>
            <a:miter lim="800000"/>
            <a:headEnd/>
            <a:tailEnd/>
          </a:ln>
        </p:spPr>
        <p:txBody>
          <a:bodyPr vert="horz" wrap="square" lIns="91407" tIns="45704" rIns="91407" bIns="45704" numCol="1" anchor="ctr" anchorCtr="0" compatLnSpc="1">
            <a:prstTxWarp prst="textNoShape">
              <a:avLst/>
            </a:prstTxWarp>
          </a:bodyPr>
          <a:lstStyle/>
          <a:p>
            <a:pPr lvl="0"/>
            <a:r>
              <a:rPr lang="ja-JP" altLang="en-US"/>
              <a:t>マスタ タイトルの書式設定</a:t>
            </a:r>
          </a:p>
        </p:txBody>
      </p:sp>
      <p:pic>
        <p:nvPicPr>
          <p:cNvPr id="1035" name="Picture 32" descr="ppjtitle"/>
          <p:cNvPicPr>
            <a:picLocks noChangeAspect="1" noChangeArrowheads="1"/>
          </p:cNvPicPr>
          <p:nvPr/>
        </p:nvPicPr>
        <p:blipFill>
          <a:blip r:embed="rId2"/>
          <a:stretch>
            <a:fillRect/>
          </a:stretch>
        </p:blipFill>
        <p:spPr>
          <a:xfrm>
            <a:off x="8697914" y="1"/>
            <a:ext cx="1208087" cy="334963"/>
          </a:xfrm>
          <a:prstGeom prst="rect">
            <a:avLst/>
          </a:prstGeom>
          <a:noFill/>
          <a:ln w="9525">
            <a:noFill/>
            <a:miter lim="800000"/>
            <a:headEnd/>
            <a:tailEnd/>
          </a:ln>
        </p:spPr>
      </p:pic>
    </p:spTree>
    <p:extLst>
      <p:ext uri="{BB962C8B-B14F-4D97-AF65-F5344CB8AC3E}">
        <p14:creationId xmlns:p14="http://schemas.microsoft.com/office/powerpoint/2010/main" val="619910533"/>
      </p:ext>
    </p:extLst>
  </p:cSld>
  <p:clrMap bg1="lt1" tx1="dk1" bg2="lt2" tx2="dk2" accent1="accent1" accent2="accent2" accent3="accent3" accent4="accent4" accent5="accent5" accent6="accent6" hlink="hlink" folHlink="folHlink"/>
  <p:hf hdr="0" ftr="0" dt="0"/>
  <p:txStyles>
    <p:titleStyle>
      <a:lvl1pPr algn="l" rtl="0" eaLnBrk="0" fontAlgn="base" hangingPunct="0">
        <a:spcBef>
          <a:spcPct val="0"/>
        </a:spcBef>
        <a:spcAft>
          <a:spcPct val="0"/>
        </a:spcAft>
        <a:defRPr kumimoji="1" sz="28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fontAlgn="base">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ＭＳ Ｐゴシック" pitchFamily="50" charset="-128"/>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ＭＳ Ｐゴシック" pitchFamily="50" charset="-128"/>
        </a:defRPr>
      </a:lvl2pPr>
      <a:lvl3pPr marL="1143000" indent="-228600" algn="l" rtl="0" eaLnBrk="0" fontAlgn="base" hangingPunct="0">
        <a:spcBef>
          <a:spcPct val="20000"/>
        </a:spcBef>
        <a:spcAft>
          <a:spcPct val="0"/>
        </a:spcAft>
        <a:buChar char="•"/>
        <a:defRPr kumimoji="1" sz="2400">
          <a:solidFill>
            <a:schemeClr val="tx1"/>
          </a:solidFill>
          <a:latin typeface="+mn-lt"/>
          <a:ea typeface="ＭＳ Ｐゴシック" pitchFamily="50" charset="-128"/>
        </a:defRPr>
      </a:lvl3pPr>
      <a:lvl4pPr marL="1600200" indent="-228600" algn="l" rtl="0" eaLnBrk="0" fontAlgn="base" hangingPunct="0">
        <a:spcBef>
          <a:spcPct val="20000"/>
        </a:spcBef>
        <a:spcAft>
          <a:spcPct val="0"/>
        </a:spcAft>
        <a:buChar char="–"/>
        <a:defRPr kumimoji="1" sz="2000">
          <a:solidFill>
            <a:schemeClr val="tx1"/>
          </a:solidFill>
          <a:latin typeface="+mn-lt"/>
          <a:ea typeface="ＭＳ Ｐゴシック" pitchFamily="50" charset="-128"/>
        </a:defRPr>
      </a:lvl4pPr>
      <a:lvl5pPr marL="2057400" indent="-230188" algn="l" rtl="0" eaLnBrk="0" fontAlgn="base" hangingPunct="0">
        <a:spcBef>
          <a:spcPct val="20000"/>
        </a:spcBef>
        <a:spcAft>
          <a:spcPct val="0"/>
        </a:spcAft>
        <a:buChar char="»"/>
        <a:defRPr kumimoji="1" sz="2000">
          <a:solidFill>
            <a:schemeClr val="tx1"/>
          </a:solidFill>
          <a:latin typeface="+mn-lt"/>
          <a:ea typeface="ＭＳ Ｐゴシック" pitchFamily="50" charset="-128"/>
        </a:defRPr>
      </a:lvl5pPr>
      <a:lvl6pPr marL="2514600" indent="-230188" algn="l" rtl="0" fontAlgn="base">
        <a:spcBef>
          <a:spcPct val="20000"/>
        </a:spcBef>
        <a:spcAft>
          <a:spcPct val="0"/>
        </a:spcAft>
        <a:buChar char="»"/>
        <a:defRPr kumimoji="1" sz="2000">
          <a:solidFill>
            <a:schemeClr val="tx1"/>
          </a:solidFill>
          <a:latin typeface="+mn-lt"/>
          <a:ea typeface="+mn-ea"/>
        </a:defRPr>
      </a:lvl6pPr>
      <a:lvl7pPr marL="2971800" indent="-230188" algn="l" rtl="0" fontAlgn="base">
        <a:spcBef>
          <a:spcPct val="20000"/>
        </a:spcBef>
        <a:spcAft>
          <a:spcPct val="0"/>
        </a:spcAft>
        <a:buChar char="»"/>
        <a:defRPr kumimoji="1" sz="2000">
          <a:solidFill>
            <a:schemeClr val="tx1"/>
          </a:solidFill>
          <a:latin typeface="+mn-lt"/>
          <a:ea typeface="+mn-ea"/>
        </a:defRPr>
      </a:lvl7pPr>
      <a:lvl8pPr marL="3429000" indent="-230188" algn="l" rtl="0" fontAlgn="base">
        <a:spcBef>
          <a:spcPct val="20000"/>
        </a:spcBef>
        <a:spcAft>
          <a:spcPct val="0"/>
        </a:spcAft>
        <a:buChar char="»"/>
        <a:defRPr kumimoji="1" sz="2000">
          <a:solidFill>
            <a:schemeClr val="tx1"/>
          </a:solidFill>
          <a:latin typeface="+mn-lt"/>
          <a:ea typeface="+mn-ea"/>
        </a:defRPr>
      </a:lvl8pPr>
      <a:lvl9pPr marL="3886200" indent="-230188"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95300" y="1600206"/>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193">
                <a:solidFill>
                  <a:srgbClr val="000000"/>
                </a:solidFill>
                <a:latin typeface="Arial" charset="0"/>
                <a:ea typeface="ＭＳ Ｐゴシック" pitchFamily="50" charset="-128"/>
              </a:defRPr>
            </a:lvl1pPr>
          </a:lstStyle>
          <a:p>
            <a:pPr>
              <a:defRPr/>
            </a:pPr>
            <a:endParaRPr lang="en-US" altLang="ja-JP"/>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193">
                <a:solidFill>
                  <a:srgbClr val="000000"/>
                </a:solidFill>
                <a:latin typeface="Arial" charset="0"/>
                <a:ea typeface="ＭＳ Ｐゴシック" pitchFamily="50" charset="-128"/>
              </a:defRPr>
            </a:lvl1pPr>
          </a:lstStyle>
          <a:p>
            <a:pPr>
              <a:defRPr/>
            </a:pPr>
            <a:endParaRPr lang="en-US" altLang="ja-JP"/>
          </a:p>
        </p:txBody>
      </p:sp>
      <p:sp>
        <p:nvSpPr>
          <p:cNvPr id="30725" name="Rectangle 5"/>
          <p:cNvSpPr>
            <a:spLocks noGrp="1" noChangeArrowheads="1"/>
          </p:cNvSpPr>
          <p:nvPr>
            <p:ph type="sldNum" sz="quarter" idx="4"/>
          </p:nvPr>
        </p:nvSpPr>
        <p:spPr bwMode="auto">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193">
                <a:solidFill>
                  <a:srgbClr val="000000"/>
                </a:solidFill>
                <a:latin typeface="Arial" charset="0"/>
                <a:ea typeface="ＭＳ Ｐゴシック" pitchFamily="50" charset="-128"/>
              </a:defRPr>
            </a:lvl1pPr>
          </a:lstStyle>
          <a:p>
            <a:pPr>
              <a:defRPr/>
            </a:pPr>
            <a:fld id="{41D9C5F3-0171-4BEC-8CA7-993AD018E031}" type="slidenum">
              <a:rPr lang="en-US" altLang="ja-JP"/>
              <a:pPr>
                <a:defRPr/>
              </a:pPr>
              <a:t>‹#›</a:t>
            </a:fld>
            <a:endParaRPr lang="en-US" altLang="ja-JP"/>
          </a:p>
        </p:txBody>
      </p:sp>
      <p:sp>
        <p:nvSpPr>
          <p:cNvPr id="1030" name="Rectangle 6"/>
          <p:cNvSpPr>
            <a:spLocks noChangeArrowheads="1"/>
          </p:cNvSpPr>
          <p:nvPr/>
        </p:nvSpPr>
        <p:spPr bwMode="auto">
          <a:xfrm>
            <a:off x="0" y="6"/>
            <a:ext cx="9906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nvGrpSpPr>
          <p:cNvPr id="1031" name="Group 27"/>
          <p:cNvGrpSpPr>
            <a:grpSpLocks/>
          </p:cNvGrpSpPr>
          <p:nvPr/>
        </p:nvGrpSpPr>
        <p:grpSpPr bwMode="auto">
          <a:xfrm>
            <a:off x="0" y="333378"/>
            <a:ext cx="9906000" cy="214313"/>
            <a:chOff x="0" y="255"/>
            <a:chExt cx="6240" cy="135"/>
          </a:xfrm>
        </p:grpSpPr>
        <p:sp>
          <p:nvSpPr>
            <p:cNvPr id="1034"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5"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6"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
        <p:nvSpPr>
          <p:cNvPr id="1032" name="Rectangle 22"/>
          <p:cNvSpPr>
            <a:spLocks noGrp="1" noChangeArrowheads="1"/>
          </p:cNvSpPr>
          <p:nvPr>
            <p:ph type="title"/>
          </p:nvPr>
        </p:nvSpPr>
        <p:spPr bwMode="auto">
          <a:xfrm>
            <a:off x="2" y="0"/>
            <a:ext cx="8266113"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3" name="Picture 32" descr="ppjtitle"/>
          <p:cNvPicPr/>
          <p:nvPr userDrawn="1"/>
        </p:nvPicPr>
        <p:blipFill>
          <a:blip r:embed="rId7"/>
          <a:srcRect l="1758" r="81940" b="42699"/>
          <a:stretch>
            <a:fillRect/>
          </a:stretch>
        </p:blipFill>
        <p:spPr>
          <a:xfrm>
            <a:off x="8697960" y="0"/>
            <a:ext cx="1207800" cy="334440"/>
          </a:xfrm>
          <a:prstGeom prst="rect">
            <a:avLst/>
          </a:prstGeom>
          <a:ln>
            <a:noFill/>
          </a:ln>
        </p:spPr>
      </p:pic>
    </p:spTree>
    <p:extLst>
      <p:ext uri="{BB962C8B-B14F-4D97-AF65-F5344CB8AC3E}">
        <p14:creationId xmlns:p14="http://schemas.microsoft.com/office/powerpoint/2010/main" val="34111079"/>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2" r:id="rId4"/>
    <p:sldLayoutId id="2147483853" r:id="rId5"/>
  </p:sldLayoutIdLst>
  <p:hf hdr="0" ftr="0" dt="0"/>
  <p:txStyles>
    <p:titleStyle>
      <a:lvl1pPr algn="l" rtl="0" eaLnBrk="0" fontAlgn="base" hangingPunct="0">
        <a:spcBef>
          <a:spcPct val="0"/>
        </a:spcBef>
        <a:spcAft>
          <a:spcPct val="0"/>
        </a:spcAft>
        <a:defRPr kumimoji="1" sz="2200" b="1">
          <a:solidFill>
            <a:schemeClr val="tx1"/>
          </a:solidFill>
          <a:latin typeface="メイリオ" panose="020B0604030504040204" pitchFamily="50" charset="-128"/>
          <a:ea typeface="メイリオ" panose="020B0604030504040204" pitchFamily="50" charset="-128"/>
          <a:cs typeface="+mj-cs"/>
        </a:defRPr>
      </a:lvl1pPr>
      <a:lvl2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5pPr>
      <a:lvl6pPr marL="389586"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6pPr>
      <a:lvl7pPr marL="779173"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7pPr>
      <a:lvl8pPr marL="1168759"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8pPr>
      <a:lvl9pPr marL="1558345"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9pPr>
    </p:titleStyle>
    <p:bodyStyle>
      <a:lvl1pPr marL="292190" indent="-292190" algn="l" rtl="0" eaLnBrk="0" fontAlgn="base" hangingPunct="0">
        <a:spcBef>
          <a:spcPct val="20000"/>
        </a:spcBef>
        <a:spcAft>
          <a:spcPct val="0"/>
        </a:spcAft>
        <a:buChar char="•"/>
        <a:defRPr kumimoji="1" sz="2727">
          <a:solidFill>
            <a:schemeClr val="tx1"/>
          </a:solidFill>
          <a:latin typeface="+mn-lt"/>
          <a:ea typeface="ＭＳ Ｐゴシック" pitchFamily="50" charset="-128"/>
          <a:cs typeface="+mn-cs"/>
        </a:defRPr>
      </a:lvl1pPr>
      <a:lvl2pPr marL="633078" indent="-243492" algn="l" rtl="0" eaLnBrk="0" fontAlgn="base" hangingPunct="0">
        <a:spcBef>
          <a:spcPct val="20000"/>
        </a:spcBef>
        <a:spcAft>
          <a:spcPct val="0"/>
        </a:spcAft>
        <a:buChar char="–"/>
        <a:defRPr kumimoji="1" sz="2386">
          <a:solidFill>
            <a:schemeClr val="tx1"/>
          </a:solidFill>
          <a:latin typeface="+mn-lt"/>
          <a:ea typeface="ＭＳ Ｐゴシック" pitchFamily="50" charset="-128"/>
        </a:defRPr>
      </a:lvl2pPr>
      <a:lvl3pPr marL="973966" indent="-194793" algn="l" rtl="0" eaLnBrk="0" fontAlgn="base" hangingPunct="0">
        <a:spcBef>
          <a:spcPct val="20000"/>
        </a:spcBef>
        <a:spcAft>
          <a:spcPct val="0"/>
        </a:spcAft>
        <a:buChar char="•"/>
        <a:defRPr kumimoji="1" sz="2045">
          <a:solidFill>
            <a:schemeClr val="tx1"/>
          </a:solidFill>
          <a:latin typeface="+mn-lt"/>
          <a:ea typeface="ＭＳ Ｐゴシック" pitchFamily="50" charset="-128"/>
        </a:defRPr>
      </a:lvl3pPr>
      <a:lvl4pPr marL="1363553"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4pPr>
      <a:lvl5pPr marL="1753139"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5pPr>
      <a:lvl6pPr marL="2142725" indent="-194793" algn="l" rtl="0" fontAlgn="base">
        <a:spcBef>
          <a:spcPct val="20000"/>
        </a:spcBef>
        <a:spcAft>
          <a:spcPct val="0"/>
        </a:spcAft>
        <a:buChar char="»"/>
        <a:defRPr kumimoji="1" sz="1704">
          <a:solidFill>
            <a:schemeClr val="tx1"/>
          </a:solidFill>
          <a:latin typeface="+mn-lt"/>
          <a:ea typeface="+mn-ea"/>
        </a:defRPr>
      </a:lvl6pPr>
      <a:lvl7pPr marL="2532312" indent="-194793" algn="l" rtl="0" fontAlgn="base">
        <a:spcBef>
          <a:spcPct val="20000"/>
        </a:spcBef>
        <a:spcAft>
          <a:spcPct val="0"/>
        </a:spcAft>
        <a:buChar char="»"/>
        <a:defRPr kumimoji="1" sz="1704">
          <a:solidFill>
            <a:schemeClr val="tx1"/>
          </a:solidFill>
          <a:latin typeface="+mn-lt"/>
          <a:ea typeface="+mn-ea"/>
        </a:defRPr>
      </a:lvl7pPr>
      <a:lvl8pPr marL="2921898" indent="-194793" algn="l" rtl="0" fontAlgn="base">
        <a:spcBef>
          <a:spcPct val="20000"/>
        </a:spcBef>
        <a:spcAft>
          <a:spcPct val="0"/>
        </a:spcAft>
        <a:buChar char="»"/>
        <a:defRPr kumimoji="1" sz="1704">
          <a:solidFill>
            <a:schemeClr val="tx1"/>
          </a:solidFill>
          <a:latin typeface="+mn-lt"/>
          <a:ea typeface="+mn-ea"/>
        </a:defRPr>
      </a:lvl8pPr>
      <a:lvl9pPr marL="3311484" indent="-194793" algn="l" rtl="0" fontAlgn="base">
        <a:spcBef>
          <a:spcPct val="20000"/>
        </a:spcBef>
        <a:spcAft>
          <a:spcPct val="0"/>
        </a:spcAft>
        <a:buChar char="»"/>
        <a:defRPr kumimoji="1" sz="1704">
          <a:solidFill>
            <a:schemeClr val="tx1"/>
          </a:solidFill>
          <a:latin typeface="+mn-lt"/>
          <a:ea typeface="+mn-ea"/>
        </a:defRPr>
      </a:lvl9pPr>
    </p:bodyStyle>
    <p:otherStyle>
      <a:defPPr>
        <a:defRPr lang="ja-JP"/>
      </a:defPPr>
      <a:lvl1pPr marL="0" algn="l" defTabSz="779173" rtl="0" eaLnBrk="1" latinLnBrk="0" hangingPunct="1">
        <a:defRPr kumimoji="1" sz="1534" kern="1200">
          <a:solidFill>
            <a:schemeClr val="tx1"/>
          </a:solidFill>
          <a:latin typeface="+mn-lt"/>
          <a:ea typeface="+mn-ea"/>
          <a:cs typeface="+mn-cs"/>
        </a:defRPr>
      </a:lvl1pPr>
      <a:lvl2pPr marL="389586" algn="l" defTabSz="779173" rtl="0" eaLnBrk="1" latinLnBrk="0" hangingPunct="1">
        <a:defRPr kumimoji="1" sz="1534" kern="1200">
          <a:solidFill>
            <a:schemeClr val="tx1"/>
          </a:solidFill>
          <a:latin typeface="+mn-lt"/>
          <a:ea typeface="+mn-ea"/>
          <a:cs typeface="+mn-cs"/>
        </a:defRPr>
      </a:lvl2pPr>
      <a:lvl3pPr marL="779173" algn="l" defTabSz="779173" rtl="0" eaLnBrk="1" latinLnBrk="0" hangingPunct="1">
        <a:defRPr kumimoji="1" sz="1534" kern="1200">
          <a:solidFill>
            <a:schemeClr val="tx1"/>
          </a:solidFill>
          <a:latin typeface="+mn-lt"/>
          <a:ea typeface="+mn-ea"/>
          <a:cs typeface="+mn-cs"/>
        </a:defRPr>
      </a:lvl3pPr>
      <a:lvl4pPr marL="1168759" algn="l" defTabSz="779173" rtl="0" eaLnBrk="1" latinLnBrk="0" hangingPunct="1">
        <a:defRPr kumimoji="1" sz="1534" kern="1200">
          <a:solidFill>
            <a:schemeClr val="tx1"/>
          </a:solidFill>
          <a:latin typeface="+mn-lt"/>
          <a:ea typeface="+mn-ea"/>
          <a:cs typeface="+mn-cs"/>
        </a:defRPr>
      </a:lvl4pPr>
      <a:lvl5pPr marL="1558345" algn="l" defTabSz="779173" rtl="0" eaLnBrk="1" latinLnBrk="0" hangingPunct="1">
        <a:defRPr kumimoji="1" sz="1534" kern="1200">
          <a:solidFill>
            <a:schemeClr val="tx1"/>
          </a:solidFill>
          <a:latin typeface="+mn-lt"/>
          <a:ea typeface="+mn-ea"/>
          <a:cs typeface="+mn-cs"/>
        </a:defRPr>
      </a:lvl5pPr>
      <a:lvl6pPr marL="1947932" algn="l" defTabSz="779173" rtl="0" eaLnBrk="1" latinLnBrk="0" hangingPunct="1">
        <a:defRPr kumimoji="1" sz="1534" kern="1200">
          <a:solidFill>
            <a:schemeClr val="tx1"/>
          </a:solidFill>
          <a:latin typeface="+mn-lt"/>
          <a:ea typeface="+mn-ea"/>
          <a:cs typeface="+mn-cs"/>
        </a:defRPr>
      </a:lvl6pPr>
      <a:lvl7pPr marL="2337518" algn="l" defTabSz="779173" rtl="0" eaLnBrk="1" latinLnBrk="0" hangingPunct="1">
        <a:defRPr kumimoji="1" sz="1534" kern="1200">
          <a:solidFill>
            <a:schemeClr val="tx1"/>
          </a:solidFill>
          <a:latin typeface="+mn-lt"/>
          <a:ea typeface="+mn-ea"/>
          <a:cs typeface="+mn-cs"/>
        </a:defRPr>
      </a:lvl7pPr>
      <a:lvl8pPr marL="2727104" algn="l" defTabSz="779173" rtl="0" eaLnBrk="1" latinLnBrk="0" hangingPunct="1">
        <a:defRPr kumimoji="1" sz="1534" kern="1200">
          <a:solidFill>
            <a:schemeClr val="tx1"/>
          </a:solidFill>
          <a:latin typeface="+mn-lt"/>
          <a:ea typeface="+mn-ea"/>
          <a:cs typeface="+mn-cs"/>
        </a:defRPr>
      </a:lvl8pPr>
      <a:lvl9pPr marL="3116691" algn="l" defTabSz="779173" rtl="0" eaLnBrk="1" latinLnBrk="0" hangingPunct="1">
        <a:defRPr kumimoji="1" sz="1534"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body" idx="1"/>
          </p:nvPr>
        </p:nvSpPr>
        <p:spPr>
          <a:xfrm>
            <a:off x="495300" y="1600204"/>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3"/>
          <p:cNvSpPr>
            <a:spLocks noGrp="1" noChangeArrowheads="1"/>
          </p:cNvSpPr>
          <p:nvPr>
            <p:ph type="dt" sz="half" idx="2"/>
          </p:nvPr>
        </p:nvSpPr>
        <p:spPr>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latin typeface="Arial" charset="0"/>
                <a:ea typeface="ＭＳ Ｐゴシック" pitchFamily="50" charset="-128"/>
              </a:defRPr>
            </a:lvl1pPr>
          </a:lstStyle>
          <a:p>
            <a:pPr fontAlgn="base">
              <a:spcBef>
                <a:spcPct val="0"/>
              </a:spcBef>
              <a:spcAft>
                <a:spcPct val="0"/>
              </a:spcAft>
              <a:defRPr/>
            </a:pPr>
            <a:endParaRPr lang="en-US" altLang="ja-JP"/>
          </a:p>
        </p:txBody>
      </p:sp>
      <p:sp>
        <p:nvSpPr>
          <p:cNvPr id="1027" name="Rectangle 4"/>
          <p:cNvSpPr>
            <a:spLocks noGrp="1" noChangeArrowheads="1"/>
          </p:cNvSpPr>
          <p:nvPr>
            <p:ph type="ftr" sz="quarter" idx="3"/>
          </p:nvPr>
        </p:nvSpPr>
        <p:spPr>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ea typeface="ＭＳ Ｐゴシック" pitchFamily="50" charset="-128"/>
              </a:defRPr>
            </a:lvl1pPr>
          </a:lstStyle>
          <a:p>
            <a:pPr fontAlgn="base">
              <a:spcBef>
                <a:spcPct val="0"/>
              </a:spcBef>
              <a:spcAft>
                <a:spcPct val="0"/>
              </a:spcAft>
              <a:defRPr/>
            </a:pPr>
            <a:endParaRPr lang="en-US" altLang="ja-JP"/>
          </a:p>
        </p:txBody>
      </p:sp>
      <p:sp>
        <p:nvSpPr>
          <p:cNvPr id="1028" name="Rectangle 5"/>
          <p:cNvSpPr>
            <a:spLocks noGrp="1" noChangeArrowheads="1"/>
          </p:cNvSpPr>
          <p:nvPr>
            <p:ph type="sldNum" sz="quarter" idx="4"/>
          </p:nvPr>
        </p:nvSpPr>
        <p:spPr>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charset="0"/>
                <a:ea typeface="ＭＳ Ｐゴシック" pitchFamily="50" charset="-128"/>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
        <p:nvSpPr>
          <p:cNvPr id="1029" name="Rectangle 6"/>
          <p:cNvSpPr>
            <a:spLocks noChangeArrowheads="1"/>
          </p:cNvSpPr>
          <p:nvPr/>
        </p:nvSpPr>
        <p:spPr>
          <a:xfrm>
            <a:off x="0" y="1"/>
            <a:ext cx="9906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grpSp>
        <p:nvGrpSpPr>
          <p:cNvPr id="1030" name="Group 27"/>
          <p:cNvGrpSpPr/>
          <p:nvPr/>
        </p:nvGrpSpPr>
        <p:grpSpPr>
          <a:xfrm>
            <a:off x="0" y="333378"/>
            <a:ext cx="9906000" cy="214313"/>
            <a:chOff x="0" y="255"/>
            <a:chExt cx="6240" cy="135"/>
          </a:xfrm>
        </p:grpSpPr>
        <p:sp>
          <p:nvSpPr>
            <p:cNvPr id="1031" name="Rectangle 28"/>
            <p:cNvSpPr>
              <a:spLocks noChangeArrowheads="1"/>
            </p:cNvSpPr>
            <p:nvPr/>
          </p:nvSpPr>
          <p:spPr>
            <a:xfrm>
              <a:off x="0" y="345"/>
              <a:ext cx="6240" cy="45"/>
            </a:xfrm>
            <a:prstGeom prst="rect">
              <a:avLst/>
            </a:prstGeom>
            <a:solidFill>
              <a:srgbClr val="FF0000"/>
            </a:solid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2" name="Rectangle 29"/>
            <p:cNvSpPr>
              <a:spLocks noChangeArrowheads="1"/>
            </p:cNvSpPr>
            <p:nvPr/>
          </p:nvSpPr>
          <p:spPr>
            <a:xfrm>
              <a:off x="0" y="300"/>
              <a:ext cx="6240" cy="45"/>
            </a:xfrm>
            <a:prstGeom prst="rect">
              <a:avLst/>
            </a:prstGeom>
            <a:solidFill>
              <a:srgbClr val="FF3399"/>
            </a:solid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3" name="Rectangle 30"/>
            <p:cNvSpPr>
              <a:spLocks noChangeArrowheads="1"/>
            </p:cNvSpPr>
            <p:nvPr/>
          </p:nvSpPr>
          <p:spPr>
            <a:xfrm>
              <a:off x="0" y="255"/>
              <a:ext cx="6240" cy="45"/>
            </a:xfrm>
            <a:prstGeom prst="rect">
              <a:avLst/>
            </a:prstGeom>
            <a:solidFill>
              <a:srgbClr val="FFCCFF"/>
            </a:solid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grpSp>
      <p:sp>
        <p:nvSpPr>
          <p:cNvPr id="1034" name="Rectangle 22"/>
          <p:cNvSpPr>
            <a:spLocks noGrp="1" noChangeArrowheads="1"/>
          </p:cNvSpPr>
          <p:nvPr>
            <p:ph type="title"/>
          </p:nvPr>
        </p:nvSpPr>
        <p:spPr>
          <a:xfrm>
            <a:off x="1" y="0"/>
            <a:ext cx="8266113"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35" name="Picture 32" descr="ppjtitle"/>
          <p:cNvPicPr>
            <a:picLocks noChangeAspect="1" noChangeArrowheads="1"/>
          </p:cNvPicPr>
          <p:nvPr/>
        </p:nvPicPr>
        <p:blipFill>
          <a:blip r:embed="rId16"/>
          <a:stretch>
            <a:fillRect/>
          </a:stretch>
        </p:blipFill>
        <p:spPr>
          <a:xfrm>
            <a:off x="8697916" y="1"/>
            <a:ext cx="1208087" cy="334963"/>
          </a:xfrm>
          <a:prstGeom prst="rect">
            <a:avLst/>
          </a:prstGeom>
          <a:noFill/>
          <a:ln w="9525">
            <a:noFill/>
            <a:miter lim="800000"/>
            <a:headEnd/>
            <a:tailEnd/>
          </a:ln>
        </p:spPr>
      </p:pic>
      <p:pic>
        <p:nvPicPr>
          <p:cNvPr id="13" name="Picture 32" descr="ppjtitle"/>
          <p:cNvPicPr>
            <a:picLocks noChangeAspect="1" noChangeArrowheads="1"/>
          </p:cNvPicPr>
          <p:nvPr userDrawn="1"/>
        </p:nvPicPr>
        <p:blipFill>
          <a:blip r:embed="rId17"/>
          <a:srcRect l="1756" r="81940" b="42691"/>
          <a:stretch>
            <a:fillRect/>
          </a:stretch>
        </p:blipFill>
        <p:spPr>
          <a:xfrm>
            <a:off x="8697916" y="6"/>
            <a:ext cx="1208087" cy="334963"/>
          </a:xfrm>
          <a:prstGeom prst="rect">
            <a:avLst/>
          </a:prstGeom>
          <a:noFill/>
          <a:ln>
            <a:noFill/>
          </a:ln>
        </p:spPr>
      </p:pic>
    </p:spTree>
    <p:extLst>
      <p:ext uri="{BB962C8B-B14F-4D97-AF65-F5344CB8AC3E}">
        <p14:creationId xmlns:p14="http://schemas.microsoft.com/office/powerpoint/2010/main" val="2838109729"/>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Lst>
  <p:hf hdr="0" ftr="0" dt="0"/>
  <p:txStyles>
    <p:titleStyle>
      <a:lvl1pPr algn="l" rtl="0" eaLnBrk="1" fontAlgn="base" hangingPunct="1">
        <a:spcBef>
          <a:spcPct val="0"/>
        </a:spcBef>
        <a:spcAft>
          <a:spcPct val="0"/>
        </a:spcAft>
        <a:defRPr kumimoji="1" sz="2800">
          <a:solidFill>
            <a:schemeClr val="tx1"/>
          </a:solidFill>
          <a:latin typeface="+mj-lt"/>
          <a:ea typeface="+mj-ea"/>
          <a:cs typeface="+mj-cs"/>
        </a:defRPr>
      </a:lvl1pPr>
      <a:lvl2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1" fontAlgn="base" hangingPunct="1">
        <a:spcBef>
          <a:spcPct val="20000"/>
        </a:spcBef>
        <a:spcAft>
          <a:spcPct val="0"/>
        </a:spcAft>
        <a:buChar char="•"/>
        <a:defRPr kumimoji="1" sz="3200">
          <a:solidFill>
            <a:schemeClr val="tx1"/>
          </a:solidFill>
          <a:latin typeface="+mn-lt"/>
          <a:ea typeface="ＭＳ Ｐゴシック" pitchFamily="50" charset="-128"/>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ＭＳ Ｐゴシック" pitchFamily="50" charset="-128"/>
        </a:defRPr>
      </a:lvl2pPr>
      <a:lvl3pPr marL="1143000" indent="-228600" algn="l" rtl="0" eaLnBrk="1" fontAlgn="base" hangingPunct="1">
        <a:spcBef>
          <a:spcPct val="20000"/>
        </a:spcBef>
        <a:spcAft>
          <a:spcPct val="0"/>
        </a:spcAft>
        <a:buChar char="•"/>
        <a:defRPr kumimoji="1" sz="2400">
          <a:solidFill>
            <a:schemeClr val="tx1"/>
          </a:solidFill>
          <a:latin typeface="+mn-lt"/>
          <a:ea typeface="ＭＳ Ｐゴシック" pitchFamily="50" charset="-128"/>
        </a:defRPr>
      </a:lvl3pPr>
      <a:lvl4pPr marL="1600200" indent="-228600" algn="l" rtl="0" eaLnBrk="1" fontAlgn="base" hangingPunct="1">
        <a:spcBef>
          <a:spcPct val="20000"/>
        </a:spcBef>
        <a:spcAft>
          <a:spcPct val="0"/>
        </a:spcAft>
        <a:buChar char="–"/>
        <a:defRPr kumimoji="1" sz="2000">
          <a:solidFill>
            <a:schemeClr val="tx1"/>
          </a:solidFill>
          <a:latin typeface="+mn-lt"/>
          <a:ea typeface="ＭＳ Ｐゴシック" pitchFamily="50" charset="-128"/>
        </a:defRPr>
      </a:lvl4pPr>
      <a:lvl5pPr marL="2057400" indent="-228600" algn="l" rtl="0" eaLnBrk="1" fontAlgn="base" hangingPunct="1">
        <a:spcBef>
          <a:spcPct val="20000"/>
        </a:spcBef>
        <a:spcAft>
          <a:spcPct val="0"/>
        </a:spcAft>
        <a:buChar char="»"/>
        <a:defRPr kumimoji="1" sz="2000">
          <a:solidFill>
            <a:schemeClr val="tx1"/>
          </a:solidFill>
          <a:latin typeface="+mn-lt"/>
          <a:ea typeface="ＭＳ Ｐゴシック" pitchFamily="50" charset="-128"/>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body" idx="1"/>
          </p:nvPr>
        </p:nvSpPr>
        <p:spPr>
          <a:xfrm>
            <a:off x="495300" y="1600200"/>
            <a:ext cx="8915400" cy="4525963"/>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6" name="Rectangle 3"/>
          <p:cNvSpPr>
            <a:spLocks noGrp="1" noChangeArrowheads="1"/>
          </p:cNvSpPr>
          <p:nvPr>
            <p:ph type="dt" sz="half" idx="2"/>
          </p:nvPr>
        </p:nvSpPr>
        <p:spPr>
          <a:xfrm>
            <a:off x="0" y="6579712"/>
            <a:ext cx="2311400" cy="2880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l" eaLnBrk="1" hangingPunct="1">
              <a:defRPr sz="1400">
                <a:latin typeface="+mn-ea"/>
                <a:ea typeface="+mn-ea"/>
              </a:defRPr>
            </a:lvl1pPr>
          </a:lstStyle>
          <a:p>
            <a:pPr>
              <a:defRPr/>
            </a:pPr>
            <a:endParaRPr lang="en-US" altLang="ja-JP"/>
          </a:p>
        </p:txBody>
      </p:sp>
      <p:sp>
        <p:nvSpPr>
          <p:cNvPr id="1027" name="Rectangle 4"/>
          <p:cNvSpPr>
            <a:spLocks noGrp="1" noChangeArrowheads="1"/>
          </p:cNvSpPr>
          <p:nvPr>
            <p:ph type="ftr" sz="quarter" idx="3"/>
          </p:nvPr>
        </p:nvSpPr>
        <p:spPr>
          <a:xfrm>
            <a:off x="3384550" y="6577937"/>
            <a:ext cx="3136900" cy="2880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1400">
                <a:latin typeface="+mn-ea"/>
                <a:ea typeface="+mn-ea"/>
              </a:defRPr>
            </a:lvl1pPr>
          </a:lstStyle>
          <a:p>
            <a:pPr>
              <a:defRPr/>
            </a:pPr>
            <a:endParaRPr lang="en-US" altLang="ja-JP" dirty="0"/>
          </a:p>
        </p:txBody>
      </p:sp>
      <p:sp>
        <p:nvSpPr>
          <p:cNvPr id="1028" name="Rectangle 5"/>
          <p:cNvSpPr>
            <a:spLocks noGrp="1" noChangeArrowheads="1"/>
          </p:cNvSpPr>
          <p:nvPr>
            <p:ph type="sldNum" sz="quarter" idx="4"/>
          </p:nvPr>
        </p:nvSpPr>
        <p:spPr>
          <a:xfrm>
            <a:off x="9410700" y="6570000"/>
            <a:ext cx="495300" cy="2880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eaLnBrk="1" hangingPunct="1">
              <a:defRPr sz="1400"/>
            </a:lvl1pPr>
          </a:lstStyle>
          <a:p>
            <a:pPr>
              <a:defRPr/>
            </a:pPr>
            <a:fld id="{CA1AF5DB-AE8E-46F2-99A8-A16EDB727E4B}" type="slidenum">
              <a:rPr lang="en-US" altLang="ja-JP" smtClean="0"/>
              <a:pPr>
                <a:defRPr/>
              </a:pPr>
              <a:t>‹#›</a:t>
            </a:fld>
            <a:endParaRPr lang="en-US" altLang="ja-JP" dirty="0"/>
          </a:p>
        </p:txBody>
      </p:sp>
      <p:sp>
        <p:nvSpPr>
          <p:cNvPr id="1029" name="Rectangle 6"/>
          <p:cNvSpPr>
            <a:spLocks noChangeArrowheads="1"/>
          </p:cNvSpPr>
          <p:nvPr userDrawn="1"/>
        </p:nvSpPr>
        <p:spPr>
          <a:xfrm>
            <a:off x="0" y="0"/>
            <a:ext cx="9906000" cy="366713"/>
          </a:xfrm>
          <a:prstGeom prst="rect">
            <a:avLst/>
          </a:prstGeom>
          <a:no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nvGrpSpPr>
          <p:cNvPr id="1030" name="Group 27"/>
          <p:cNvGrpSpPr/>
          <p:nvPr userDrawn="1"/>
        </p:nvGrpSpPr>
        <p:grpSpPr>
          <a:xfrm>
            <a:off x="0" y="333375"/>
            <a:ext cx="9906000" cy="214313"/>
            <a:chOff x="0" y="255"/>
            <a:chExt cx="6240" cy="135"/>
          </a:xfrm>
        </p:grpSpPr>
        <p:sp>
          <p:nvSpPr>
            <p:cNvPr id="1031" name="Rectangle 28"/>
            <p:cNvSpPr>
              <a:spLocks noChangeArrowheads="1"/>
            </p:cNvSpPr>
            <p:nvPr userDrawn="1"/>
          </p:nvSpPr>
          <p:spPr>
            <a:xfrm>
              <a:off x="0" y="345"/>
              <a:ext cx="6240" cy="45"/>
            </a:xfrm>
            <a:prstGeom prst="rect">
              <a:avLst/>
            </a:prstGeom>
            <a:solidFill>
              <a:srgbClr val="FF0000"/>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2" name="Rectangle 29"/>
            <p:cNvSpPr>
              <a:spLocks noChangeArrowheads="1"/>
            </p:cNvSpPr>
            <p:nvPr userDrawn="1"/>
          </p:nvSpPr>
          <p:spPr>
            <a:xfrm>
              <a:off x="0" y="300"/>
              <a:ext cx="6240" cy="45"/>
            </a:xfrm>
            <a:prstGeom prst="rect">
              <a:avLst/>
            </a:prstGeom>
            <a:solidFill>
              <a:srgbClr val="FF3399"/>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3" name="Rectangle 30"/>
            <p:cNvSpPr>
              <a:spLocks noChangeArrowheads="1"/>
            </p:cNvSpPr>
            <p:nvPr userDrawn="1"/>
          </p:nvSpPr>
          <p:spPr>
            <a:xfrm>
              <a:off x="0" y="255"/>
              <a:ext cx="6240" cy="45"/>
            </a:xfrm>
            <a:prstGeom prst="rect">
              <a:avLst/>
            </a:prstGeom>
            <a:solidFill>
              <a:srgbClr val="FFCCFF"/>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1034" name="Rectangle 22"/>
          <p:cNvSpPr>
            <a:spLocks noGrp="1" noChangeArrowheads="1"/>
          </p:cNvSpPr>
          <p:nvPr>
            <p:ph type="title"/>
          </p:nvPr>
        </p:nvSpPr>
        <p:spPr>
          <a:xfrm>
            <a:off x="0" y="0"/>
            <a:ext cx="8266113" cy="476249"/>
          </a:xfrm>
          <a:prstGeom prst="rect">
            <a:avLst/>
          </a:prstGeom>
          <a:noFill/>
          <a:ln>
            <a:noFill/>
          </a:ln>
          <a:effec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grpSp>
        <p:nvGrpSpPr>
          <p:cNvPr id="13" name="グループ化 12"/>
          <p:cNvGrpSpPr>
            <a:grpSpLocks noChangeAspect="1"/>
          </p:cNvGrpSpPr>
          <p:nvPr userDrawn="1"/>
        </p:nvGrpSpPr>
        <p:grpSpPr>
          <a:xfrm>
            <a:off x="8697416" y="3610"/>
            <a:ext cx="1166146" cy="323031"/>
            <a:chOff x="4624175" y="4098238"/>
            <a:chExt cx="2957143" cy="819150"/>
          </a:xfrm>
        </p:grpSpPr>
        <p:sp>
          <p:nvSpPr>
            <p:cNvPr id="14" name="フリーフォーム: 図形 8"/>
            <p:cNvSpPr/>
            <p:nvPr/>
          </p:nvSpPr>
          <p:spPr>
            <a:xfrm>
              <a:off x="4624175" y="4098238"/>
              <a:ext cx="971551"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a:p>
          </p:txBody>
        </p:sp>
        <p:sp>
          <p:nvSpPr>
            <p:cNvPr id="15" name="フリーフォーム: 図形 9"/>
            <p:cNvSpPr/>
            <p:nvPr/>
          </p:nvSpPr>
          <p:spPr>
            <a:xfrm>
              <a:off x="7190793" y="4524949"/>
              <a:ext cx="390525" cy="352424"/>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a:p>
          </p:txBody>
        </p:sp>
        <p:sp>
          <p:nvSpPr>
            <p:cNvPr id="16" name="フリーフォーム: 図形 10"/>
            <p:cNvSpPr/>
            <p:nvPr/>
          </p:nvSpPr>
          <p:spPr>
            <a:xfrm>
              <a:off x="7103398" y="4363777"/>
              <a:ext cx="476251" cy="514349"/>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a:p>
          </p:txBody>
        </p:sp>
        <p:sp>
          <p:nvSpPr>
            <p:cNvPr id="17" name="フリーフォーム: 図形 11"/>
            <p:cNvSpPr/>
            <p:nvPr/>
          </p:nvSpPr>
          <p:spPr>
            <a:xfrm>
              <a:off x="6484271" y="4397942"/>
              <a:ext cx="476251" cy="476251"/>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a:p>
          </p:txBody>
        </p:sp>
        <p:sp>
          <p:nvSpPr>
            <p:cNvPr id="18" name="フリーフォーム: 図形 12"/>
            <p:cNvSpPr/>
            <p:nvPr/>
          </p:nvSpPr>
          <p:spPr>
            <a:xfrm>
              <a:off x="6793500" y="4397942"/>
              <a:ext cx="142876"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a:p>
          </p:txBody>
        </p:sp>
        <p:sp>
          <p:nvSpPr>
            <p:cNvPr id="19" name="フリーフォーム: 図形 13"/>
            <p:cNvSpPr/>
            <p:nvPr/>
          </p:nvSpPr>
          <p:spPr>
            <a:xfrm>
              <a:off x="6513380" y="4397942"/>
              <a:ext cx="142876"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a:p>
          </p:txBody>
        </p:sp>
        <p:sp>
          <p:nvSpPr>
            <p:cNvPr id="20" name="フリーフォーム: 図形 14"/>
            <p:cNvSpPr/>
            <p:nvPr/>
          </p:nvSpPr>
          <p:spPr>
            <a:xfrm>
              <a:off x="6150392" y="4397942"/>
              <a:ext cx="219075" cy="476251"/>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a:p>
          </p:txBody>
        </p:sp>
        <p:sp>
          <p:nvSpPr>
            <p:cNvPr id="21" name="フリーフォーム: 図形 15"/>
            <p:cNvSpPr/>
            <p:nvPr/>
          </p:nvSpPr>
          <p:spPr>
            <a:xfrm>
              <a:off x="5863314" y="4363782"/>
              <a:ext cx="285749" cy="514349"/>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a:p>
          </p:txBody>
        </p:sp>
        <p:sp>
          <p:nvSpPr>
            <p:cNvPr id="22" name="フリーフォーム: 図形 16"/>
            <p:cNvSpPr/>
            <p:nvPr/>
          </p:nvSpPr>
          <p:spPr>
            <a:xfrm>
              <a:off x="5899881" y="4139265"/>
              <a:ext cx="190501" cy="200026"/>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a:p>
          </p:txBody>
        </p:sp>
        <p:sp>
          <p:nvSpPr>
            <p:cNvPr id="23" name="フリーフォーム: 図形 17"/>
            <p:cNvSpPr/>
            <p:nvPr/>
          </p:nvSpPr>
          <p:spPr>
            <a:xfrm>
              <a:off x="6114792" y="4129589"/>
              <a:ext cx="200026" cy="200026"/>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a:p>
          </p:txBody>
        </p:sp>
        <p:sp>
          <p:nvSpPr>
            <p:cNvPr id="24" name="フリーフォーム: 図形 18"/>
            <p:cNvSpPr/>
            <p:nvPr/>
          </p:nvSpPr>
          <p:spPr>
            <a:xfrm>
              <a:off x="6335840" y="4129586"/>
              <a:ext cx="209550" cy="200026"/>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a:p>
          </p:txBody>
        </p:sp>
        <p:sp>
          <p:nvSpPr>
            <p:cNvPr id="25" name="フリーフォーム: 図形 19"/>
            <p:cNvSpPr/>
            <p:nvPr/>
          </p:nvSpPr>
          <p:spPr>
            <a:xfrm>
              <a:off x="6554509" y="4131698"/>
              <a:ext cx="209550" cy="200026"/>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a:p>
          </p:txBody>
        </p:sp>
        <p:sp>
          <p:nvSpPr>
            <p:cNvPr id="26" name="フリーフォーム: 図形 20"/>
            <p:cNvSpPr/>
            <p:nvPr/>
          </p:nvSpPr>
          <p:spPr>
            <a:xfrm>
              <a:off x="6776112" y="4130182"/>
              <a:ext cx="209550" cy="200026"/>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a:p>
          </p:txBody>
        </p:sp>
      </p:grpSp>
    </p:spTree>
    <p:extLst>
      <p:ext uri="{BB962C8B-B14F-4D97-AF65-F5344CB8AC3E}">
        <p14:creationId xmlns:p14="http://schemas.microsoft.com/office/powerpoint/2010/main" val="191006852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Lst>
  <p:hf hdr="0" ftr="0" dt="0"/>
  <p:txStyles>
    <p:titleStyle>
      <a:lvl1pPr algn="l" rtl="0" eaLnBrk="0" fontAlgn="base" hangingPunct="0">
        <a:spcBef>
          <a:spcPct val="0"/>
        </a:spcBef>
        <a:spcAft>
          <a:spcPct val="0"/>
        </a:spcAft>
        <a:defRPr kumimoji="1" sz="2800" b="1" kern="12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2pPr>
      <a:lvl3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3pPr>
      <a:lvl4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4pPr>
      <a:lvl5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5pPr>
      <a:lvl6pPr marL="4572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6pPr>
      <a:lvl7pPr marL="9144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7pPr>
      <a:lvl8pPr marL="13716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8pPr>
      <a:lvl9pPr marL="18288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9pPr>
    </p:titleStyle>
    <p:bodyStyle>
      <a:lvl1pPr marL="342900" indent="-342900" algn="l" rtl="0" eaLnBrk="0" fontAlgn="base" hangingPunct="0">
        <a:spcBef>
          <a:spcPct val="20000"/>
        </a:spcBef>
        <a:spcAft>
          <a:spcPct val="0"/>
        </a:spcAft>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body" idx="1"/>
          </p:nvPr>
        </p:nvSpPr>
        <p:spPr bwMode="auto">
          <a:xfrm>
            <a:off x="495300" y="1600206"/>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193">
                <a:solidFill>
                  <a:srgbClr val="000000"/>
                </a:solidFill>
                <a:latin typeface="Arial" charset="0"/>
                <a:ea typeface="ＭＳ Ｐゴシック" pitchFamily="50" charset="-128"/>
              </a:defRPr>
            </a:lvl1pPr>
          </a:lstStyle>
          <a:p>
            <a:pPr>
              <a:defRPr/>
            </a:pPr>
            <a:endParaRPr lang="en-US" altLang="ja-JP"/>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193">
                <a:solidFill>
                  <a:srgbClr val="000000"/>
                </a:solidFill>
                <a:latin typeface="Arial" charset="0"/>
                <a:ea typeface="ＭＳ Ｐゴシック" pitchFamily="50" charset="-128"/>
              </a:defRPr>
            </a:lvl1pPr>
          </a:lstStyle>
          <a:p>
            <a:pPr>
              <a:defRPr/>
            </a:pPr>
            <a:endParaRPr lang="en-US" altLang="ja-JP"/>
          </a:p>
        </p:txBody>
      </p:sp>
      <p:sp>
        <p:nvSpPr>
          <p:cNvPr id="30725" name="Rectangle 5"/>
          <p:cNvSpPr>
            <a:spLocks noGrp="1" noChangeArrowheads="1"/>
          </p:cNvSpPr>
          <p:nvPr>
            <p:ph type="sldNum" sz="quarter" idx="4"/>
          </p:nvPr>
        </p:nvSpPr>
        <p:spPr bwMode="auto">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193">
                <a:solidFill>
                  <a:srgbClr val="000000"/>
                </a:solidFill>
                <a:latin typeface="Arial" charset="0"/>
                <a:ea typeface="ＭＳ Ｐゴシック" pitchFamily="50" charset="-128"/>
              </a:defRPr>
            </a:lvl1pPr>
          </a:lstStyle>
          <a:p>
            <a:pPr>
              <a:defRPr/>
            </a:pPr>
            <a:fld id="{41D9C5F3-0171-4BEC-8CA7-993AD018E031}" type="slidenum">
              <a:rPr lang="en-US" altLang="ja-JP"/>
              <a:pPr>
                <a:defRPr/>
              </a:pPr>
              <a:t>‹#›</a:t>
            </a:fld>
            <a:endParaRPr lang="en-US" altLang="ja-JP"/>
          </a:p>
        </p:txBody>
      </p:sp>
      <p:sp>
        <p:nvSpPr>
          <p:cNvPr id="1030" name="Rectangle 6"/>
          <p:cNvSpPr>
            <a:spLocks noChangeArrowheads="1"/>
          </p:cNvSpPr>
          <p:nvPr/>
        </p:nvSpPr>
        <p:spPr bwMode="auto">
          <a:xfrm>
            <a:off x="0" y="6"/>
            <a:ext cx="99060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nvGrpSpPr>
          <p:cNvPr id="1031" name="Group 27"/>
          <p:cNvGrpSpPr>
            <a:grpSpLocks/>
          </p:cNvGrpSpPr>
          <p:nvPr/>
        </p:nvGrpSpPr>
        <p:grpSpPr bwMode="auto">
          <a:xfrm>
            <a:off x="0" y="333378"/>
            <a:ext cx="9906000" cy="214313"/>
            <a:chOff x="0" y="255"/>
            <a:chExt cx="6240" cy="135"/>
          </a:xfrm>
        </p:grpSpPr>
        <p:sp>
          <p:nvSpPr>
            <p:cNvPr id="1034" name="Rectangle 28"/>
            <p:cNvSpPr>
              <a:spLocks noChangeArrowheads="1"/>
            </p:cNvSpPr>
            <p:nvPr userDrawn="1"/>
          </p:nvSpPr>
          <p:spPr bwMode="auto">
            <a:xfrm>
              <a:off x="0" y="345"/>
              <a:ext cx="6240" cy="45"/>
            </a:xfrm>
            <a:prstGeom prst="rect">
              <a:avLst/>
            </a:prstGeom>
            <a:solidFill>
              <a:srgbClr val="FF00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5" name="Rectangle 29"/>
            <p:cNvSpPr>
              <a:spLocks noChangeArrowheads="1"/>
            </p:cNvSpPr>
            <p:nvPr userDrawn="1"/>
          </p:nvSpPr>
          <p:spPr bwMode="auto">
            <a:xfrm>
              <a:off x="0" y="300"/>
              <a:ext cx="6240" cy="45"/>
            </a:xfrm>
            <a:prstGeom prst="rect">
              <a:avLst/>
            </a:prstGeom>
            <a:solidFill>
              <a:srgbClr val="FF33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sp>
          <p:nvSpPr>
            <p:cNvPr id="1036" name="Rectangle 30"/>
            <p:cNvSpPr>
              <a:spLocks noChangeArrowheads="1"/>
            </p:cNvSpPr>
            <p:nvPr userDrawn="1"/>
          </p:nvSpPr>
          <p:spPr bwMode="auto">
            <a:xfrm>
              <a:off x="0" y="255"/>
              <a:ext cx="6240" cy="45"/>
            </a:xfrm>
            <a:prstGeom prst="rect">
              <a:avLst/>
            </a:prstGeom>
            <a:solidFill>
              <a:srgbClr val="FF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a:defRPr/>
              </a:pPr>
              <a:endParaRPr lang="ja-JP" altLang="en-US">
                <a:solidFill>
                  <a:srgbClr val="000000"/>
                </a:solidFill>
              </a:endParaRPr>
            </a:p>
          </p:txBody>
        </p:sp>
      </p:grpSp>
      <p:sp>
        <p:nvSpPr>
          <p:cNvPr id="1032" name="Rectangle 22"/>
          <p:cNvSpPr>
            <a:spLocks noGrp="1" noChangeArrowheads="1"/>
          </p:cNvSpPr>
          <p:nvPr>
            <p:ph type="title"/>
          </p:nvPr>
        </p:nvSpPr>
        <p:spPr bwMode="auto">
          <a:xfrm>
            <a:off x="2" y="0"/>
            <a:ext cx="8266113"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pic>
        <p:nvPicPr>
          <p:cNvPr id="13" name="Picture 32" descr="ppjtitle"/>
          <p:cNvPicPr/>
          <p:nvPr userDrawn="1"/>
        </p:nvPicPr>
        <p:blipFill>
          <a:blip r:embed="rId5"/>
          <a:srcRect l="1758" r="81940" b="42699"/>
          <a:stretch>
            <a:fillRect/>
          </a:stretch>
        </p:blipFill>
        <p:spPr>
          <a:xfrm>
            <a:off x="8697960" y="0"/>
            <a:ext cx="1207800" cy="334440"/>
          </a:xfrm>
          <a:prstGeom prst="rect">
            <a:avLst/>
          </a:prstGeom>
          <a:ln>
            <a:noFill/>
          </a:ln>
        </p:spPr>
      </p:pic>
    </p:spTree>
    <p:extLst>
      <p:ext uri="{BB962C8B-B14F-4D97-AF65-F5344CB8AC3E}">
        <p14:creationId xmlns:p14="http://schemas.microsoft.com/office/powerpoint/2010/main" val="103735080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Lst>
  <p:hf hdr="0" ftr="0" dt="0"/>
  <p:txStyles>
    <p:titleStyle>
      <a:lvl1pPr algn="l" rtl="0" eaLnBrk="0" fontAlgn="base" hangingPunct="0">
        <a:spcBef>
          <a:spcPct val="0"/>
        </a:spcBef>
        <a:spcAft>
          <a:spcPct val="0"/>
        </a:spcAft>
        <a:defRPr kumimoji="1" sz="2200" b="1">
          <a:solidFill>
            <a:schemeClr val="tx1"/>
          </a:solidFill>
          <a:latin typeface="メイリオ" panose="020B0604030504040204" pitchFamily="50" charset="-128"/>
          <a:ea typeface="メイリオ" panose="020B0604030504040204" pitchFamily="50" charset="-128"/>
          <a:cs typeface="+mj-cs"/>
        </a:defRPr>
      </a:lvl1pPr>
      <a:lvl2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386">
          <a:solidFill>
            <a:schemeClr val="tx1"/>
          </a:solidFill>
          <a:latin typeface="HGP創英角ｺﾞｼｯｸUB" pitchFamily="50" charset="-128"/>
          <a:ea typeface="HGP創英角ｺﾞｼｯｸUB" pitchFamily="50" charset="-128"/>
        </a:defRPr>
      </a:lvl5pPr>
      <a:lvl6pPr marL="389586"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6pPr>
      <a:lvl7pPr marL="779173"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7pPr>
      <a:lvl8pPr marL="1168759"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8pPr>
      <a:lvl9pPr marL="1558345" algn="l" rtl="0" fontAlgn="base">
        <a:spcBef>
          <a:spcPct val="0"/>
        </a:spcBef>
        <a:spcAft>
          <a:spcPct val="0"/>
        </a:spcAft>
        <a:defRPr kumimoji="1" sz="2386">
          <a:solidFill>
            <a:schemeClr val="tx1"/>
          </a:solidFill>
          <a:latin typeface="HGP創英角ｺﾞｼｯｸUB" pitchFamily="50" charset="-128"/>
          <a:ea typeface="HGP創英角ｺﾞｼｯｸUB" pitchFamily="50" charset="-128"/>
        </a:defRPr>
      </a:lvl9pPr>
    </p:titleStyle>
    <p:bodyStyle>
      <a:lvl1pPr marL="292190" indent="-292190" algn="l" rtl="0" eaLnBrk="0" fontAlgn="base" hangingPunct="0">
        <a:spcBef>
          <a:spcPct val="20000"/>
        </a:spcBef>
        <a:spcAft>
          <a:spcPct val="0"/>
        </a:spcAft>
        <a:buChar char="•"/>
        <a:defRPr kumimoji="1" sz="2727">
          <a:solidFill>
            <a:schemeClr val="tx1"/>
          </a:solidFill>
          <a:latin typeface="+mn-lt"/>
          <a:ea typeface="ＭＳ Ｐゴシック" pitchFamily="50" charset="-128"/>
          <a:cs typeface="+mn-cs"/>
        </a:defRPr>
      </a:lvl1pPr>
      <a:lvl2pPr marL="633078" indent="-243492" algn="l" rtl="0" eaLnBrk="0" fontAlgn="base" hangingPunct="0">
        <a:spcBef>
          <a:spcPct val="20000"/>
        </a:spcBef>
        <a:spcAft>
          <a:spcPct val="0"/>
        </a:spcAft>
        <a:buChar char="–"/>
        <a:defRPr kumimoji="1" sz="2386">
          <a:solidFill>
            <a:schemeClr val="tx1"/>
          </a:solidFill>
          <a:latin typeface="+mn-lt"/>
          <a:ea typeface="ＭＳ Ｐゴシック" pitchFamily="50" charset="-128"/>
        </a:defRPr>
      </a:lvl2pPr>
      <a:lvl3pPr marL="973966" indent="-194793" algn="l" rtl="0" eaLnBrk="0" fontAlgn="base" hangingPunct="0">
        <a:spcBef>
          <a:spcPct val="20000"/>
        </a:spcBef>
        <a:spcAft>
          <a:spcPct val="0"/>
        </a:spcAft>
        <a:buChar char="•"/>
        <a:defRPr kumimoji="1" sz="2045">
          <a:solidFill>
            <a:schemeClr val="tx1"/>
          </a:solidFill>
          <a:latin typeface="+mn-lt"/>
          <a:ea typeface="ＭＳ Ｐゴシック" pitchFamily="50" charset="-128"/>
        </a:defRPr>
      </a:lvl3pPr>
      <a:lvl4pPr marL="1363553"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4pPr>
      <a:lvl5pPr marL="1753139" indent="-194793" algn="l" rtl="0" eaLnBrk="0" fontAlgn="base" hangingPunct="0">
        <a:spcBef>
          <a:spcPct val="20000"/>
        </a:spcBef>
        <a:spcAft>
          <a:spcPct val="0"/>
        </a:spcAft>
        <a:buChar char="»"/>
        <a:defRPr kumimoji="1" sz="1704">
          <a:solidFill>
            <a:schemeClr val="tx1"/>
          </a:solidFill>
          <a:latin typeface="+mn-lt"/>
          <a:ea typeface="ＭＳ Ｐゴシック" pitchFamily="50" charset="-128"/>
        </a:defRPr>
      </a:lvl5pPr>
      <a:lvl6pPr marL="2142725" indent="-194793" algn="l" rtl="0" fontAlgn="base">
        <a:spcBef>
          <a:spcPct val="20000"/>
        </a:spcBef>
        <a:spcAft>
          <a:spcPct val="0"/>
        </a:spcAft>
        <a:buChar char="»"/>
        <a:defRPr kumimoji="1" sz="1704">
          <a:solidFill>
            <a:schemeClr val="tx1"/>
          </a:solidFill>
          <a:latin typeface="+mn-lt"/>
          <a:ea typeface="+mn-ea"/>
        </a:defRPr>
      </a:lvl6pPr>
      <a:lvl7pPr marL="2532312" indent="-194793" algn="l" rtl="0" fontAlgn="base">
        <a:spcBef>
          <a:spcPct val="20000"/>
        </a:spcBef>
        <a:spcAft>
          <a:spcPct val="0"/>
        </a:spcAft>
        <a:buChar char="»"/>
        <a:defRPr kumimoji="1" sz="1704">
          <a:solidFill>
            <a:schemeClr val="tx1"/>
          </a:solidFill>
          <a:latin typeface="+mn-lt"/>
          <a:ea typeface="+mn-ea"/>
        </a:defRPr>
      </a:lvl7pPr>
      <a:lvl8pPr marL="2921898" indent="-194793" algn="l" rtl="0" fontAlgn="base">
        <a:spcBef>
          <a:spcPct val="20000"/>
        </a:spcBef>
        <a:spcAft>
          <a:spcPct val="0"/>
        </a:spcAft>
        <a:buChar char="»"/>
        <a:defRPr kumimoji="1" sz="1704">
          <a:solidFill>
            <a:schemeClr val="tx1"/>
          </a:solidFill>
          <a:latin typeface="+mn-lt"/>
          <a:ea typeface="+mn-ea"/>
        </a:defRPr>
      </a:lvl8pPr>
      <a:lvl9pPr marL="3311484" indent="-194793" algn="l" rtl="0" fontAlgn="base">
        <a:spcBef>
          <a:spcPct val="20000"/>
        </a:spcBef>
        <a:spcAft>
          <a:spcPct val="0"/>
        </a:spcAft>
        <a:buChar char="»"/>
        <a:defRPr kumimoji="1" sz="1704">
          <a:solidFill>
            <a:schemeClr val="tx1"/>
          </a:solidFill>
          <a:latin typeface="+mn-lt"/>
          <a:ea typeface="+mn-ea"/>
        </a:defRPr>
      </a:lvl9pPr>
    </p:bodyStyle>
    <p:otherStyle>
      <a:defPPr>
        <a:defRPr lang="ja-JP"/>
      </a:defPPr>
      <a:lvl1pPr marL="0" algn="l" defTabSz="779173" rtl="0" eaLnBrk="1" latinLnBrk="0" hangingPunct="1">
        <a:defRPr kumimoji="1" sz="1534" kern="1200">
          <a:solidFill>
            <a:schemeClr val="tx1"/>
          </a:solidFill>
          <a:latin typeface="+mn-lt"/>
          <a:ea typeface="+mn-ea"/>
          <a:cs typeface="+mn-cs"/>
        </a:defRPr>
      </a:lvl1pPr>
      <a:lvl2pPr marL="389586" algn="l" defTabSz="779173" rtl="0" eaLnBrk="1" latinLnBrk="0" hangingPunct="1">
        <a:defRPr kumimoji="1" sz="1534" kern="1200">
          <a:solidFill>
            <a:schemeClr val="tx1"/>
          </a:solidFill>
          <a:latin typeface="+mn-lt"/>
          <a:ea typeface="+mn-ea"/>
          <a:cs typeface="+mn-cs"/>
        </a:defRPr>
      </a:lvl2pPr>
      <a:lvl3pPr marL="779173" algn="l" defTabSz="779173" rtl="0" eaLnBrk="1" latinLnBrk="0" hangingPunct="1">
        <a:defRPr kumimoji="1" sz="1534" kern="1200">
          <a:solidFill>
            <a:schemeClr val="tx1"/>
          </a:solidFill>
          <a:latin typeface="+mn-lt"/>
          <a:ea typeface="+mn-ea"/>
          <a:cs typeface="+mn-cs"/>
        </a:defRPr>
      </a:lvl3pPr>
      <a:lvl4pPr marL="1168759" algn="l" defTabSz="779173" rtl="0" eaLnBrk="1" latinLnBrk="0" hangingPunct="1">
        <a:defRPr kumimoji="1" sz="1534" kern="1200">
          <a:solidFill>
            <a:schemeClr val="tx1"/>
          </a:solidFill>
          <a:latin typeface="+mn-lt"/>
          <a:ea typeface="+mn-ea"/>
          <a:cs typeface="+mn-cs"/>
        </a:defRPr>
      </a:lvl4pPr>
      <a:lvl5pPr marL="1558345" algn="l" defTabSz="779173" rtl="0" eaLnBrk="1" latinLnBrk="0" hangingPunct="1">
        <a:defRPr kumimoji="1" sz="1534" kern="1200">
          <a:solidFill>
            <a:schemeClr val="tx1"/>
          </a:solidFill>
          <a:latin typeface="+mn-lt"/>
          <a:ea typeface="+mn-ea"/>
          <a:cs typeface="+mn-cs"/>
        </a:defRPr>
      </a:lvl5pPr>
      <a:lvl6pPr marL="1947932" algn="l" defTabSz="779173" rtl="0" eaLnBrk="1" latinLnBrk="0" hangingPunct="1">
        <a:defRPr kumimoji="1" sz="1534" kern="1200">
          <a:solidFill>
            <a:schemeClr val="tx1"/>
          </a:solidFill>
          <a:latin typeface="+mn-lt"/>
          <a:ea typeface="+mn-ea"/>
          <a:cs typeface="+mn-cs"/>
        </a:defRPr>
      </a:lvl6pPr>
      <a:lvl7pPr marL="2337518" algn="l" defTabSz="779173" rtl="0" eaLnBrk="1" latinLnBrk="0" hangingPunct="1">
        <a:defRPr kumimoji="1" sz="1534" kern="1200">
          <a:solidFill>
            <a:schemeClr val="tx1"/>
          </a:solidFill>
          <a:latin typeface="+mn-lt"/>
          <a:ea typeface="+mn-ea"/>
          <a:cs typeface="+mn-cs"/>
        </a:defRPr>
      </a:lvl7pPr>
      <a:lvl8pPr marL="2727104" algn="l" defTabSz="779173" rtl="0" eaLnBrk="1" latinLnBrk="0" hangingPunct="1">
        <a:defRPr kumimoji="1" sz="1534" kern="1200">
          <a:solidFill>
            <a:schemeClr val="tx1"/>
          </a:solidFill>
          <a:latin typeface="+mn-lt"/>
          <a:ea typeface="+mn-ea"/>
          <a:cs typeface="+mn-cs"/>
        </a:defRPr>
      </a:lvl8pPr>
      <a:lvl9pPr marL="3116691" algn="l" defTabSz="779173" rtl="0" eaLnBrk="1" latinLnBrk="0" hangingPunct="1">
        <a:defRPr kumimoji="1" sz="153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body" idx="1"/>
          </p:nvPr>
        </p:nvSpPr>
        <p:spPr>
          <a:xfrm>
            <a:off x="495300" y="1600200"/>
            <a:ext cx="8915400" cy="4525963"/>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3"/>
          <p:cNvSpPr>
            <a:spLocks noGrp="1" noChangeArrowheads="1"/>
          </p:cNvSpPr>
          <p:nvPr>
            <p:ph type="dt" sz="half" idx="2"/>
          </p:nvPr>
        </p:nvSpPr>
        <p:spPr>
          <a:xfrm>
            <a:off x="495300" y="6245225"/>
            <a:ext cx="23114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l">
              <a:defRPr sz="1400"/>
            </a:lvl1pPr>
          </a:lstStyle>
          <a:p>
            <a:endParaRPr kumimoji="1" lang="ja-JP" altLang="en-US" dirty="0"/>
          </a:p>
        </p:txBody>
      </p:sp>
      <p:sp>
        <p:nvSpPr>
          <p:cNvPr id="1027" name="Rectangle 4"/>
          <p:cNvSpPr>
            <a:spLocks noGrp="1" noChangeArrowheads="1"/>
          </p:cNvSpPr>
          <p:nvPr>
            <p:ph type="ftr" sz="quarter" idx="3"/>
          </p:nvPr>
        </p:nvSpPr>
        <p:spPr>
          <a:xfrm>
            <a:off x="3384550" y="6245225"/>
            <a:ext cx="31369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defRPr sz="1400"/>
            </a:lvl1pPr>
          </a:lstStyle>
          <a:p>
            <a:endParaRPr kumimoji="1" lang="ja-JP" altLang="en-US" dirty="0"/>
          </a:p>
        </p:txBody>
      </p:sp>
      <p:sp>
        <p:nvSpPr>
          <p:cNvPr id="1028" name="Rectangle 5"/>
          <p:cNvSpPr>
            <a:spLocks noGrp="1" noChangeArrowheads="1"/>
          </p:cNvSpPr>
          <p:nvPr>
            <p:ph type="sldNum" sz="quarter" idx="4"/>
          </p:nvPr>
        </p:nvSpPr>
        <p:spPr>
          <a:xfrm>
            <a:off x="7594600" y="6237288"/>
            <a:ext cx="23114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1400"/>
            </a:lvl1pPr>
          </a:lstStyle>
          <a:p>
            <a:fld id="{F245FCB2-03D4-4C5B-9B1A-4180124C4B36}" type="slidenum">
              <a:rPr lang="en-US" altLang="ja-JP"/>
              <a:pPr/>
              <a:t>‹#›</a:t>
            </a:fld>
            <a:endParaRPr lang="en-US" altLang="ja-JP" dirty="0"/>
          </a:p>
        </p:txBody>
      </p:sp>
      <p:sp>
        <p:nvSpPr>
          <p:cNvPr id="1029" name="Rectangle 6"/>
          <p:cNvSpPr>
            <a:spLocks noChangeArrowheads="1"/>
          </p:cNvSpPr>
          <p:nvPr userDrawn="1"/>
        </p:nvSpPr>
        <p:spPr>
          <a:xfrm>
            <a:off x="0" y="0"/>
            <a:ext cx="9906000" cy="366713"/>
          </a:xfrm>
          <a:prstGeom prst="rect">
            <a:avLst/>
          </a:prstGeom>
          <a:noFill/>
          <a:ln>
            <a:noFill/>
          </a:ln>
          <a:effectLst/>
        </p:spPr>
        <p:txBody>
          <a:bodyPr wrap="none" anchor="ctr"/>
          <a:lstStyle/>
          <a:p>
            <a:endParaRPr lang="ja-JP" altLang="en-US" dirty="0"/>
          </a:p>
        </p:txBody>
      </p:sp>
      <p:grpSp>
        <p:nvGrpSpPr>
          <p:cNvPr id="1030" name="Group 27"/>
          <p:cNvGrpSpPr/>
          <p:nvPr userDrawn="1"/>
        </p:nvGrpSpPr>
        <p:grpSpPr>
          <a:xfrm>
            <a:off x="0" y="333375"/>
            <a:ext cx="9906000" cy="214313"/>
            <a:chOff x="0" y="255"/>
            <a:chExt cx="6240" cy="135"/>
          </a:xfrm>
        </p:grpSpPr>
        <p:sp>
          <p:nvSpPr>
            <p:cNvPr id="1031" name="Rectangle 28"/>
            <p:cNvSpPr>
              <a:spLocks noChangeArrowheads="1"/>
            </p:cNvSpPr>
            <p:nvPr userDrawn="1"/>
          </p:nvSpPr>
          <p:spPr>
            <a:xfrm>
              <a:off x="0" y="345"/>
              <a:ext cx="6240" cy="45"/>
            </a:xfrm>
            <a:prstGeom prst="rect">
              <a:avLst/>
            </a:prstGeom>
            <a:solidFill>
              <a:srgbClr val="FF0000"/>
            </a:solidFill>
            <a:ln>
              <a:noFill/>
            </a:ln>
            <a:effectLst/>
          </p:spPr>
          <p:txBody>
            <a:bodyPr wrap="none" anchor="ctr"/>
            <a:lstStyle/>
            <a:p>
              <a:endParaRPr lang="ja-JP" altLang="en-US" dirty="0"/>
            </a:p>
          </p:txBody>
        </p:sp>
        <p:sp>
          <p:nvSpPr>
            <p:cNvPr id="1032" name="Rectangle 29"/>
            <p:cNvSpPr>
              <a:spLocks noChangeArrowheads="1"/>
            </p:cNvSpPr>
            <p:nvPr userDrawn="1"/>
          </p:nvSpPr>
          <p:spPr>
            <a:xfrm>
              <a:off x="0" y="300"/>
              <a:ext cx="6240" cy="45"/>
            </a:xfrm>
            <a:prstGeom prst="rect">
              <a:avLst/>
            </a:prstGeom>
            <a:solidFill>
              <a:srgbClr val="FF3399"/>
            </a:solidFill>
            <a:ln>
              <a:noFill/>
            </a:ln>
            <a:effectLst/>
          </p:spPr>
          <p:txBody>
            <a:bodyPr wrap="none" anchor="ctr"/>
            <a:lstStyle/>
            <a:p>
              <a:endParaRPr lang="ja-JP" altLang="en-US" dirty="0"/>
            </a:p>
          </p:txBody>
        </p:sp>
        <p:sp>
          <p:nvSpPr>
            <p:cNvPr id="1033" name="Rectangle 30"/>
            <p:cNvSpPr>
              <a:spLocks noChangeArrowheads="1"/>
            </p:cNvSpPr>
            <p:nvPr userDrawn="1"/>
          </p:nvSpPr>
          <p:spPr>
            <a:xfrm>
              <a:off x="0" y="255"/>
              <a:ext cx="6240" cy="45"/>
            </a:xfrm>
            <a:prstGeom prst="rect">
              <a:avLst/>
            </a:prstGeom>
            <a:solidFill>
              <a:srgbClr val="FFCCFF"/>
            </a:solidFill>
            <a:ln>
              <a:noFill/>
            </a:ln>
            <a:effectLst/>
          </p:spPr>
          <p:txBody>
            <a:bodyPr wrap="none" anchor="ctr"/>
            <a:lstStyle/>
            <a:p>
              <a:endParaRPr lang="ja-JP" altLang="en-US" dirty="0"/>
            </a:p>
          </p:txBody>
        </p:sp>
      </p:grpSp>
      <p:sp>
        <p:nvSpPr>
          <p:cNvPr id="1034" name="Rectangle 22"/>
          <p:cNvSpPr>
            <a:spLocks noGrp="1" noChangeArrowheads="1"/>
          </p:cNvSpPr>
          <p:nvPr>
            <p:ph type="title"/>
          </p:nvPr>
        </p:nvSpPr>
        <p:spPr>
          <a:xfrm>
            <a:off x="0" y="0"/>
            <a:ext cx="8266113" cy="476250"/>
          </a:xfrm>
          <a:prstGeom prst="rect">
            <a:avLst/>
          </a:prstGeom>
          <a:noFill/>
          <a:ln>
            <a:noFill/>
          </a:ln>
          <a:effectLst/>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grpSp>
        <p:nvGrpSpPr>
          <p:cNvPr id="1035" name="グループ化 12"/>
          <p:cNvGrpSpPr>
            <a:grpSpLocks noChangeAspect="1"/>
          </p:cNvGrpSpPr>
          <p:nvPr userDrawn="1"/>
        </p:nvGrpSpPr>
        <p:grpSpPr>
          <a:xfrm>
            <a:off x="8763198" y="9625"/>
            <a:ext cx="1134000" cy="314126"/>
            <a:chOff x="4624168" y="4098236"/>
            <a:chExt cx="2957141" cy="819150"/>
          </a:xfrm>
        </p:grpSpPr>
        <p:sp>
          <p:nvSpPr>
            <p:cNvPr id="1036" name="フリーフォーム: 図形 8"/>
            <p:cNvSpPr/>
            <p:nvPr/>
          </p:nvSpPr>
          <p:spPr>
            <a:xfrm>
              <a:off x="4624168" y="4098236"/>
              <a:ext cx="971550"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dirty="0"/>
            </a:p>
          </p:txBody>
        </p:sp>
        <p:sp>
          <p:nvSpPr>
            <p:cNvPr id="1037" name="フリーフォーム: 図形 9"/>
            <p:cNvSpPr/>
            <p:nvPr/>
          </p:nvSpPr>
          <p:spPr>
            <a:xfrm>
              <a:off x="7190784" y="4524946"/>
              <a:ext cx="390525" cy="352425"/>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dirty="0"/>
            </a:p>
          </p:txBody>
        </p:sp>
        <p:sp>
          <p:nvSpPr>
            <p:cNvPr id="1038" name="フリーフォーム: 図形 10"/>
            <p:cNvSpPr/>
            <p:nvPr/>
          </p:nvSpPr>
          <p:spPr>
            <a:xfrm>
              <a:off x="7103392" y="4363774"/>
              <a:ext cx="476250" cy="514350"/>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dirty="0"/>
            </a:p>
          </p:txBody>
        </p:sp>
        <p:sp>
          <p:nvSpPr>
            <p:cNvPr id="1039" name="フリーフォーム: 図形 11"/>
            <p:cNvSpPr/>
            <p:nvPr/>
          </p:nvSpPr>
          <p:spPr>
            <a:xfrm>
              <a:off x="6484267" y="4397940"/>
              <a:ext cx="476250" cy="476250"/>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dirty="0"/>
            </a:p>
          </p:txBody>
        </p:sp>
        <p:sp>
          <p:nvSpPr>
            <p:cNvPr id="1040" name="フリーフォーム: 図形 12"/>
            <p:cNvSpPr/>
            <p:nvPr/>
          </p:nvSpPr>
          <p:spPr>
            <a:xfrm>
              <a:off x="6793496" y="4397940"/>
              <a:ext cx="142875"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dirty="0"/>
            </a:p>
          </p:txBody>
        </p:sp>
        <p:sp>
          <p:nvSpPr>
            <p:cNvPr id="1041" name="フリーフォーム: 図形 13"/>
            <p:cNvSpPr/>
            <p:nvPr/>
          </p:nvSpPr>
          <p:spPr>
            <a:xfrm>
              <a:off x="6513375" y="4397940"/>
              <a:ext cx="142875"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dirty="0"/>
            </a:p>
          </p:txBody>
        </p:sp>
        <p:sp>
          <p:nvSpPr>
            <p:cNvPr id="1042" name="フリーフォーム: 図形 14"/>
            <p:cNvSpPr/>
            <p:nvPr/>
          </p:nvSpPr>
          <p:spPr>
            <a:xfrm>
              <a:off x="6150387" y="4397940"/>
              <a:ext cx="219075" cy="476250"/>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dirty="0"/>
            </a:p>
          </p:txBody>
        </p:sp>
        <p:sp>
          <p:nvSpPr>
            <p:cNvPr id="1043" name="フリーフォーム: 図形 15"/>
            <p:cNvSpPr/>
            <p:nvPr/>
          </p:nvSpPr>
          <p:spPr>
            <a:xfrm>
              <a:off x="5863313" y="4363783"/>
              <a:ext cx="285750" cy="514350"/>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dirty="0"/>
            </a:p>
          </p:txBody>
        </p:sp>
        <p:sp>
          <p:nvSpPr>
            <p:cNvPr id="1044" name="フリーフォーム: 図形 16"/>
            <p:cNvSpPr/>
            <p:nvPr/>
          </p:nvSpPr>
          <p:spPr>
            <a:xfrm>
              <a:off x="5899880" y="4139269"/>
              <a:ext cx="190500" cy="200025"/>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dirty="0"/>
            </a:p>
          </p:txBody>
        </p:sp>
        <p:sp>
          <p:nvSpPr>
            <p:cNvPr id="1045" name="フリーフォーム: 図形 17"/>
            <p:cNvSpPr/>
            <p:nvPr/>
          </p:nvSpPr>
          <p:spPr>
            <a:xfrm>
              <a:off x="6114792" y="4129592"/>
              <a:ext cx="200025" cy="200025"/>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dirty="0"/>
            </a:p>
          </p:txBody>
        </p:sp>
        <p:sp>
          <p:nvSpPr>
            <p:cNvPr id="1046" name="フリーフォーム: 図形 18"/>
            <p:cNvSpPr/>
            <p:nvPr/>
          </p:nvSpPr>
          <p:spPr>
            <a:xfrm>
              <a:off x="6335839" y="4129592"/>
              <a:ext cx="209550" cy="200025"/>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dirty="0"/>
            </a:p>
          </p:txBody>
        </p:sp>
        <p:sp>
          <p:nvSpPr>
            <p:cNvPr id="1047" name="フリーフォーム: 図形 19"/>
            <p:cNvSpPr/>
            <p:nvPr/>
          </p:nvSpPr>
          <p:spPr>
            <a:xfrm>
              <a:off x="6554514" y="4131697"/>
              <a:ext cx="209550" cy="200025"/>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dirty="0"/>
            </a:p>
          </p:txBody>
        </p:sp>
        <p:sp>
          <p:nvSpPr>
            <p:cNvPr id="1048" name="フリーフォーム: 図形 20"/>
            <p:cNvSpPr/>
            <p:nvPr/>
          </p:nvSpPr>
          <p:spPr>
            <a:xfrm>
              <a:off x="6776113" y="4130182"/>
              <a:ext cx="209550" cy="200025"/>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dirty="0"/>
            </a:p>
          </p:txBody>
        </p:sp>
      </p:grpSp>
    </p:spTree>
    <p:extLst>
      <p:ext uri="{BB962C8B-B14F-4D97-AF65-F5344CB8AC3E}">
        <p14:creationId xmlns:p14="http://schemas.microsoft.com/office/powerpoint/2010/main" val="1317454999"/>
      </p:ext>
    </p:extLst>
  </p:cSld>
  <p:clrMap bg1="lt1" tx1="dk1" bg2="lt2" tx2="dk2" accent1="accent1" accent2="accent2" accent3="accent3" accent4="accent4" accent5="accent5" accent6="accent6" hlink="hlink" folHlink="folHlink"/>
  <p:sldLayoutIdLst>
    <p:sldLayoutId id="2147483692" r:id="rId1"/>
    <p:sldLayoutId id="2147483693" r:id="rId2"/>
  </p:sldLayoutIdLst>
  <p:hf hdr="0" ftr="0" dt="0"/>
  <p:txStyles>
    <p:titleStyle>
      <a:lvl1pPr algn="l" rtl="0" fontAlgn="base">
        <a:spcBef>
          <a:spcPct val="0"/>
        </a:spcBef>
        <a:spcAft>
          <a:spcPct val="0"/>
        </a:spcAft>
        <a:defRPr kumimoji="1" sz="2800" kern="1200">
          <a:solidFill>
            <a:schemeClr val="tx1"/>
          </a:solidFill>
          <a:latin typeface="+mj-lt"/>
          <a:ea typeface="+mj-ea"/>
          <a:cs typeface="+mj-cs"/>
        </a:defRPr>
      </a:lvl1pPr>
      <a:lvl2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2pPr>
      <a:lvl3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3pPr>
      <a:lvl4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4pPr>
      <a:lvl5pPr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5pPr>
      <a:lvl6pPr marL="4572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6pPr>
      <a:lvl7pPr marL="9144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7pPr>
      <a:lvl8pPr marL="13716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8pPr>
      <a:lvl9pPr marL="18288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9pPr>
    </p:titleStyle>
    <p:bodyStyle>
      <a:lvl1pPr marL="342900" indent="-342900" algn="l" rtl="0" fontAlgn="base">
        <a:spcBef>
          <a:spcPct val="20000"/>
        </a:spcBef>
        <a:spcAft>
          <a:spcPct val="0"/>
        </a:spcAft>
        <a:buChar char="•"/>
        <a:defRPr kumimoji="1" sz="3200" kern="1200">
          <a:solidFill>
            <a:schemeClr val="tx1"/>
          </a:solidFill>
          <a:latin typeface="+mn-lt"/>
          <a:ea typeface="+mn-ea"/>
          <a:cs typeface="+mn-cs"/>
        </a:defRPr>
      </a:lvl1pPr>
      <a:lvl2pPr marL="742950" indent="-285750" algn="l" rtl="0" fontAlgn="base">
        <a:spcBef>
          <a:spcPct val="20000"/>
        </a:spcBef>
        <a:spcAft>
          <a:spcPct val="0"/>
        </a:spcAft>
        <a:buChar char="–"/>
        <a:defRPr kumimoji="1" sz="2800" kern="1200">
          <a:solidFill>
            <a:schemeClr val="tx1"/>
          </a:solidFill>
          <a:latin typeface="+mn-lt"/>
          <a:ea typeface="+mn-ea"/>
          <a:cs typeface="+mn-cs"/>
        </a:defRPr>
      </a:lvl2pPr>
      <a:lvl3pPr marL="1143000" indent="-228600" algn="l" rtl="0" fontAlgn="base">
        <a:spcBef>
          <a:spcPct val="20000"/>
        </a:spcBef>
        <a:spcAft>
          <a:spcPct val="0"/>
        </a:spcAft>
        <a:buChar char="•"/>
        <a:defRPr kumimoji="1" sz="2400" kern="1200">
          <a:solidFill>
            <a:schemeClr val="tx1"/>
          </a:solidFill>
          <a:latin typeface="+mn-lt"/>
          <a:ea typeface="+mn-ea"/>
          <a:cs typeface="+mn-cs"/>
        </a:defRPr>
      </a:lvl3pPr>
      <a:lvl4pPr marL="1600200" indent="-228600" algn="l" rtl="0" fontAlgn="base">
        <a:spcBef>
          <a:spcPct val="20000"/>
        </a:spcBef>
        <a:spcAft>
          <a:spcPct val="0"/>
        </a:spcAft>
        <a:buChar char="–"/>
        <a:defRPr kumimoji="1" sz="2000" kern="1200">
          <a:solidFill>
            <a:schemeClr val="tx1"/>
          </a:solidFill>
          <a:latin typeface="+mn-lt"/>
          <a:ea typeface="+mn-ea"/>
          <a:cs typeface="+mn-cs"/>
        </a:defRPr>
      </a:lvl4pPr>
      <a:lvl5pPr marL="2057400" indent="-228600" algn="l" rtl="0" fontAlgn="base">
        <a:spcBef>
          <a:spcPct val="20000"/>
        </a:spcBef>
        <a:spcAft>
          <a:spcPct val="0"/>
        </a:spcAft>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1C657B-E324-25DF-3F12-0C740CA20DC2}"/>
              </a:ext>
            </a:extLst>
          </p:cNvPr>
          <p:cNvGraphicFramePr>
            <a:graphicFrameLocks noChangeAspect="1"/>
          </p:cNvGraphicFramePr>
          <p:nvPr userDrawn="1">
            <p:custDataLst>
              <p:tags r:id="rId15"/>
            </p:custDataLst>
            <p:extLst>
              <p:ext uri="{D42A27DB-BD31-4B8C-83A1-F6EECF244321}">
                <p14:modId xmlns:p14="http://schemas.microsoft.com/office/powerpoint/2010/main" val="357105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592" imgH="591" progId="TCLayout.ActiveDocument.1">
                  <p:embed/>
                </p:oleObj>
              </mc:Choice>
              <mc:Fallback>
                <p:oleObj name="think-cell スライド" r:id="rId16" imgW="592" imgH="591" progId="TCLayout.ActiveDocument.1">
                  <p:embed/>
                  <p:pic>
                    <p:nvPicPr>
                      <p:cNvPr id="4" name="think-cell data - do not delete" hidden="1">
                        <a:extLst>
                          <a:ext uri="{FF2B5EF4-FFF2-40B4-BE49-F238E27FC236}">
                            <a16:creationId xmlns:a16="http://schemas.microsoft.com/office/drawing/2014/main" id="{8A1C657B-E324-25DF-3F12-0C740CA20DC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170" name="Rectangle 2"/>
          <p:cNvSpPr>
            <a:spLocks noGrp="1" noChangeArrowheads="1"/>
          </p:cNvSpPr>
          <p:nvPr>
            <p:ph type="body" idx="1"/>
          </p:nvPr>
        </p:nvSpPr>
        <p:spPr bwMode="auto">
          <a:xfrm>
            <a:off x="495300" y="1600204"/>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92">
                <a:latin typeface="Arial" charset="0"/>
                <a:ea typeface="ＭＳ Ｐゴシック" pitchFamily="50" charset="-128"/>
              </a:defRPr>
            </a:lvl1pPr>
          </a:lstStyle>
          <a:p>
            <a:pPr>
              <a:defRPr/>
            </a:pPr>
            <a:fld id="{6F543B4F-0A5C-40C6-8374-1E1B6E6FB4F3}" type="datetime1">
              <a:rPr lang="ja-JP" altLang="en-US" smtClean="0">
                <a:solidFill>
                  <a:srgbClr val="000000"/>
                </a:solidFill>
              </a:rPr>
              <a:t>2025/3/11</a:t>
            </a:fld>
            <a:endParaRPr lang="en-US" altLang="ja-JP">
              <a:solidFill>
                <a:srgbClr val="000000"/>
              </a:solidFill>
            </a:endParaRPr>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92">
                <a:latin typeface="Arial" charset="0"/>
                <a:ea typeface="ＭＳ Ｐゴシック" pitchFamily="50" charset="-128"/>
              </a:defRPr>
            </a:lvl1pPr>
          </a:lstStyle>
          <a:p>
            <a:pPr>
              <a:defRPr/>
            </a:pPr>
            <a:endParaRPr lang="en-US" altLang="ja-JP">
              <a:solidFill>
                <a:srgbClr val="000000"/>
              </a:solidFill>
            </a:endParaRPr>
          </a:p>
        </p:txBody>
      </p:sp>
      <p:sp>
        <p:nvSpPr>
          <p:cNvPr id="30725" name="Rectangle 5"/>
          <p:cNvSpPr>
            <a:spLocks noGrp="1" noChangeArrowheads="1"/>
          </p:cNvSpPr>
          <p:nvPr>
            <p:ph type="sldNum" sz="quarter" idx="4"/>
          </p:nvPr>
        </p:nvSpPr>
        <p:spPr bwMode="auto">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92">
                <a:latin typeface="Arial" charset="0"/>
                <a:ea typeface="ＭＳ Ｐゴシック" pitchFamily="50" charset="-128"/>
              </a:defRPr>
            </a:lvl1pPr>
          </a:lstStyle>
          <a:p>
            <a:pPr>
              <a:defRPr/>
            </a:pPr>
            <a:fld id="{0236B547-3939-4448-B510-15C4227AECE5}" type="slidenum">
              <a:rPr lang="en-US" altLang="ja-JP">
                <a:solidFill>
                  <a:srgbClr val="000000"/>
                </a:solidFill>
              </a:rPr>
              <a:pPr>
                <a:defRPr/>
              </a:pPr>
              <a:t>‹#›</a:t>
            </a:fld>
            <a:endParaRPr lang="en-US" altLang="ja-JP">
              <a:solidFill>
                <a:srgbClr val="000000"/>
              </a:solidFill>
            </a:endParaRPr>
          </a:p>
        </p:txBody>
      </p:sp>
      <p:sp>
        <p:nvSpPr>
          <p:cNvPr id="30726" name="Rectangle 6"/>
          <p:cNvSpPr>
            <a:spLocks noChangeArrowheads="1"/>
          </p:cNvSpPr>
          <p:nvPr/>
        </p:nvSpPr>
        <p:spPr bwMode="auto">
          <a:xfrm>
            <a:off x="0" y="2"/>
            <a:ext cx="9906000" cy="366713"/>
          </a:xfrm>
          <a:prstGeom prst="rect">
            <a:avLst/>
          </a:prstGeom>
          <a:noFill/>
          <a:ln w="9525" algn="ctr">
            <a:noFill/>
            <a:miter lim="800000"/>
            <a:headEnd/>
            <a:tailEnd/>
          </a:ln>
          <a:effectLst/>
        </p:spPr>
        <p:txBody>
          <a:bodyPr wrap="none" anchor="ctr"/>
          <a:lstStyle/>
          <a:p>
            <a:pPr>
              <a:defRPr/>
            </a:pPr>
            <a:endParaRPr lang="ja-JP" altLang="en-US">
              <a:solidFill>
                <a:srgbClr val="000000"/>
              </a:solidFill>
              <a:latin typeface="Arial"/>
              <a:ea typeface="ＭＳ Ｐゴシック"/>
            </a:endParaRPr>
          </a:p>
        </p:txBody>
      </p:sp>
      <p:grpSp>
        <p:nvGrpSpPr>
          <p:cNvPr id="2" name="Group 27"/>
          <p:cNvGrpSpPr>
            <a:grpSpLocks/>
          </p:cNvGrpSpPr>
          <p:nvPr/>
        </p:nvGrpSpPr>
        <p:grpSpPr bwMode="auto">
          <a:xfrm>
            <a:off x="0" y="333378"/>
            <a:ext cx="9906000" cy="214313"/>
            <a:chOff x="0" y="255"/>
            <a:chExt cx="6240" cy="135"/>
          </a:xfrm>
        </p:grpSpPr>
        <p:sp>
          <p:nvSpPr>
            <p:cNvPr id="30748" name="Rectangle 28"/>
            <p:cNvSpPr>
              <a:spLocks noChangeArrowheads="1"/>
            </p:cNvSpPr>
            <p:nvPr userDrawn="1"/>
          </p:nvSpPr>
          <p:spPr bwMode="auto">
            <a:xfrm>
              <a:off x="0" y="345"/>
              <a:ext cx="6240" cy="45"/>
            </a:xfrm>
            <a:prstGeom prst="rect">
              <a:avLst/>
            </a:prstGeom>
            <a:solidFill>
              <a:srgbClr val="FF0000"/>
            </a:solidFill>
            <a:ln w="9525" algn="ctr">
              <a:noFill/>
              <a:miter lim="800000"/>
              <a:headEnd/>
              <a:tailEnd/>
            </a:ln>
            <a:effectLst/>
          </p:spPr>
          <p:txBody>
            <a:bodyPr wrap="none" anchor="ctr"/>
            <a:lstStyle/>
            <a:p>
              <a:pPr>
                <a:defRPr/>
              </a:pPr>
              <a:endParaRPr lang="ja-JP" altLang="en-US">
                <a:solidFill>
                  <a:srgbClr val="000000"/>
                </a:solidFill>
                <a:latin typeface="Arial"/>
                <a:ea typeface="ＭＳ Ｐゴシック"/>
              </a:endParaRPr>
            </a:p>
          </p:txBody>
        </p:sp>
        <p:sp>
          <p:nvSpPr>
            <p:cNvPr id="30749" name="Rectangle 29"/>
            <p:cNvSpPr>
              <a:spLocks noChangeArrowheads="1"/>
            </p:cNvSpPr>
            <p:nvPr userDrawn="1"/>
          </p:nvSpPr>
          <p:spPr bwMode="auto">
            <a:xfrm>
              <a:off x="0" y="300"/>
              <a:ext cx="6240" cy="45"/>
            </a:xfrm>
            <a:prstGeom prst="rect">
              <a:avLst/>
            </a:prstGeom>
            <a:solidFill>
              <a:srgbClr val="FF3399"/>
            </a:solidFill>
            <a:ln w="9525" algn="ctr">
              <a:noFill/>
              <a:miter lim="800000"/>
              <a:headEnd/>
              <a:tailEnd/>
            </a:ln>
            <a:effectLst/>
          </p:spPr>
          <p:txBody>
            <a:bodyPr wrap="none" anchor="ctr"/>
            <a:lstStyle/>
            <a:p>
              <a:pPr>
                <a:defRPr/>
              </a:pPr>
              <a:endParaRPr lang="ja-JP" altLang="en-US">
                <a:solidFill>
                  <a:srgbClr val="000000"/>
                </a:solidFill>
                <a:latin typeface="Arial"/>
                <a:ea typeface="ＭＳ Ｐゴシック"/>
              </a:endParaRPr>
            </a:p>
          </p:txBody>
        </p:sp>
        <p:sp>
          <p:nvSpPr>
            <p:cNvPr id="30750" name="Rectangle 30"/>
            <p:cNvSpPr>
              <a:spLocks noChangeArrowheads="1"/>
            </p:cNvSpPr>
            <p:nvPr userDrawn="1"/>
          </p:nvSpPr>
          <p:spPr bwMode="auto">
            <a:xfrm>
              <a:off x="0" y="255"/>
              <a:ext cx="6240" cy="45"/>
            </a:xfrm>
            <a:prstGeom prst="rect">
              <a:avLst/>
            </a:prstGeom>
            <a:solidFill>
              <a:srgbClr val="FFCCFF"/>
            </a:solidFill>
            <a:ln w="9525" algn="ctr">
              <a:noFill/>
              <a:miter lim="800000"/>
              <a:headEnd/>
              <a:tailEnd/>
            </a:ln>
            <a:effectLst/>
          </p:spPr>
          <p:txBody>
            <a:bodyPr wrap="none" anchor="ctr"/>
            <a:lstStyle/>
            <a:p>
              <a:pPr>
                <a:defRPr/>
              </a:pPr>
              <a:endParaRPr lang="ja-JP" altLang="en-US">
                <a:solidFill>
                  <a:srgbClr val="000000"/>
                </a:solidFill>
                <a:latin typeface="Arial"/>
                <a:ea typeface="ＭＳ Ｐゴシック"/>
              </a:endParaRPr>
            </a:p>
          </p:txBody>
        </p:sp>
      </p:grpSp>
      <p:sp>
        <p:nvSpPr>
          <p:cNvPr id="7176" name="Rectangle 22"/>
          <p:cNvSpPr>
            <a:spLocks noGrp="1" noChangeArrowheads="1"/>
          </p:cNvSpPr>
          <p:nvPr>
            <p:ph type="title"/>
          </p:nvPr>
        </p:nvSpPr>
        <p:spPr bwMode="auto">
          <a:xfrm>
            <a:off x="1" y="0"/>
            <a:ext cx="8266113"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411133306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8" r:id="rId13"/>
  </p:sldLayoutIdLst>
  <p:hf hdr="0" ftr="0" dt="0"/>
  <p:txStyles>
    <p:titleStyle>
      <a:lvl1pPr algn="l" rtl="0" eaLnBrk="0" fontAlgn="base" hangingPunct="0">
        <a:spcBef>
          <a:spcPct val="0"/>
        </a:spcBef>
        <a:spcAft>
          <a:spcPct val="0"/>
        </a:spcAft>
        <a:defRPr kumimoji="1" sz="2585">
          <a:solidFill>
            <a:schemeClr val="tx1"/>
          </a:solidFill>
          <a:latin typeface="+mj-lt"/>
          <a:ea typeface="+mj-ea"/>
          <a:cs typeface="+mj-cs"/>
        </a:defRPr>
      </a:lvl1pPr>
      <a:lvl2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5pPr>
      <a:lvl6pPr marL="422041"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6pPr>
      <a:lvl7pPr marL="844083"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7pPr>
      <a:lvl8pPr marL="1266124"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8pPr>
      <a:lvl9pPr marL="1688165"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9pPr>
    </p:titleStyle>
    <p:bodyStyle>
      <a:lvl1pPr marL="316531" indent="-316531" algn="l" rtl="0" eaLnBrk="0" fontAlgn="base" hangingPunct="0">
        <a:spcBef>
          <a:spcPct val="20000"/>
        </a:spcBef>
        <a:spcAft>
          <a:spcPct val="0"/>
        </a:spcAft>
        <a:buChar char="•"/>
        <a:defRPr kumimoji="1" sz="2954">
          <a:solidFill>
            <a:schemeClr val="tx1"/>
          </a:solidFill>
          <a:latin typeface="+mn-lt"/>
          <a:ea typeface="ＭＳ Ｐゴシック" pitchFamily="50" charset="-128"/>
          <a:cs typeface="+mn-cs"/>
        </a:defRPr>
      </a:lvl1pPr>
      <a:lvl2pPr marL="685817" indent="-263776" algn="l" rtl="0" eaLnBrk="0" fontAlgn="base" hangingPunct="0">
        <a:spcBef>
          <a:spcPct val="20000"/>
        </a:spcBef>
        <a:spcAft>
          <a:spcPct val="0"/>
        </a:spcAft>
        <a:buChar char="–"/>
        <a:defRPr kumimoji="1" sz="2585">
          <a:solidFill>
            <a:schemeClr val="tx1"/>
          </a:solidFill>
          <a:latin typeface="+mn-lt"/>
          <a:ea typeface="ＭＳ Ｐゴシック" pitchFamily="50" charset="-128"/>
        </a:defRPr>
      </a:lvl2pPr>
      <a:lvl3pPr marL="1055103" indent="-211021" algn="l" rtl="0" eaLnBrk="0" fontAlgn="base" hangingPunct="0">
        <a:spcBef>
          <a:spcPct val="20000"/>
        </a:spcBef>
        <a:spcAft>
          <a:spcPct val="0"/>
        </a:spcAft>
        <a:buChar char="•"/>
        <a:defRPr kumimoji="1" sz="2215">
          <a:solidFill>
            <a:schemeClr val="tx1"/>
          </a:solidFill>
          <a:latin typeface="+mn-lt"/>
          <a:ea typeface="ＭＳ Ｐゴシック" pitchFamily="50" charset="-128"/>
        </a:defRPr>
      </a:lvl3pPr>
      <a:lvl4pPr marL="1477145" indent="-211021" algn="l" rtl="0" eaLnBrk="0" fontAlgn="base" hangingPunct="0">
        <a:spcBef>
          <a:spcPct val="20000"/>
        </a:spcBef>
        <a:spcAft>
          <a:spcPct val="0"/>
        </a:spcAft>
        <a:buChar char="–"/>
        <a:defRPr kumimoji="1" sz="1846">
          <a:solidFill>
            <a:schemeClr val="tx1"/>
          </a:solidFill>
          <a:latin typeface="+mn-lt"/>
          <a:ea typeface="ＭＳ Ｐゴシック" pitchFamily="50" charset="-128"/>
        </a:defRPr>
      </a:lvl4pPr>
      <a:lvl5pPr marL="1899186" indent="-211021" algn="l" rtl="0" eaLnBrk="0" fontAlgn="base" hangingPunct="0">
        <a:spcBef>
          <a:spcPct val="20000"/>
        </a:spcBef>
        <a:spcAft>
          <a:spcPct val="0"/>
        </a:spcAft>
        <a:buChar char="»"/>
        <a:defRPr kumimoji="1" sz="1846">
          <a:solidFill>
            <a:schemeClr val="tx1"/>
          </a:solidFill>
          <a:latin typeface="+mn-lt"/>
          <a:ea typeface="ＭＳ Ｐゴシック" pitchFamily="50" charset="-128"/>
        </a:defRPr>
      </a:lvl5pPr>
      <a:lvl6pPr marL="2321227" indent="-211021" algn="l" rtl="0" fontAlgn="base">
        <a:spcBef>
          <a:spcPct val="20000"/>
        </a:spcBef>
        <a:spcAft>
          <a:spcPct val="0"/>
        </a:spcAft>
        <a:buChar char="»"/>
        <a:defRPr kumimoji="1" sz="1846">
          <a:solidFill>
            <a:schemeClr val="tx1"/>
          </a:solidFill>
          <a:latin typeface="+mn-lt"/>
          <a:ea typeface="+mn-ea"/>
        </a:defRPr>
      </a:lvl6pPr>
      <a:lvl7pPr marL="2743269" indent="-211021" algn="l" rtl="0" fontAlgn="base">
        <a:spcBef>
          <a:spcPct val="20000"/>
        </a:spcBef>
        <a:spcAft>
          <a:spcPct val="0"/>
        </a:spcAft>
        <a:buChar char="»"/>
        <a:defRPr kumimoji="1" sz="1846">
          <a:solidFill>
            <a:schemeClr val="tx1"/>
          </a:solidFill>
          <a:latin typeface="+mn-lt"/>
          <a:ea typeface="+mn-ea"/>
        </a:defRPr>
      </a:lvl7pPr>
      <a:lvl8pPr marL="3165310" indent="-211021" algn="l" rtl="0" fontAlgn="base">
        <a:spcBef>
          <a:spcPct val="20000"/>
        </a:spcBef>
        <a:spcAft>
          <a:spcPct val="0"/>
        </a:spcAft>
        <a:buChar char="»"/>
        <a:defRPr kumimoji="1" sz="1846">
          <a:solidFill>
            <a:schemeClr val="tx1"/>
          </a:solidFill>
          <a:latin typeface="+mn-lt"/>
          <a:ea typeface="+mn-ea"/>
        </a:defRPr>
      </a:lvl8pPr>
      <a:lvl9pPr marL="3587351" indent="-211021"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body" idx="1"/>
          </p:nvPr>
        </p:nvSpPr>
        <p:spPr>
          <a:xfrm>
            <a:off x="495300" y="1600200"/>
            <a:ext cx="8915400" cy="4525963"/>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026" name="Rectangle 3"/>
          <p:cNvSpPr>
            <a:spLocks noGrp="1" noChangeArrowheads="1"/>
          </p:cNvSpPr>
          <p:nvPr>
            <p:ph type="dt" sz="half" idx="2"/>
          </p:nvPr>
        </p:nvSpPr>
        <p:spPr>
          <a:xfrm>
            <a:off x="0" y="6579712"/>
            <a:ext cx="2311400" cy="2880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l" eaLnBrk="1" hangingPunct="1">
              <a:defRPr sz="1400">
                <a:latin typeface="+mn-ea"/>
                <a:ea typeface="+mn-ea"/>
              </a:defRPr>
            </a:lvl1pPr>
          </a:lstStyle>
          <a:p>
            <a:pPr>
              <a:defRPr/>
            </a:pPr>
            <a:endParaRPr lang="en-US" altLang="ja-JP"/>
          </a:p>
        </p:txBody>
      </p:sp>
      <p:sp>
        <p:nvSpPr>
          <p:cNvPr id="1027" name="Rectangle 4"/>
          <p:cNvSpPr>
            <a:spLocks noGrp="1" noChangeArrowheads="1"/>
          </p:cNvSpPr>
          <p:nvPr>
            <p:ph type="ftr" sz="quarter" idx="3"/>
          </p:nvPr>
        </p:nvSpPr>
        <p:spPr>
          <a:xfrm>
            <a:off x="3384550" y="6577937"/>
            <a:ext cx="3136900" cy="2880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1400">
                <a:latin typeface="+mn-ea"/>
                <a:ea typeface="+mn-ea"/>
              </a:defRPr>
            </a:lvl1pPr>
          </a:lstStyle>
          <a:p>
            <a:pPr>
              <a:defRPr/>
            </a:pPr>
            <a:endParaRPr lang="en-US" altLang="ja-JP" dirty="0"/>
          </a:p>
        </p:txBody>
      </p:sp>
      <p:sp>
        <p:nvSpPr>
          <p:cNvPr id="1028" name="Rectangle 5"/>
          <p:cNvSpPr>
            <a:spLocks noGrp="1" noChangeArrowheads="1"/>
          </p:cNvSpPr>
          <p:nvPr>
            <p:ph type="sldNum" sz="quarter" idx="4"/>
          </p:nvPr>
        </p:nvSpPr>
        <p:spPr>
          <a:xfrm>
            <a:off x="9410700" y="6570000"/>
            <a:ext cx="495300" cy="2880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eaLnBrk="1" hangingPunct="1">
              <a:defRPr sz="1400"/>
            </a:lvl1pPr>
          </a:lstStyle>
          <a:p>
            <a:pPr>
              <a:defRPr/>
            </a:pPr>
            <a:fld id="{CA1AF5DB-AE8E-46F2-99A8-A16EDB727E4B}" type="slidenum">
              <a:rPr lang="en-US" altLang="ja-JP" smtClean="0"/>
              <a:pPr>
                <a:defRPr/>
              </a:pPr>
              <a:t>‹#›</a:t>
            </a:fld>
            <a:endParaRPr lang="en-US" altLang="ja-JP" dirty="0"/>
          </a:p>
        </p:txBody>
      </p:sp>
      <p:sp>
        <p:nvSpPr>
          <p:cNvPr id="1029" name="Rectangle 6"/>
          <p:cNvSpPr>
            <a:spLocks noChangeArrowheads="1"/>
          </p:cNvSpPr>
          <p:nvPr userDrawn="1"/>
        </p:nvSpPr>
        <p:spPr>
          <a:xfrm>
            <a:off x="0" y="0"/>
            <a:ext cx="9906000" cy="366713"/>
          </a:xfrm>
          <a:prstGeom prst="rect">
            <a:avLst/>
          </a:prstGeom>
          <a:no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nvGrpSpPr>
          <p:cNvPr id="1030" name="Group 27"/>
          <p:cNvGrpSpPr/>
          <p:nvPr userDrawn="1"/>
        </p:nvGrpSpPr>
        <p:grpSpPr>
          <a:xfrm>
            <a:off x="0" y="333375"/>
            <a:ext cx="9906000" cy="214313"/>
            <a:chOff x="0" y="255"/>
            <a:chExt cx="6240" cy="135"/>
          </a:xfrm>
        </p:grpSpPr>
        <p:sp>
          <p:nvSpPr>
            <p:cNvPr id="1031" name="Rectangle 28"/>
            <p:cNvSpPr>
              <a:spLocks noChangeArrowheads="1"/>
            </p:cNvSpPr>
            <p:nvPr userDrawn="1"/>
          </p:nvSpPr>
          <p:spPr>
            <a:xfrm>
              <a:off x="0" y="345"/>
              <a:ext cx="6240" cy="45"/>
            </a:xfrm>
            <a:prstGeom prst="rect">
              <a:avLst/>
            </a:prstGeom>
            <a:solidFill>
              <a:srgbClr val="FF0000"/>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2" name="Rectangle 29"/>
            <p:cNvSpPr>
              <a:spLocks noChangeArrowheads="1"/>
            </p:cNvSpPr>
            <p:nvPr userDrawn="1"/>
          </p:nvSpPr>
          <p:spPr>
            <a:xfrm>
              <a:off x="0" y="300"/>
              <a:ext cx="6240" cy="45"/>
            </a:xfrm>
            <a:prstGeom prst="rect">
              <a:avLst/>
            </a:prstGeom>
            <a:solidFill>
              <a:srgbClr val="FF3399"/>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3" name="Rectangle 30"/>
            <p:cNvSpPr>
              <a:spLocks noChangeArrowheads="1"/>
            </p:cNvSpPr>
            <p:nvPr userDrawn="1"/>
          </p:nvSpPr>
          <p:spPr>
            <a:xfrm>
              <a:off x="0" y="255"/>
              <a:ext cx="6240" cy="45"/>
            </a:xfrm>
            <a:prstGeom prst="rect">
              <a:avLst/>
            </a:prstGeom>
            <a:solidFill>
              <a:srgbClr val="FFCCFF"/>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1034" name="Rectangle 22"/>
          <p:cNvSpPr>
            <a:spLocks noGrp="1" noChangeArrowheads="1"/>
          </p:cNvSpPr>
          <p:nvPr>
            <p:ph type="title"/>
          </p:nvPr>
        </p:nvSpPr>
        <p:spPr>
          <a:xfrm>
            <a:off x="0" y="0"/>
            <a:ext cx="8266113" cy="476249"/>
          </a:xfrm>
          <a:prstGeom prst="rect">
            <a:avLst/>
          </a:prstGeom>
          <a:noFill/>
          <a:ln>
            <a:noFill/>
          </a:ln>
          <a:effec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grpSp>
        <p:nvGrpSpPr>
          <p:cNvPr id="13" name="グループ化 12"/>
          <p:cNvGrpSpPr>
            <a:grpSpLocks noChangeAspect="1"/>
          </p:cNvGrpSpPr>
          <p:nvPr userDrawn="1"/>
        </p:nvGrpSpPr>
        <p:grpSpPr>
          <a:xfrm>
            <a:off x="8697416" y="3610"/>
            <a:ext cx="1166146" cy="323031"/>
            <a:chOff x="4624175" y="4098238"/>
            <a:chExt cx="2957143" cy="819150"/>
          </a:xfrm>
        </p:grpSpPr>
        <p:sp>
          <p:nvSpPr>
            <p:cNvPr id="14" name="フリーフォーム: 図形 8"/>
            <p:cNvSpPr/>
            <p:nvPr/>
          </p:nvSpPr>
          <p:spPr>
            <a:xfrm>
              <a:off x="4624175" y="4098238"/>
              <a:ext cx="971551"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a:p>
          </p:txBody>
        </p:sp>
        <p:sp>
          <p:nvSpPr>
            <p:cNvPr id="15" name="フリーフォーム: 図形 9"/>
            <p:cNvSpPr/>
            <p:nvPr/>
          </p:nvSpPr>
          <p:spPr>
            <a:xfrm>
              <a:off x="7190793" y="4524949"/>
              <a:ext cx="390525" cy="352424"/>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a:p>
          </p:txBody>
        </p:sp>
        <p:sp>
          <p:nvSpPr>
            <p:cNvPr id="16" name="フリーフォーム: 図形 10"/>
            <p:cNvSpPr/>
            <p:nvPr/>
          </p:nvSpPr>
          <p:spPr>
            <a:xfrm>
              <a:off x="7103398" y="4363777"/>
              <a:ext cx="476251" cy="514349"/>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a:p>
          </p:txBody>
        </p:sp>
        <p:sp>
          <p:nvSpPr>
            <p:cNvPr id="17" name="フリーフォーム: 図形 11"/>
            <p:cNvSpPr/>
            <p:nvPr/>
          </p:nvSpPr>
          <p:spPr>
            <a:xfrm>
              <a:off x="6484271" y="4397942"/>
              <a:ext cx="476251" cy="476251"/>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a:p>
          </p:txBody>
        </p:sp>
        <p:sp>
          <p:nvSpPr>
            <p:cNvPr id="18" name="フリーフォーム: 図形 12"/>
            <p:cNvSpPr/>
            <p:nvPr/>
          </p:nvSpPr>
          <p:spPr>
            <a:xfrm>
              <a:off x="6793500" y="4397942"/>
              <a:ext cx="142876"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a:p>
          </p:txBody>
        </p:sp>
        <p:sp>
          <p:nvSpPr>
            <p:cNvPr id="19" name="フリーフォーム: 図形 13"/>
            <p:cNvSpPr/>
            <p:nvPr/>
          </p:nvSpPr>
          <p:spPr>
            <a:xfrm>
              <a:off x="6513380" y="4397942"/>
              <a:ext cx="142876"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a:p>
          </p:txBody>
        </p:sp>
        <p:sp>
          <p:nvSpPr>
            <p:cNvPr id="20" name="フリーフォーム: 図形 14"/>
            <p:cNvSpPr/>
            <p:nvPr/>
          </p:nvSpPr>
          <p:spPr>
            <a:xfrm>
              <a:off x="6150392" y="4397942"/>
              <a:ext cx="219075" cy="476251"/>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a:p>
          </p:txBody>
        </p:sp>
        <p:sp>
          <p:nvSpPr>
            <p:cNvPr id="21" name="フリーフォーム: 図形 15"/>
            <p:cNvSpPr/>
            <p:nvPr/>
          </p:nvSpPr>
          <p:spPr>
            <a:xfrm>
              <a:off x="5863314" y="4363782"/>
              <a:ext cx="285749" cy="514349"/>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a:p>
          </p:txBody>
        </p:sp>
        <p:sp>
          <p:nvSpPr>
            <p:cNvPr id="22" name="フリーフォーム: 図形 16"/>
            <p:cNvSpPr/>
            <p:nvPr/>
          </p:nvSpPr>
          <p:spPr>
            <a:xfrm>
              <a:off x="5899881" y="4139265"/>
              <a:ext cx="190501" cy="200026"/>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a:p>
          </p:txBody>
        </p:sp>
        <p:sp>
          <p:nvSpPr>
            <p:cNvPr id="23" name="フリーフォーム: 図形 17"/>
            <p:cNvSpPr/>
            <p:nvPr/>
          </p:nvSpPr>
          <p:spPr>
            <a:xfrm>
              <a:off x="6114792" y="4129589"/>
              <a:ext cx="200026" cy="200026"/>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a:p>
          </p:txBody>
        </p:sp>
        <p:sp>
          <p:nvSpPr>
            <p:cNvPr id="24" name="フリーフォーム: 図形 18"/>
            <p:cNvSpPr/>
            <p:nvPr/>
          </p:nvSpPr>
          <p:spPr>
            <a:xfrm>
              <a:off x="6335840" y="4129586"/>
              <a:ext cx="209550" cy="200026"/>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a:p>
          </p:txBody>
        </p:sp>
        <p:sp>
          <p:nvSpPr>
            <p:cNvPr id="25" name="フリーフォーム: 図形 19"/>
            <p:cNvSpPr/>
            <p:nvPr/>
          </p:nvSpPr>
          <p:spPr>
            <a:xfrm>
              <a:off x="6554509" y="4131698"/>
              <a:ext cx="209550" cy="200026"/>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a:p>
          </p:txBody>
        </p:sp>
        <p:sp>
          <p:nvSpPr>
            <p:cNvPr id="26" name="フリーフォーム: 図形 20"/>
            <p:cNvSpPr/>
            <p:nvPr/>
          </p:nvSpPr>
          <p:spPr>
            <a:xfrm>
              <a:off x="6776112" y="4130182"/>
              <a:ext cx="209550" cy="200026"/>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a:p>
          </p:txBody>
        </p:sp>
      </p:grpSp>
    </p:spTree>
    <p:extLst>
      <p:ext uri="{BB962C8B-B14F-4D97-AF65-F5344CB8AC3E}">
        <p14:creationId xmlns:p14="http://schemas.microsoft.com/office/powerpoint/2010/main" val="69082677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Lst>
  <p:hf hdr="0" ftr="0" dt="0"/>
  <p:txStyles>
    <p:titleStyle>
      <a:lvl1pPr algn="l" rtl="0" eaLnBrk="0" fontAlgn="base" hangingPunct="0">
        <a:spcBef>
          <a:spcPct val="0"/>
        </a:spcBef>
        <a:spcAft>
          <a:spcPct val="0"/>
        </a:spcAft>
        <a:defRPr kumimoji="1" sz="2800" b="1" kern="12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2pPr>
      <a:lvl3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3pPr>
      <a:lvl4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4pPr>
      <a:lvl5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5pPr>
      <a:lvl6pPr marL="4572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6pPr>
      <a:lvl7pPr marL="9144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7pPr>
      <a:lvl8pPr marL="13716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8pPr>
      <a:lvl9pPr marL="18288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9pPr>
    </p:titleStyle>
    <p:bodyStyle>
      <a:lvl1pPr marL="342900" indent="-342900" algn="l" rtl="0" eaLnBrk="0" fontAlgn="base" hangingPunct="0">
        <a:spcBef>
          <a:spcPct val="20000"/>
        </a:spcBef>
        <a:spcAft>
          <a:spcPct val="0"/>
        </a:spcAft>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body" idx="1"/>
          </p:nvPr>
        </p:nvSpPr>
        <p:spPr bwMode="auto">
          <a:xfrm>
            <a:off x="495300" y="1600206"/>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723" name="Rectangle 3"/>
          <p:cNvSpPr>
            <a:spLocks noGrp="1" noChangeArrowheads="1"/>
          </p:cNvSpPr>
          <p:nvPr>
            <p:ph type="dt" sz="half" idx="2"/>
          </p:nvPr>
        </p:nvSpPr>
        <p:spPr bwMode="auto">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92">
                <a:latin typeface="Arial" charset="0"/>
                <a:ea typeface="ＭＳ Ｐゴシック" pitchFamily="50" charset="-128"/>
              </a:defRPr>
            </a:lvl1pPr>
          </a:lstStyle>
          <a:p>
            <a:pPr fontAlgn="base">
              <a:spcBef>
                <a:spcPct val="0"/>
              </a:spcBef>
              <a:spcAft>
                <a:spcPct val="0"/>
              </a:spcAft>
              <a:defRPr/>
            </a:pPr>
            <a:endParaRPr lang="en-US" altLang="ja-JP" dirty="0">
              <a:solidFill>
                <a:srgbClr val="000000"/>
              </a:solidFill>
            </a:endParaRPr>
          </a:p>
        </p:txBody>
      </p:sp>
      <p:sp>
        <p:nvSpPr>
          <p:cNvPr id="30724" name="Rectangle 4"/>
          <p:cNvSpPr>
            <a:spLocks noGrp="1" noChangeArrowheads="1"/>
          </p:cNvSpPr>
          <p:nvPr>
            <p:ph type="ftr" sz="quarter" idx="3"/>
          </p:nvPr>
        </p:nvSpPr>
        <p:spPr bwMode="auto">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92">
                <a:latin typeface="Arial" charset="0"/>
                <a:ea typeface="ＭＳ Ｐゴシック" pitchFamily="50" charset="-128"/>
              </a:defRPr>
            </a:lvl1pPr>
          </a:lstStyle>
          <a:p>
            <a:pPr fontAlgn="base">
              <a:spcBef>
                <a:spcPct val="0"/>
              </a:spcBef>
              <a:spcAft>
                <a:spcPct val="0"/>
              </a:spcAft>
              <a:defRPr/>
            </a:pPr>
            <a:endParaRPr lang="en-US" altLang="ja-JP" dirty="0">
              <a:solidFill>
                <a:srgbClr val="000000"/>
              </a:solidFill>
            </a:endParaRPr>
          </a:p>
        </p:txBody>
      </p:sp>
      <p:sp>
        <p:nvSpPr>
          <p:cNvPr id="30725" name="Rectangle 5"/>
          <p:cNvSpPr>
            <a:spLocks noGrp="1" noChangeArrowheads="1"/>
          </p:cNvSpPr>
          <p:nvPr>
            <p:ph type="sldNum" sz="quarter" idx="4"/>
          </p:nvPr>
        </p:nvSpPr>
        <p:spPr bwMode="auto">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92">
                <a:latin typeface="Arial" charset="0"/>
                <a:ea typeface="ＭＳ Ｐゴシック" pitchFamily="50" charset="-128"/>
              </a:defRPr>
            </a:lvl1pPr>
          </a:lstStyle>
          <a:p>
            <a:pPr fontAlgn="base">
              <a:spcBef>
                <a:spcPct val="0"/>
              </a:spcBef>
              <a:spcAft>
                <a:spcPct val="0"/>
              </a:spcAft>
              <a:defRPr/>
            </a:pPr>
            <a:fld id="{0236B547-3939-4448-B510-15C4227AECE5}" type="slidenum">
              <a:rPr lang="en-US" altLang="ja-JP">
                <a:solidFill>
                  <a:srgbClr val="000000"/>
                </a:solidFill>
              </a:rPr>
              <a:pPr fontAlgn="base">
                <a:spcBef>
                  <a:spcPct val="0"/>
                </a:spcBef>
                <a:spcAft>
                  <a:spcPct val="0"/>
                </a:spcAft>
                <a:defRPr/>
              </a:pPr>
              <a:t>‹#›</a:t>
            </a:fld>
            <a:endParaRPr lang="en-US" altLang="ja-JP" dirty="0">
              <a:solidFill>
                <a:srgbClr val="000000"/>
              </a:solidFill>
            </a:endParaRPr>
          </a:p>
        </p:txBody>
      </p:sp>
      <p:sp>
        <p:nvSpPr>
          <p:cNvPr id="30726" name="Rectangle 6"/>
          <p:cNvSpPr>
            <a:spLocks noChangeArrowheads="1"/>
          </p:cNvSpPr>
          <p:nvPr/>
        </p:nvSpPr>
        <p:spPr bwMode="auto">
          <a:xfrm>
            <a:off x="0" y="5"/>
            <a:ext cx="9906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sz="1662" dirty="0">
              <a:solidFill>
                <a:srgbClr val="000000"/>
              </a:solidFill>
            </a:endParaRPr>
          </a:p>
        </p:txBody>
      </p:sp>
      <p:grpSp>
        <p:nvGrpSpPr>
          <p:cNvPr id="2" name="Group 27"/>
          <p:cNvGrpSpPr>
            <a:grpSpLocks/>
          </p:cNvGrpSpPr>
          <p:nvPr/>
        </p:nvGrpSpPr>
        <p:grpSpPr bwMode="auto">
          <a:xfrm>
            <a:off x="0" y="333378"/>
            <a:ext cx="9906000" cy="214313"/>
            <a:chOff x="0" y="255"/>
            <a:chExt cx="6240" cy="135"/>
          </a:xfrm>
        </p:grpSpPr>
        <p:sp>
          <p:nvSpPr>
            <p:cNvPr id="30748" name="Rectangle 28"/>
            <p:cNvSpPr>
              <a:spLocks noChangeArrowheads="1"/>
            </p:cNvSpPr>
            <p:nvPr userDrawn="1"/>
          </p:nvSpPr>
          <p:spPr bwMode="auto">
            <a:xfrm>
              <a:off x="0" y="345"/>
              <a:ext cx="6240" cy="45"/>
            </a:xfrm>
            <a:prstGeom prst="rect">
              <a:avLst/>
            </a:prstGeom>
            <a:solidFill>
              <a:srgbClr val="FF0000"/>
            </a:solidFill>
            <a:ln w="9525" algn="ctr">
              <a:noFill/>
              <a:miter lim="800000"/>
              <a:headEnd/>
              <a:tailEnd/>
            </a:ln>
            <a:effectLst/>
          </p:spPr>
          <p:txBody>
            <a:bodyPr wrap="none" anchor="ctr"/>
            <a:lstStyle/>
            <a:p>
              <a:pPr algn="ctr" fontAlgn="base">
                <a:spcBef>
                  <a:spcPct val="0"/>
                </a:spcBef>
                <a:spcAft>
                  <a:spcPct val="0"/>
                </a:spcAft>
                <a:defRPr/>
              </a:pPr>
              <a:endParaRPr lang="ja-JP" altLang="en-US" sz="1662" dirty="0">
                <a:solidFill>
                  <a:srgbClr val="000000"/>
                </a:solidFill>
              </a:endParaRPr>
            </a:p>
          </p:txBody>
        </p:sp>
        <p:sp>
          <p:nvSpPr>
            <p:cNvPr id="30749" name="Rectangle 29"/>
            <p:cNvSpPr>
              <a:spLocks noChangeArrowheads="1"/>
            </p:cNvSpPr>
            <p:nvPr userDrawn="1"/>
          </p:nvSpPr>
          <p:spPr bwMode="auto">
            <a:xfrm>
              <a:off x="0" y="300"/>
              <a:ext cx="6240" cy="45"/>
            </a:xfrm>
            <a:prstGeom prst="rect">
              <a:avLst/>
            </a:prstGeom>
            <a:solidFill>
              <a:srgbClr val="FF3399"/>
            </a:solidFill>
            <a:ln w="9525" algn="ctr">
              <a:noFill/>
              <a:miter lim="800000"/>
              <a:headEnd/>
              <a:tailEnd/>
            </a:ln>
            <a:effectLst/>
          </p:spPr>
          <p:txBody>
            <a:bodyPr wrap="none" anchor="ctr"/>
            <a:lstStyle/>
            <a:p>
              <a:pPr algn="ctr" fontAlgn="base">
                <a:spcBef>
                  <a:spcPct val="0"/>
                </a:spcBef>
                <a:spcAft>
                  <a:spcPct val="0"/>
                </a:spcAft>
                <a:defRPr/>
              </a:pPr>
              <a:endParaRPr lang="ja-JP" altLang="en-US" sz="1662" dirty="0">
                <a:solidFill>
                  <a:srgbClr val="000000"/>
                </a:solidFill>
              </a:endParaRPr>
            </a:p>
          </p:txBody>
        </p:sp>
        <p:sp>
          <p:nvSpPr>
            <p:cNvPr id="30750" name="Rectangle 30"/>
            <p:cNvSpPr>
              <a:spLocks noChangeArrowheads="1"/>
            </p:cNvSpPr>
            <p:nvPr userDrawn="1"/>
          </p:nvSpPr>
          <p:spPr bwMode="auto">
            <a:xfrm>
              <a:off x="0" y="255"/>
              <a:ext cx="6240" cy="45"/>
            </a:xfrm>
            <a:prstGeom prst="rect">
              <a:avLst/>
            </a:prstGeom>
            <a:solidFill>
              <a:srgbClr val="FFCCFF"/>
            </a:solidFill>
            <a:ln w="9525" algn="ctr">
              <a:noFill/>
              <a:miter lim="800000"/>
              <a:headEnd/>
              <a:tailEnd/>
            </a:ln>
            <a:effectLst/>
          </p:spPr>
          <p:txBody>
            <a:bodyPr wrap="none" anchor="ctr"/>
            <a:lstStyle/>
            <a:p>
              <a:pPr algn="ctr" fontAlgn="base">
                <a:spcBef>
                  <a:spcPct val="0"/>
                </a:spcBef>
                <a:spcAft>
                  <a:spcPct val="0"/>
                </a:spcAft>
                <a:defRPr/>
              </a:pPr>
              <a:endParaRPr lang="ja-JP" altLang="en-US" sz="1662" dirty="0">
                <a:solidFill>
                  <a:srgbClr val="000000"/>
                </a:solidFill>
              </a:endParaRPr>
            </a:p>
          </p:txBody>
        </p:sp>
      </p:grpSp>
      <p:sp>
        <p:nvSpPr>
          <p:cNvPr id="7176" name="Rectangle 22"/>
          <p:cNvSpPr>
            <a:spLocks noGrp="1" noChangeArrowheads="1"/>
          </p:cNvSpPr>
          <p:nvPr>
            <p:ph type="title"/>
          </p:nvPr>
        </p:nvSpPr>
        <p:spPr bwMode="auto">
          <a:xfrm>
            <a:off x="2" y="0"/>
            <a:ext cx="8266113"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7177" name="Picture 32" descr="ppjtitle"/>
          <p:cNvPicPr>
            <a:picLocks noChangeAspect="1" noChangeArrowheads="1"/>
          </p:cNvPicPr>
          <p:nvPr/>
        </p:nvPicPr>
        <p:blipFill>
          <a:blip r:embed="rId14" cstate="print"/>
          <a:srcRect/>
          <a:stretch>
            <a:fillRect/>
          </a:stretch>
        </p:blipFill>
        <p:spPr bwMode="auto">
          <a:xfrm>
            <a:off x="8697918" y="5"/>
            <a:ext cx="1208087" cy="334963"/>
          </a:xfrm>
          <a:prstGeom prst="rect">
            <a:avLst/>
          </a:prstGeom>
          <a:noFill/>
          <a:ln w="9525">
            <a:noFill/>
            <a:miter lim="800000"/>
            <a:headEnd/>
            <a:tailEnd/>
          </a:ln>
        </p:spPr>
      </p:pic>
    </p:spTree>
    <p:extLst>
      <p:ext uri="{BB962C8B-B14F-4D97-AF65-F5344CB8AC3E}">
        <p14:creationId xmlns:p14="http://schemas.microsoft.com/office/powerpoint/2010/main" val="3067522451"/>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Lst>
  <p:hf hdr="0" ftr="0" dt="0"/>
  <p:txStyles>
    <p:titleStyle>
      <a:lvl1pPr algn="l" rtl="0" eaLnBrk="0" fontAlgn="base" hangingPunct="0">
        <a:spcBef>
          <a:spcPct val="0"/>
        </a:spcBef>
        <a:spcAft>
          <a:spcPct val="0"/>
        </a:spcAft>
        <a:defRPr kumimoji="1" sz="2585">
          <a:solidFill>
            <a:schemeClr val="tx1"/>
          </a:solidFill>
          <a:latin typeface="+mj-lt"/>
          <a:ea typeface="+mj-ea"/>
          <a:cs typeface="+mj-cs"/>
        </a:defRPr>
      </a:lvl1pPr>
      <a:lvl2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2pPr>
      <a:lvl3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3pPr>
      <a:lvl4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4pPr>
      <a:lvl5pPr algn="l" rtl="0" eaLnBrk="0" fontAlgn="base" hangingPunct="0">
        <a:spcBef>
          <a:spcPct val="0"/>
        </a:spcBef>
        <a:spcAft>
          <a:spcPct val="0"/>
        </a:spcAft>
        <a:defRPr kumimoji="1" sz="2585">
          <a:solidFill>
            <a:schemeClr val="tx1"/>
          </a:solidFill>
          <a:latin typeface="HGP創英角ｺﾞｼｯｸUB" pitchFamily="50" charset="-128"/>
          <a:ea typeface="HGP創英角ｺﾞｼｯｸUB" pitchFamily="50" charset="-128"/>
        </a:defRPr>
      </a:lvl5pPr>
      <a:lvl6pPr marL="422041"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6pPr>
      <a:lvl7pPr marL="844083"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7pPr>
      <a:lvl8pPr marL="1266124"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8pPr>
      <a:lvl9pPr marL="1688165" algn="l" rtl="0" fontAlgn="base">
        <a:spcBef>
          <a:spcPct val="0"/>
        </a:spcBef>
        <a:spcAft>
          <a:spcPct val="0"/>
        </a:spcAft>
        <a:defRPr kumimoji="1" sz="2585">
          <a:solidFill>
            <a:schemeClr val="tx1"/>
          </a:solidFill>
          <a:latin typeface="HGP創英角ｺﾞｼｯｸUB" pitchFamily="50" charset="-128"/>
          <a:ea typeface="HGP創英角ｺﾞｼｯｸUB" pitchFamily="50" charset="-128"/>
        </a:defRPr>
      </a:lvl9pPr>
    </p:titleStyle>
    <p:bodyStyle>
      <a:lvl1pPr marL="316531" indent="-316531" algn="l" rtl="0" eaLnBrk="0" fontAlgn="base" hangingPunct="0">
        <a:spcBef>
          <a:spcPct val="20000"/>
        </a:spcBef>
        <a:spcAft>
          <a:spcPct val="0"/>
        </a:spcAft>
        <a:buChar char="•"/>
        <a:defRPr kumimoji="1" sz="2954">
          <a:solidFill>
            <a:schemeClr val="tx1"/>
          </a:solidFill>
          <a:latin typeface="+mn-lt"/>
          <a:ea typeface="ＭＳ Ｐゴシック" pitchFamily="50" charset="-128"/>
          <a:cs typeface="+mn-cs"/>
        </a:defRPr>
      </a:lvl1pPr>
      <a:lvl2pPr marL="685817" indent="-263776" algn="l" rtl="0" eaLnBrk="0" fontAlgn="base" hangingPunct="0">
        <a:spcBef>
          <a:spcPct val="20000"/>
        </a:spcBef>
        <a:spcAft>
          <a:spcPct val="0"/>
        </a:spcAft>
        <a:buChar char="–"/>
        <a:defRPr kumimoji="1" sz="2585">
          <a:solidFill>
            <a:schemeClr val="tx1"/>
          </a:solidFill>
          <a:latin typeface="+mn-lt"/>
          <a:ea typeface="ＭＳ Ｐゴシック" pitchFamily="50" charset="-128"/>
        </a:defRPr>
      </a:lvl2pPr>
      <a:lvl3pPr marL="1055103" indent="-211021" algn="l" rtl="0" eaLnBrk="0" fontAlgn="base" hangingPunct="0">
        <a:spcBef>
          <a:spcPct val="20000"/>
        </a:spcBef>
        <a:spcAft>
          <a:spcPct val="0"/>
        </a:spcAft>
        <a:buChar char="•"/>
        <a:defRPr kumimoji="1" sz="2215">
          <a:solidFill>
            <a:schemeClr val="tx1"/>
          </a:solidFill>
          <a:latin typeface="+mn-lt"/>
          <a:ea typeface="ＭＳ Ｐゴシック" pitchFamily="50" charset="-128"/>
        </a:defRPr>
      </a:lvl3pPr>
      <a:lvl4pPr marL="1477145" indent="-211021" algn="l" rtl="0" eaLnBrk="0" fontAlgn="base" hangingPunct="0">
        <a:spcBef>
          <a:spcPct val="20000"/>
        </a:spcBef>
        <a:spcAft>
          <a:spcPct val="0"/>
        </a:spcAft>
        <a:buChar char="–"/>
        <a:defRPr kumimoji="1" sz="1846">
          <a:solidFill>
            <a:schemeClr val="tx1"/>
          </a:solidFill>
          <a:latin typeface="+mn-lt"/>
          <a:ea typeface="ＭＳ Ｐゴシック" pitchFamily="50" charset="-128"/>
        </a:defRPr>
      </a:lvl4pPr>
      <a:lvl5pPr marL="1899186" indent="-211021" algn="l" rtl="0" eaLnBrk="0" fontAlgn="base" hangingPunct="0">
        <a:spcBef>
          <a:spcPct val="20000"/>
        </a:spcBef>
        <a:spcAft>
          <a:spcPct val="0"/>
        </a:spcAft>
        <a:buChar char="»"/>
        <a:defRPr kumimoji="1" sz="1846">
          <a:solidFill>
            <a:schemeClr val="tx1"/>
          </a:solidFill>
          <a:latin typeface="+mn-lt"/>
          <a:ea typeface="ＭＳ Ｐゴシック" pitchFamily="50" charset="-128"/>
        </a:defRPr>
      </a:lvl5pPr>
      <a:lvl6pPr marL="2321227" indent="-211021" algn="l" rtl="0" fontAlgn="base">
        <a:spcBef>
          <a:spcPct val="20000"/>
        </a:spcBef>
        <a:spcAft>
          <a:spcPct val="0"/>
        </a:spcAft>
        <a:buChar char="»"/>
        <a:defRPr kumimoji="1" sz="1846">
          <a:solidFill>
            <a:schemeClr val="tx1"/>
          </a:solidFill>
          <a:latin typeface="+mn-lt"/>
          <a:ea typeface="+mn-ea"/>
        </a:defRPr>
      </a:lvl6pPr>
      <a:lvl7pPr marL="2743269" indent="-211021" algn="l" rtl="0" fontAlgn="base">
        <a:spcBef>
          <a:spcPct val="20000"/>
        </a:spcBef>
        <a:spcAft>
          <a:spcPct val="0"/>
        </a:spcAft>
        <a:buChar char="»"/>
        <a:defRPr kumimoji="1" sz="1846">
          <a:solidFill>
            <a:schemeClr val="tx1"/>
          </a:solidFill>
          <a:latin typeface="+mn-lt"/>
          <a:ea typeface="+mn-ea"/>
        </a:defRPr>
      </a:lvl7pPr>
      <a:lvl8pPr marL="3165310" indent="-211021" algn="l" rtl="0" fontAlgn="base">
        <a:spcBef>
          <a:spcPct val="20000"/>
        </a:spcBef>
        <a:spcAft>
          <a:spcPct val="0"/>
        </a:spcAft>
        <a:buChar char="»"/>
        <a:defRPr kumimoji="1" sz="1846">
          <a:solidFill>
            <a:schemeClr val="tx1"/>
          </a:solidFill>
          <a:latin typeface="+mn-lt"/>
          <a:ea typeface="+mn-ea"/>
        </a:defRPr>
      </a:lvl8pPr>
      <a:lvl9pPr marL="3587351" indent="-211021" algn="l" rtl="0" fontAlgn="base">
        <a:spcBef>
          <a:spcPct val="20000"/>
        </a:spcBef>
        <a:spcAft>
          <a:spcPct val="0"/>
        </a:spcAft>
        <a:buChar char="»"/>
        <a:defRPr kumimoji="1" sz="1846">
          <a:solidFill>
            <a:schemeClr val="tx1"/>
          </a:solidFill>
          <a:latin typeface="+mn-lt"/>
          <a:ea typeface="+mn-ea"/>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3" name="グループ化 12"/>
          <p:cNvGrpSpPr>
            <a:grpSpLocks noChangeAspect="1"/>
          </p:cNvGrpSpPr>
          <p:nvPr userDrawn="1"/>
        </p:nvGrpSpPr>
        <p:grpSpPr>
          <a:xfrm>
            <a:off x="8763198" y="9625"/>
            <a:ext cx="1134000" cy="314126"/>
            <a:chOff x="4624168" y="4098236"/>
            <a:chExt cx="2957141" cy="819150"/>
          </a:xfrm>
        </p:grpSpPr>
        <p:sp>
          <p:nvSpPr>
            <p:cNvPr id="14" name="フリーフォーム: 図形 8"/>
            <p:cNvSpPr/>
            <p:nvPr/>
          </p:nvSpPr>
          <p:spPr>
            <a:xfrm>
              <a:off x="4624168" y="4098236"/>
              <a:ext cx="971550" cy="819150"/>
            </a:xfrm>
            <a:custGeom>
              <a:avLst/>
              <a:gdLst>
                <a:gd name="connsiteX0" fmla="*/ 566937 w 971550"/>
                <a:gd name="connsiteY0" fmla="*/ 7144 h 819150"/>
                <a:gd name="connsiteX1" fmla="*/ 489414 w 971550"/>
                <a:gd name="connsiteY1" fmla="*/ 14573 h 819150"/>
                <a:gd name="connsiteX2" fmla="*/ 412604 w 971550"/>
                <a:gd name="connsiteY2" fmla="*/ 7144 h 819150"/>
                <a:gd name="connsiteX3" fmla="*/ 7144 w 971550"/>
                <a:gd name="connsiteY3" fmla="*/ 411880 h 819150"/>
                <a:gd name="connsiteX4" fmla="*/ 412604 w 971550"/>
                <a:gd name="connsiteY4" fmla="*/ 818026 h 819150"/>
                <a:gd name="connsiteX5" fmla="*/ 489414 w 971550"/>
                <a:gd name="connsiteY5" fmla="*/ 810530 h 819150"/>
                <a:gd name="connsiteX6" fmla="*/ 566937 w 971550"/>
                <a:gd name="connsiteY6" fmla="*/ 818026 h 819150"/>
                <a:gd name="connsiteX7" fmla="*/ 972407 w 971550"/>
                <a:gd name="connsiteY7" fmla="*/ 411880 h 819150"/>
                <a:gd name="connsiteX8" fmla="*/ 566937 w 971550"/>
                <a:gd name="connsiteY8" fmla="*/ 7144 h 819150"/>
                <a:gd name="connsiteX9" fmla="*/ 48854 w 971550"/>
                <a:gd name="connsiteY9" fmla="*/ 412118 h 819150"/>
                <a:gd name="connsiteX10" fmla="*/ 387286 w 971550"/>
                <a:gd name="connsiteY10" fmla="*/ 48063 h 819150"/>
                <a:gd name="connsiteX11" fmla="*/ 160792 w 971550"/>
                <a:gd name="connsiteY11" fmla="*/ 411880 h 819150"/>
                <a:gd name="connsiteX12" fmla="*/ 388106 w 971550"/>
                <a:gd name="connsiteY12" fmla="*/ 776545 h 819150"/>
                <a:gd name="connsiteX13" fmla="*/ 48854 w 971550"/>
                <a:gd name="connsiteY13" fmla="*/ 412118 h 819150"/>
                <a:gd name="connsiteX14" fmla="*/ 489404 w 971550"/>
                <a:gd name="connsiteY14" fmla="*/ 810530 h 819150"/>
                <a:gd name="connsiteX15" fmla="*/ 388067 w 971550"/>
                <a:gd name="connsiteY15" fmla="*/ 776545 h 819150"/>
                <a:gd name="connsiteX16" fmla="*/ 413823 w 971550"/>
                <a:gd name="connsiteY16" fmla="*/ 777030 h 819150"/>
                <a:gd name="connsiteX17" fmla="*/ 778764 w 971550"/>
                <a:gd name="connsiteY17" fmla="*/ 412118 h 819150"/>
                <a:gd name="connsiteX18" fmla="*/ 413823 w 971550"/>
                <a:gd name="connsiteY18" fmla="*/ 47101 h 819150"/>
                <a:gd name="connsiteX19" fmla="*/ 387296 w 971550"/>
                <a:gd name="connsiteY19" fmla="*/ 48073 h 819150"/>
                <a:gd name="connsiteX20" fmla="*/ 489414 w 971550"/>
                <a:gd name="connsiteY20" fmla="*/ 14583 h 819150"/>
                <a:gd name="connsiteX21" fmla="*/ 817988 w 971550"/>
                <a:gd name="connsiteY21" fmla="*/ 411890 h 819150"/>
                <a:gd name="connsiteX22" fmla="*/ 489404 w 971550"/>
                <a:gd name="connsiteY22" fmla="*/ 810530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71550" h="819150">
                  <a:moveTo>
                    <a:pt x="566937" y="7144"/>
                  </a:moveTo>
                  <a:cubicBezTo>
                    <a:pt x="540182" y="7144"/>
                    <a:pt x="514741" y="9716"/>
                    <a:pt x="489414" y="14573"/>
                  </a:cubicBezTo>
                  <a:cubicBezTo>
                    <a:pt x="464763" y="9706"/>
                    <a:pt x="438626" y="7144"/>
                    <a:pt x="412604" y="7144"/>
                  </a:cubicBezTo>
                  <a:cubicBezTo>
                    <a:pt x="188709" y="7144"/>
                    <a:pt x="7144" y="188671"/>
                    <a:pt x="7144" y="411880"/>
                  </a:cubicBezTo>
                  <a:cubicBezTo>
                    <a:pt x="7144" y="636422"/>
                    <a:pt x="188719" y="818026"/>
                    <a:pt x="412604" y="818026"/>
                  </a:cubicBezTo>
                  <a:cubicBezTo>
                    <a:pt x="438626" y="818026"/>
                    <a:pt x="464772" y="815388"/>
                    <a:pt x="489414" y="810530"/>
                  </a:cubicBezTo>
                  <a:cubicBezTo>
                    <a:pt x="514741" y="815388"/>
                    <a:pt x="540182" y="818026"/>
                    <a:pt x="566937" y="818026"/>
                  </a:cubicBezTo>
                  <a:cubicBezTo>
                    <a:pt x="790823" y="818026"/>
                    <a:pt x="972407" y="636442"/>
                    <a:pt x="972407" y="411880"/>
                  </a:cubicBezTo>
                  <a:cubicBezTo>
                    <a:pt x="972407" y="188671"/>
                    <a:pt x="790813" y="7144"/>
                    <a:pt x="566937" y="7144"/>
                  </a:cubicBezTo>
                  <a:close/>
                  <a:moveTo>
                    <a:pt x="48854" y="412118"/>
                  </a:moveTo>
                  <a:cubicBezTo>
                    <a:pt x="48854" y="220304"/>
                    <a:pt x="198387" y="61789"/>
                    <a:pt x="387286" y="48063"/>
                  </a:cubicBezTo>
                  <a:cubicBezTo>
                    <a:pt x="253041" y="115243"/>
                    <a:pt x="160792" y="252612"/>
                    <a:pt x="160792" y="411880"/>
                  </a:cubicBezTo>
                  <a:cubicBezTo>
                    <a:pt x="160792" y="572853"/>
                    <a:pt x="253460" y="710498"/>
                    <a:pt x="388106" y="776545"/>
                  </a:cubicBezTo>
                  <a:cubicBezTo>
                    <a:pt x="198872" y="764229"/>
                    <a:pt x="48854" y="605228"/>
                    <a:pt x="48854" y="412118"/>
                  </a:cubicBezTo>
                  <a:close/>
                  <a:moveTo>
                    <a:pt x="489404" y="810530"/>
                  </a:moveTo>
                  <a:cubicBezTo>
                    <a:pt x="453885" y="803586"/>
                    <a:pt x="420072" y="791851"/>
                    <a:pt x="388067" y="776545"/>
                  </a:cubicBezTo>
                  <a:cubicBezTo>
                    <a:pt x="396478" y="776735"/>
                    <a:pt x="405098" y="777030"/>
                    <a:pt x="413823" y="777030"/>
                  </a:cubicBezTo>
                  <a:cubicBezTo>
                    <a:pt x="615429" y="777030"/>
                    <a:pt x="778764" y="613934"/>
                    <a:pt x="778764" y="412118"/>
                  </a:cubicBezTo>
                  <a:cubicBezTo>
                    <a:pt x="778764" y="211588"/>
                    <a:pt x="615429" y="47101"/>
                    <a:pt x="413823" y="47101"/>
                  </a:cubicBezTo>
                  <a:cubicBezTo>
                    <a:pt x="404822" y="47101"/>
                    <a:pt x="395888" y="47454"/>
                    <a:pt x="387296" y="48073"/>
                  </a:cubicBezTo>
                  <a:cubicBezTo>
                    <a:pt x="419452" y="33357"/>
                    <a:pt x="453561" y="21641"/>
                    <a:pt x="489414" y="14583"/>
                  </a:cubicBezTo>
                  <a:cubicBezTo>
                    <a:pt x="676561" y="49749"/>
                    <a:pt x="817988" y="215455"/>
                    <a:pt x="817988" y="411890"/>
                  </a:cubicBezTo>
                  <a:cubicBezTo>
                    <a:pt x="817978" y="609705"/>
                    <a:pt x="676561" y="775411"/>
                    <a:pt x="489404" y="810530"/>
                  </a:cubicBezTo>
                  <a:close/>
                </a:path>
              </a:pathLst>
            </a:custGeom>
            <a:solidFill>
              <a:srgbClr val="E60012"/>
            </a:solidFill>
            <a:ln w="9525" cap="flat">
              <a:noFill/>
              <a:prstDash val="solid"/>
              <a:miter/>
            </a:ln>
          </p:spPr>
          <p:txBody>
            <a:bodyPr rtlCol="0" anchor="ctr"/>
            <a:lstStyle/>
            <a:p>
              <a:endParaRPr lang="ja-JP" altLang="en-US"/>
            </a:p>
          </p:txBody>
        </p:sp>
        <p:sp>
          <p:nvSpPr>
            <p:cNvPr id="15" name="フリーフォーム: 図形 9"/>
            <p:cNvSpPr/>
            <p:nvPr/>
          </p:nvSpPr>
          <p:spPr>
            <a:xfrm>
              <a:off x="7190784" y="4524946"/>
              <a:ext cx="390525" cy="352425"/>
            </a:xfrm>
            <a:custGeom>
              <a:avLst/>
              <a:gdLst>
                <a:gd name="connsiteX0" fmla="*/ 236734 w 390525"/>
                <a:gd name="connsiteY0" fmla="*/ 350025 h 352425"/>
                <a:gd name="connsiteX1" fmla="*/ 236734 w 390525"/>
                <a:gd name="connsiteY1" fmla="*/ 48158 h 352425"/>
                <a:gd name="connsiteX2" fmla="*/ 391011 w 390525"/>
                <a:gd name="connsiteY2" fmla="*/ 48158 h 352425"/>
                <a:gd name="connsiteX3" fmla="*/ 391011 w 390525"/>
                <a:gd name="connsiteY3" fmla="*/ 7144 h 352425"/>
                <a:gd name="connsiteX4" fmla="*/ 7144 w 390525"/>
                <a:gd name="connsiteY4" fmla="*/ 7144 h 352425"/>
                <a:gd name="connsiteX5" fmla="*/ 7144 w 390525"/>
                <a:gd name="connsiteY5" fmla="*/ 48158 h 352425"/>
                <a:gd name="connsiteX6" fmla="*/ 195672 w 390525"/>
                <a:gd name="connsiteY6" fmla="*/ 48158 h 352425"/>
                <a:gd name="connsiteX7" fmla="*/ 195672 w 390525"/>
                <a:gd name="connsiteY7" fmla="*/ 310449 h 352425"/>
                <a:gd name="connsiteX8" fmla="*/ 104890 w 390525"/>
                <a:gd name="connsiteY8" fmla="*/ 310449 h 352425"/>
                <a:gd name="connsiteX9" fmla="*/ 104890 w 390525"/>
                <a:gd name="connsiteY9" fmla="*/ 350025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525" h="352425">
                  <a:moveTo>
                    <a:pt x="236734" y="350025"/>
                  </a:moveTo>
                  <a:lnTo>
                    <a:pt x="236734" y="48158"/>
                  </a:lnTo>
                  <a:lnTo>
                    <a:pt x="391011" y="48158"/>
                  </a:lnTo>
                  <a:lnTo>
                    <a:pt x="391011" y="7144"/>
                  </a:lnTo>
                  <a:lnTo>
                    <a:pt x="7144" y="7144"/>
                  </a:lnTo>
                  <a:lnTo>
                    <a:pt x="7144" y="48158"/>
                  </a:lnTo>
                  <a:lnTo>
                    <a:pt x="195672" y="48158"/>
                  </a:lnTo>
                  <a:lnTo>
                    <a:pt x="195672" y="310449"/>
                  </a:lnTo>
                  <a:lnTo>
                    <a:pt x="104890" y="310449"/>
                  </a:lnTo>
                  <a:lnTo>
                    <a:pt x="104890" y="350025"/>
                  </a:lnTo>
                  <a:close/>
                </a:path>
              </a:pathLst>
            </a:custGeom>
            <a:solidFill>
              <a:srgbClr val="000000"/>
            </a:solidFill>
            <a:ln w="9525" cap="flat">
              <a:noFill/>
              <a:prstDash val="solid"/>
              <a:miter/>
            </a:ln>
          </p:spPr>
          <p:txBody>
            <a:bodyPr rtlCol="0" anchor="ctr"/>
            <a:lstStyle/>
            <a:p>
              <a:endParaRPr lang="ja-JP" altLang="en-US"/>
            </a:p>
          </p:txBody>
        </p:sp>
        <p:sp>
          <p:nvSpPr>
            <p:cNvPr id="16" name="フリーフォーム: 図形 10"/>
            <p:cNvSpPr/>
            <p:nvPr/>
          </p:nvSpPr>
          <p:spPr>
            <a:xfrm>
              <a:off x="7103392" y="4363774"/>
              <a:ext cx="476250" cy="514350"/>
            </a:xfrm>
            <a:custGeom>
              <a:avLst/>
              <a:gdLst>
                <a:gd name="connsiteX0" fmla="*/ 46339 w 476250"/>
                <a:gd name="connsiteY0" fmla="*/ 53559 h 514350"/>
                <a:gd name="connsiteX1" fmla="*/ 7144 w 476250"/>
                <a:gd name="connsiteY1" fmla="*/ 511216 h 514350"/>
                <a:gd name="connsiteX2" fmla="*/ 46806 w 476250"/>
                <a:gd name="connsiteY2" fmla="*/ 511216 h 514350"/>
                <a:gd name="connsiteX3" fmla="*/ 83896 w 476250"/>
                <a:gd name="connsiteY3" fmla="*/ 94555 h 514350"/>
                <a:gd name="connsiteX4" fmla="*/ 478403 w 476250"/>
                <a:gd name="connsiteY4" fmla="*/ 94555 h 514350"/>
                <a:gd name="connsiteX5" fmla="*/ 478403 w 476250"/>
                <a:gd name="connsiteY5" fmla="*/ 53559 h 514350"/>
                <a:gd name="connsiteX6" fmla="*/ 283064 w 476250"/>
                <a:gd name="connsiteY6" fmla="*/ 53559 h 514350"/>
                <a:gd name="connsiteX7" fmla="*/ 283064 w 476250"/>
                <a:gd name="connsiteY7" fmla="*/ 7144 h 514350"/>
                <a:gd name="connsiteX8" fmla="*/ 238735 w 476250"/>
                <a:gd name="connsiteY8" fmla="*/ 7144 h 514350"/>
                <a:gd name="connsiteX9" fmla="*/ 238735 w 476250"/>
                <a:gd name="connsiteY9" fmla="*/ 53559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250" h="514350">
                  <a:moveTo>
                    <a:pt x="46339" y="53559"/>
                  </a:moveTo>
                  <a:lnTo>
                    <a:pt x="7144" y="511216"/>
                  </a:lnTo>
                  <a:lnTo>
                    <a:pt x="46806" y="511216"/>
                  </a:lnTo>
                  <a:lnTo>
                    <a:pt x="83896" y="94555"/>
                  </a:lnTo>
                  <a:lnTo>
                    <a:pt x="478403" y="94555"/>
                  </a:lnTo>
                  <a:lnTo>
                    <a:pt x="478403" y="53559"/>
                  </a:lnTo>
                  <a:lnTo>
                    <a:pt x="283064" y="53559"/>
                  </a:lnTo>
                  <a:lnTo>
                    <a:pt x="283064" y="7144"/>
                  </a:lnTo>
                  <a:lnTo>
                    <a:pt x="238735" y="7144"/>
                  </a:lnTo>
                  <a:lnTo>
                    <a:pt x="238735" y="53559"/>
                  </a:lnTo>
                  <a:close/>
                </a:path>
              </a:pathLst>
            </a:custGeom>
            <a:solidFill>
              <a:srgbClr val="000000"/>
            </a:solidFill>
            <a:ln w="9525" cap="flat">
              <a:noFill/>
              <a:prstDash val="solid"/>
              <a:miter/>
            </a:ln>
          </p:spPr>
          <p:txBody>
            <a:bodyPr rtlCol="0" anchor="ctr"/>
            <a:lstStyle/>
            <a:p>
              <a:endParaRPr lang="ja-JP" altLang="en-US"/>
            </a:p>
          </p:txBody>
        </p:sp>
        <p:sp>
          <p:nvSpPr>
            <p:cNvPr id="17" name="フリーフォーム: 図形 11"/>
            <p:cNvSpPr/>
            <p:nvPr/>
          </p:nvSpPr>
          <p:spPr>
            <a:xfrm>
              <a:off x="6484267" y="4397940"/>
              <a:ext cx="476250" cy="476250"/>
            </a:xfrm>
            <a:custGeom>
              <a:avLst/>
              <a:gdLst>
                <a:gd name="connsiteX0" fmla="*/ 477383 w 476250"/>
                <a:gd name="connsiteY0" fmla="*/ 477031 h 476250"/>
                <a:gd name="connsiteX1" fmla="*/ 477383 w 476250"/>
                <a:gd name="connsiteY1" fmla="*/ 437455 h 476250"/>
                <a:gd name="connsiteX2" fmla="*/ 329889 w 476250"/>
                <a:gd name="connsiteY2" fmla="*/ 437455 h 476250"/>
                <a:gd name="connsiteX3" fmla="*/ 329889 w 476250"/>
                <a:gd name="connsiteY3" fmla="*/ 218884 h 476250"/>
                <a:gd name="connsiteX4" fmla="*/ 477383 w 476250"/>
                <a:gd name="connsiteY4" fmla="*/ 218884 h 476250"/>
                <a:gd name="connsiteX5" fmla="*/ 477383 w 476250"/>
                <a:gd name="connsiteY5" fmla="*/ 179241 h 476250"/>
                <a:gd name="connsiteX6" fmla="*/ 262509 w 476250"/>
                <a:gd name="connsiteY6" fmla="*/ 179241 h 476250"/>
                <a:gd name="connsiteX7" fmla="*/ 262509 w 476250"/>
                <a:gd name="connsiteY7" fmla="*/ 7144 h 476250"/>
                <a:gd name="connsiteX8" fmla="*/ 223333 w 476250"/>
                <a:gd name="connsiteY8" fmla="*/ 7144 h 476250"/>
                <a:gd name="connsiteX9" fmla="*/ 223333 w 476250"/>
                <a:gd name="connsiteY9" fmla="*/ 179241 h 476250"/>
                <a:gd name="connsiteX10" fmla="*/ 7144 w 476250"/>
                <a:gd name="connsiteY10" fmla="*/ 179241 h 476250"/>
                <a:gd name="connsiteX11" fmla="*/ 7144 w 476250"/>
                <a:gd name="connsiteY11" fmla="*/ 218884 h 476250"/>
                <a:gd name="connsiteX12" fmla="*/ 143856 w 476250"/>
                <a:gd name="connsiteY12" fmla="*/ 218884 h 476250"/>
                <a:gd name="connsiteX13" fmla="*/ 23917 w 476250"/>
                <a:gd name="connsiteY13" fmla="*/ 477031 h 476250"/>
                <a:gd name="connsiteX14" fmla="*/ 68647 w 476250"/>
                <a:gd name="connsiteY14" fmla="*/ 477031 h 476250"/>
                <a:gd name="connsiteX15" fmla="*/ 189119 w 476250"/>
                <a:gd name="connsiteY15" fmla="*/ 218884 h 476250"/>
                <a:gd name="connsiteX16" fmla="*/ 288893 w 476250"/>
                <a:gd name="connsiteY16" fmla="*/ 218884 h 476250"/>
                <a:gd name="connsiteX17" fmla="*/ 288893 w 476250"/>
                <a:gd name="connsiteY17" fmla="*/ 47703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6250" h="476250">
                  <a:moveTo>
                    <a:pt x="477383" y="477031"/>
                  </a:moveTo>
                  <a:lnTo>
                    <a:pt x="477383" y="437455"/>
                  </a:lnTo>
                  <a:lnTo>
                    <a:pt x="329889" y="437455"/>
                  </a:lnTo>
                  <a:lnTo>
                    <a:pt x="329889" y="218884"/>
                  </a:lnTo>
                  <a:lnTo>
                    <a:pt x="477383" y="218884"/>
                  </a:lnTo>
                  <a:lnTo>
                    <a:pt x="477383" y="179241"/>
                  </a:lnTo>
                  <a:lnTo>
                    <a:pt x="262509" y="179241"/>
                  </a:lnTo>
                  <a:lnTo>
                    <a:pt x="262509" y="7144"/>
                  </a:lnTo>
                  <a:lnTo>
                    <a:pt x="223333" y="7144"/>
                  </a:lnTo>
                  <a:lnTo>
                    <a:pt x="223333" y="179241"/>
                  </a:lnTo>
                  <a:lnTo>
                    <a:pt x="7144" y="179241"/>
                  </a:lnTo>
                  <a:lnTo>
                    <a:pt x="7144" y="218884"/>
                  </a:lnTo>
                  <a:lnTo>
                    <a:pt x="143856" y="218884"/>
                  </a:lnTo>
                  <a:lnTo>
                    <a:pt x="23917" y="477031"/>
                  </a:lnTo>
                  <a:lnTo>
                    <a:pt x="68647" y="477031"/>
                  </a:lnTo>
                  <a:lnTo>
                    <a:pt x="189119" y="218884"/>
                  </a:lnTo>
                  <a:lnTo>
                    <a:pt x="288893" y="218884"/>
                  </a:lnTo>
                  <a:lnTo>
                    <a:pt x="288893" y="477031"/>
                  </a:lnTo>
                  <a:close/>
                </a:path>
              </a:pathLst>
            </a:custGeom>
            <a:solidFill>
              <a:srgbClr val="000000"/>
            </a:solidFill>
            <a:ln w="9525" cap="flat">
              <a:noFill/>
              <a:prstDash val="solid"/>
              <a:miter/>
            </a:ln>
          </p:spPr>
          <p:txBody>
            <a:bodyPr rtlCol="0" anchor="ctr"/>
            <a:lstStyle/>
            <a:p>
              <a:endParaRPr lang="ja-JP" altLang="en-US"/>
            </a:p>
          </p:txBody>
        </p:sp>
        <p:sp>
          <p:nvSpPr>
            <p:cNvPr id="18" name="フリーフォーム: 図形 12"/>
            <p:cNvSpPr/>
            <p:nvPr/>
          </p:nvSpPr>
          <p:spPr>
            <a:xfrm>
              <a:off x="6793496" y="4397940"/>
              <a:ext cx="142875" cy="161925"/>
            </a:xfrm>
            <a:custGeom>
              <a:avLst/>
              <a:gdLst>
                <a:gd name="connsiteX0" fmla="*/ 140103 w 142875"/>
                <a:gd name="connsiteY0" fmla="*/ 7144 h 161925"/>
                <a:gd name="connsiteX1" fmla="*/ 94688 w 142875"/>
                <a:gd name="connsiteY1" fmla="*/ 7144 h 161925"/>
                <a:gd name="connsiteX2" fmla="*/ 7144 w 142875"/>
                <a:gd name="connsiteY2" fmla="*/ 156038 h 161925"/>
                <a:gd name="connsiteX3" fmla="*/ 54502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40103" y="7144"/>
                  </a:moveTo>
                  <a:lnTo>
                    <a:pt x="94688" y="7144"/>
                  </a:lnTo>
                  <a:lnTo>
                    <a:pt x="7144" y="156038"/>
                  </a:lnTo>
                  <a:lnTo>
                    <a:pt x="54502" y="156038"/>
                  </a:lnTo>
                  <a:close/>
                </a:path>
              </a:pathLst>
            </a:custGeom>
            <a:solidFill>
              <a:srgbClr val="000000"/>
            </a:solidFill>
            <a:ln w="9525" cap="flat">
              <a:noFill/>
              <a:prstDash val="solid"/>
              <a:miter/>
            </a:ln>
          </p:spPr>
          <p:txBody>
            <a:bodyPr rtlCol="0" anchor="ctr"/>
            <a:lstStyle/>
            <a:p>
              <a:endParaRPr lang="ja-JP" altLang="en-US"/>
            </a:p>
          </p:txBody>
        </p:sp>
        <p:sp>
          <p:nvSpPr>
            <p:cNvPr id="19" name="フリーフォーム: 図形 13"/>
            <p:cNvSpPr/>
            <p:nvPr/>
          </p:nvSpPr>
          <p:spPr>
            <a:xfrm>
              <a:off x="6513375" y="4397940"/>
              <a:ext cx="142875" cy="161925"/>
            </a:xfrm>
            <a:custGeom>
              <a:avLst/>
              <a:gdLst>
                <a:gd name="connsiteX0" fmla="*/ 139398 w 142875"/>
                <a:gd name="connsiteY0" fmla="*/ 156038 h 161925"/>
                <a:gd name="connsiteX1" fmla="*/ 52445 w 142875"/>
                <a:gd name="connsiteY1" fmla="*/ 7144 h 161925"/>
                <a:gd name="connsiteX2" fmla="*/ 7144 w 142875"/>
                <a:gd name="connsiteY2" fmla="*/ 7144 h 161925"/>
                <a:gd name="connsiteX3" fmla="*/ 92069 w 142875"/>
                <a:gd name="connsiteY3" fmla="*/ 156038 h 161925"/>
              </a:gdLst>
              <a:ahLst/>
              <a:cxnLst>
                <a:cxn ang="0">
                  <a:pos x="connsiteX0" y="connsiteY0"/>
                </a:cxn>
                <a:cxn ang="0">
                  <a:pos x="connsiteX1" y="connsiteY1"/>
                </a:cxn>
                <a:cxn ang="0">
                  <a:pos x="connsiteX2" y="connsiteY2"/>
                </a:cxn>
                <a:cxn ang="0">
                  <a:pos x="connsiteX3" y="connsiteY3"/>
                </a:cxn>
              </a:cxnLst>
              <a:rect l="l" t="t" r="r" b="b"/>
              <a:pathLst>
                <a:path w="142875" h="161925">
                  <a:moveTo>
                    <a:pt x="139398" y="156038"/>
                  </a:moveTo>
                  <a:lnTo>
                    <a:pt x="52445" y="7144"/>
                  </a:lnTo>
                  <a:lnTo>
                    <a:pt x="7144" y="7144"/>
                  </a:lnTo>
                  <a:lnTo>
                    <a:pt x="92069" y="156038"/>
                  </a:lnTo>
                  <a:close/>
                </a:path>
              </a:pathLst>
            </a:custGeom>
            <a:solidFill>
              <a:srgbClr val="000000"/>
            </a:solidFill>
            <a:ln w="9525" cap="flat">
              <a:noFill/>
              <a:prstDash val="solid"/>
              <a:miter/>
            </a:ln>
          </p:spPr>
          <p:txBody>
            <a:bodyPr rtlCol="0" anchor="ctr"/>
            <a:lstStyle/>
            <a:p>
              <a:endParaRPr lang="ja-JP" altLang="en-US"/>
            </a:p>
          </p:txBody>
        </p:sp>
        <p:sp>
          <p:nvSpPr>
            <p:cNvPr id="20" name="フリーフォーム: 図形 14"/>
            <p:cNvSpPr/>
            <p:nvPr/>
          </p:nvSpPr>
          <p:spPr>
            <a:xfrm>
              <a:off x="6150387" y="4397940"/>
              <a:ext cx="219075" cy="476250"/>
            </a:xfrm>
            <a:custGeom>
              <a:avLst/>
              <a:gdLst>
                <a:gd name="connsiteX0" fmla="*/ 11240 w 219075"/>
                <a:gd name="connsiteY0" fmla="*/ 304905 h 476250"/>
                <a:gd name="connsiteX1" fmla="*/ 46939 w 219075"/>
                <a:gd name="connsiteY1" fmla="*/ 304905 h 476250"/>
                <a:gd name="connsiteX2" fmla="*/ 7144 w 219075"/>
                <a:gd name="connsiteY2" fmla="*/ 477040 h 476250"/>
                <a:gd name="connsiteX3" fmla="*/ 48559 w 219075"/>
                <a:gd name="connsiteY3" fmla="*/ 477040 h 476250"/>
                <a:gd name="connsiteX4" fmla="*/ 88278 w 219075"/>
                <a:gd name="connsiteY4" fmla="*/ 304905 h 476250"/>
                <a:gd name="connsiteX5" fmla="*/ 112071 w 219075"/>
                <a:gd name="connsiteY5" fmla="*/ 304905 h 476250"/>
                <a:gd name="connsiteX6" fmla="*/ 112071 w 219075"/>
                <a:gd name="connsiteY6" fmla="*/ 477040 h 476250"/>
                <a:gd name="connsiteX7" fmla="*/ 219446 w 219075"/>
                <a:gd name="connsiteY7" fmla="*/ 477040 h 476250"/>
                <a:gd name="connsiteX8" fmla="*/ 219446 w 219075"/>
                <a:gd name="connsiteY8" fmla="*/ 437455 h 476250"/>
                <a:gd name="connsiteX9" fmla="*/ 152572 w 219075"/>
                <a:gd name="connsiteY9" fmla="*/ 437455 h 476250"/>
                <a:gd name="connsiteX10" fmla="*/ 152572 w 219075"/>
                <a:gd name="connsiteY10" fmla="*/ 304905 h 476250"/>
                <a:gd name="connsiteX11" fmla="*/ 193015 w 219075"/>
                <a:gd name="connsiteY11" fmla="*/ 304905 h 476250"/>
                <a:gd name="connsiteX12" fmla="*/ 193015 w 219075"/>
                <a:gd name="connsiteY12" fmla="*/ 7144 h 476250"/>
                <a:gd name="connsiteX13" fmla="*/ 11240 w 219075"/>
                <a:gd name="connsiteY13" fmla="*/ 7144 h 476250"/>
                <a:gd name="connsiteX14" fmla="*/ 11240 w 219075"/>
                <a:gd name="connsiteY14" fmla="*/ 304905 h 476250"/>
                <a:gd name="connsiteX15" fmla="*/ 51740 w 219075"/>
                <a:gd name="connsiteY15" fmla="*/ 46682 h 476250"/>
                <a:gd name="connsiteX16" fmla="*/ 152572 w 219075"/>
                <a:gd name="connsiteY16" fmla="*/ 46682 h 476250"/>
                <a:gd name="connsiteX17" fmla="*/ 152572 w 219075"/>
                <a:gd name="connsiteY17" fmla="*/ 93173 h 476250"/>
                <a:gd name="connsiteX18" fmla="*/ 51740 w 219075"/>
                <a:gd name="connsiteY18" fmla="*/ 93173 h 476250"/>
                <a:gd name="connsiteX19" fmla="*/ 51740 w 219075"/>
                <a:gd name="connsiteY19" fmla="*/ 46682 h 476250"/>
                <a:gd name="connsiteX20" fmla="*/ 51740 w 219075"/>
                <a:gd name="connsiteY20" fmla="*/ 132826 h 476250"/>
                <a:gd name="connsiteX21" fmla="*/ 152572 w 219075"/>
                <a:gd name="connsiteY21" fmla="*/ 132826 h 476250"/>
                <a:gd name="connsiteX22" fmla="*/ 152572 w 219075"/>
                <a:gd name="connsiteY22" fmla="*/ 179241 h 476250"/>
                <a:gd name="connsiteX23" fmla="*/ 51740 w 219075"/>
                <a:gd name="connsiteY23" fmla="*/ 179241 h 476250"/>
                <a:gd name="connsiteX24" fmla="*/ 51740 w 219075"/>
                <a:gd name="connsiteY24" fmla="*/ 132826 h 476250"/>
                <a:gd name="connsiteX25" fmla="*/ 51740 w 219075"/>
                <a:gd name="connsiteY25" fmla="*/ 265338 h 476250"/>
                <a:gd name="connsiteX26" fmla="*/ 51740 w 219075"/>
                <a:gd name="connsiteY26" fmla="*/ 218884 h 476250"/>
                <a:gd name="connsiteX27" fmla="*/ 152572 w 219075"/>
                <a:gd name="connsiteY27" fmla="*/ 218884 h 476250"/>
                <a:gd name="connsiteX28" fmla="*/ 152572 w 219075"/>
                <a:gd name="connsiteY28" fmla="*/ 265338 h 476250"/>
                <a:gd name="connsiteX29" fmla="*/ 51740 w 219075"/>
                <a:gd name="connsiteY29" fmla="*/ 26533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9075" h="476250">
                  <a:moveTo>
                    <a:pt x="11240" y="304905"/>
                  </a:moveTo>
                  <a:lnTo>
                    <a:pt x="46939" y="304905"/>
                  </a:lnTo>
                  <a:lnTo>
                    <a:pt x="7144" y="477040"/>
                  </a:lnTo>
                  <a:lnTo>
                    <a:pt x="48559" y="477040"/>
                  </a:lnTo>
                  <a:lnTo>
                    <a:pt x="88278" y="304905"/>
                  </a:lnTo>
                  <a:lnTo>
                    <a:pt x="112071" y="304905"/>
                  </a:lnTo>
                  <a:lnTo>
                    <a:pt x="112071" y="477040"/>
                  </a:lnTo>
                  <a:lnTo>
                    <a:pt x="219446" y="477040"/>
                  </a:lnTo>
                  <a:lnTo>
                    <a:pt x="219446" y="437455"/>
                  </a:lnTo>
                  <a:lnTo>
                    <a:pt x="152572" y="437455"/>
                  </a:lnTo>
                  <a:lnTo>
                    <a:pt x="152572" y="304905"/>
                  </a:lnTo>
                  <a:lnTo>
                    <a:pt x="193015" y="304905"/>
                  </a:lnTo>
                  <a:lnTo>
                    <a:pt x="193015" y="7144"/>
                  </a:lnTo>
                  <a:lnTo>
                    <a:pt x="11240" y="7144"/>
                  </a:lnTo>
                  <a:lnTo>
                    <a:pt x="11240" y="304905"/>
                  </a:lnTo>
                  <a:close/>
                  <a:moveTo>
                    <a:pt x="51740" y="46682"/>
                  </a:moveTo>
                  <a:lnTo>
                    <a:pt x="152572" y="46682"/>
                  </a:lnTo>
                  <a:lnTo>
                    <a:pt x="152572" y="93173"/>
                  </a:lnTo>
                  <a:lnTo>
                    <a:pt x="51740" y="93173"/>
                  </a:lnTo>
                  <a:lnTo>
                    <a:pt x="51740" y="46682"/>
                  </a:lnTo>
                  <a:close/>
                  <a:moveTo>
                    <a:pt x="51740" y="132826"/>
                  </a:moveTo>
                  <a:lnTo>
                    <a:pt x="152572" y="132826"/>
                  </a:lnTo>
                  <a:lnTo>
                    <a:pt x="152572" y="179241"/>
                  </a:lnTo>
                  <a:lnTo>
                    <a:pt x="51740" y="179241"/>
                  </a:lnTo>
                  <a:lnTo>
                    <a:pt x="51740" y="132826"/>
                  </a:lnTo>
                  <a:close/>
                  <a:moveTo>
                    <a:pt x="51740" y="265338"/>
                  </a:moveTo>
                  <a:lnTo>
                    <a:pt x="51740" y="218884"/>
                  </a:lnTo>
                  <a:lnTo>
                    <a:pt x="152572" y="218884"/>
                  </a:lnTo>
                  <a:lnTo>
                    <a:pt x="152572" y="265338"/>
                  </a:lnTo>
                  <a:lnTo>
                    <a:pt x="51740" y="265338"/>
                  </a:lnTo>
                  <a:close/>
                </a:path>
              </a:pathLst>
            </a:custGeom>
            <a:solidFill>
              <a:srgbClr val="000000"/>
            </a:solidFill>
            <a:ln w="9525" cap="flat">
              <a:noFill/>
              <a:prstDash val="solid"/>
              <a:miter/>
            </a:ln>
          </p:spPr>
          <p:txBody>
            <a:bodyPr rtlCol="0" anchor="ctr"/>
            <a:lstStyle/>
            <a:p>
              <a:endParaRPr lang="ja-JP" altLang="en-US"/>
            </a:p>
          </p:txBody>
        </p:sp>
        <p:sp>
          <p:nvSpPr>
            <p:cNvPr id="21" name="フリーフォーム: 図形 15"/>
            <p:cNvSpPr/>
            <p:nvPr/>
          </p:nvSpPr>
          <p:spPr>
            <a:xfrm>
              <a:off x="5863313" y="4363783"/>
              <a:ext cx="285750" cy="514350"/>
            </a:xfrm>
            <a:custGeom>
              <a:avLst/>
              <a:gdLst>
                <a:gd name="connsiteX0" fmla="*/ 284912 w 285750"/>
                <a:gd name="connsiteY0" fmla="*/ 511207 h 514350"/>
                <a:gd name="connsiteX1" fmla="*/ 284912 w 285750"/>
                <a:gd name="connsiteY1" fmla="*/ 471621 h 514350"/>
                <a:gd name="connsiteX2" fmla="*/ 214093 w 285750"/>
                <a:gd name="connsiteY2" fmla="*/ 471621 h 514350"/>
                <a:gd name="connsiteX3" fmla="*/ 214093 w 285750"/>
                <a:gd name="connsiteY3" fmla="*/ 425186 h 514350"/>
                <a:gd name="connsiteX4" fmla="*/ 284912 w 285750"/>
                <a:gd name="connsiteY4" fmla="*/ 425186 h 514350"/>
                <a:gd name="connsiteX5" fmla="*/ 284912 w 285750"/>
                <a:gd name="connsiteY5" fmla="*/ 385543 h 514350"/>
                <a:gd name="connsiteX6" fmla="*/ 214093 w 285750"/>
                <a:gd name="connsiteY6" fmla="*/ 385543 h 514350"/>
                <a:gd name="connsiteX7" fmla="*/ 214093 w 285750"/>
                <a:gd name="connsiteY7" fmla="*/ 339071 h 514350"/>
                <a:gd name="connsiteX8" fmla="*/ 284912 w 285750"/>
                <a:gd name="connsiteY8" fmla="*/ 339071 h 514350"/>
                <a:gd name="connsiteX9" fmla="*/ 284912 w 285750"/>
                <a:gd name="connsiteY9" fmla="*/ 299504 h 514350"/>
                <a:gd name="connsiteX10" fmla="*/ 214093 w 285750"/>
                <a:gd name="connsiteY10" fmla="*/ 299504 h 514350"/>
                <a:gd name="connsiteX11" fmla="*/ 214093 w 285750"/>
                <a:gd name="connsiteY11" fmla="*/ 253051 h 514350"/>
                <a:gd name="connsiteX12" fmla="*/ 284912 w 285750"/>
                <a:gd name="connsiteY12" fmla="*/ 253051 h 514350"/>
                <a:gd name="connsiteX13" fmla="*/ 284912 w 285750"/>
                <a:gd name="connsiteY13" fmla="*/ 213408 h 514350"/>
                <a:gd name="connsiteX14" fmla="*/ 214093 w 285750"/>
                <a:gd name="connsiteY14" fmla="*/ 213408 h 514350"/>
                <a:gd name="connsiteX15" fmla="*/ 214093 w 285750"/>
                <a:gd name="connsiteY15" fmla="*/ 181318 h 514350"/>
                <a:gd name="connsiteX16" fmla="*/ 173574 w 285750"/>
                <a:gd name="connsiteY16" fmla="*/ 181318 h 514350"/>
                <a:gd name="connsiteX17" fmla="*/ 173574 w 285750"/>
                <a:gd name="connsiteY17" fmla="*/ 213408 h 514350"/>
                <a:gd name="connsiteX18" fmla="*/ 96479 w 285750"/>
                <a:gd name="connsiteY18" fmla="*/ 213408 h 514350"/>
                <a:gd name="connsiteX19" fmla="*/ 122729 w 285750"/>
                <a:gd name="connsiteY19" fmla="*/ 166992 h 514350"/>
                <a:gd name="connsiteX20" fmla="*/ 284912 w 285750"/>
                <a:gd name="connsiteY20" fmla="*/ 166992 h 514350"/>
                <a:gd name="connsiteX21" fmla="*/ 284912 w 285750"/>
                <a:gd name="connsiteY21" fmla="*/ 127340 h 514350"/>
                <a:gd name="connsiteX22" fmla="*/ 146256 w 285750"/>
                <a:gd name="connsiteY22" fmla="*/ 127340 h 514350"/>
                <a:gd name="connsiteX23" fmla="*/ 172412 w 285750"/>
                <a:gd name="connsiteY23" fmla="*/ 80848 h 514350"/>
                <a:gd name="connsiteX24" fmla="*/ 284912 w 285750"/>
                <a:gd name="connsiteY24" fmla="*/ 80848 h 514350"/>
                <a:gd name="connsiteX25" fmla="*/ 284912 w 285750"/>
                <a:gd name="connsiteY25" fmla="*/ 41310 h 514350"/>
                <a:gd name="connsiteX26" fmla="*/ 90135 w 285750"/>
                <a:gd name="connsiteY26" fmla="*/ 41310 h 514350"/>
                <a:gd name="connsiteX27" fmla="*/ 109737 w 285750"/>
                <a:gd name="connsiteY27" fmla="*/ 7144 h 514350"/>
                <a:gd name="connsiteX28" fmla="*/ 63189 w 285750"/>
                <a:gd name="connsiteY28" fmla="*/ 7144 h 514350"/>
                <a:gd name="connsiteX29" fmla="*/ 20288 w 285750"/>
                <a:gd name="connsiteY29" fmla="*/ 80848 h 514350"/>
                <a:gd name="connsiteX30" fmla="*/ 125778 w 285750"/>
                <a:gd name="connsiteY30" fmla="*/ 80848 h 514350"/>
                <a:gd name="connsiteX31" fmla="*/ 99622 w 285750"/>
                <a:gd name="connsiteY31" fmla="*/ 127340 h 514350"/>
                <a:gd name="connsiteX32" fmla="*/ 20288 w 285750"/>
                <a:gd name="connsiteY32" fmla="*/ 127340 h 514350"/>
                <a:gd name="connsiteX33" fmla="*/ 20288 w 285750"/>
                <a:gd name="connsiteY33" fmla="*/ 166992 h 514350"/>
                <a:gd name="connsiteX34" fmla="*/ 76105 w 285750"/>
                <a:gd name="connsiteY34" fmla="*/ 166992 h 514350"/>
                <a:gd name="connsiteX35" fmla="*/ 7144 w 285750"/>
                <a:gd name="connsiteY35" fmla="*/ 287188 h 514350"/>
                <a:gd name="connsiteX36" fmla="*/ 53730 w 285750"/>
                <a:gd name="connsiteY36" fmla="*/ 287188 h 514350"/>
                <a:gd name="connsiteX37" fmla="*/ 62941 w 285750"/>
                <a:gd name="connsiteY37" fmla="*/ 271129 h 514350"/>
                <a:gd name="connsiteX38" fmla="*/ 62941 w 285750"/>
                <a:gd name="connsiteY38" fmla="*/ 511207 h 514350"/>
                <a:gd name="connsiteX39" fmla="*/ 284912 w 285750"/>
                <a:gd name="connsiteY39" fmla="*/ 511207 h 514350"/>
                <a:gd name="connsiteX40" fmla="*/ 173574 w 285750"/>
                <a:gd name="connsiteY40" fmla="*/ 471611 h 514350"/>
                <a:gd name="connsiteX41" fmla="*/ 103270 w 285750"/>
                <a:gd name="connsiteY41" fmla="*/ 471611 h 514350"/>
                <a:gd name="connsiteX42" fmla="*/ 103270 w 285750"/>
                <a:gd name="connsiteY42" fmla="*/ 425177 h 514350"/>
                <a:gd name="connsiteX43" fmla="*/ 173574 w 285750"/>
                <a:gd name="connsiteY43" fmla="*/ 425177 h 514350"/>
                <a:gd name="connsiteX44" fmla="*/ 173574 w 285750"/>
                <a:gd name="connsiteY44" fmla="*/ 471611 h 514350"/>
                <a:gd name="connsiteX45" fmla="*/ 173574 w 285750"/>
                <a:gd name="connsiteY45" fmla="*/ 385534 h 514350"/>
                <a:gd name="connsiteX46" fmla="*/ 103270 w 285750"/>
                <a:gd name="connsiteY46" fmla="*/ 385534 h 514350"/>
                <a:gd name="connsiteX47" fmla="*/ 103270 w 285750"/>
                <a:gd name="connsiteY47" fmla="*/ 339061 h 514350"/>
                <a:gd name="connsiteX48" fmla="*/ 173574 w 285750"/>
                <a:gd name="connsiteY48" fmla="*/ 339061 h 514350"/>
                <a:gd name="connsiteX49" fmla="*/ 173574 w 285750"/>
                <a:gd name="connsiteY49" fmla="*/ 385534 h 514350"/>
                <a:gd name="connsiteX50" fmla="*/ 173574 w 285750"/>
                <a:gd name="connsiteY50" fmla="*/ 253041 h 514350"/>
                <a:gd name="connsiteX51" fmla="*/ 173574 w 285750"/>
                <a:gd name="connsiteY51" fmla="*/ 299495 h 514350"/>
                <a:gd name="connsiteX52" fmla="*/ 103270 w 285750"/>
                <a:gd name="connsiteY52" fmla="*/ 299495 h 514350"/>
                <a:gd name="connsiteX53" fmla="*/ 103270 w 285750"/>
                <a:gd name="connsiteY53" fmla="*/ 253041 h 514350"/>
                <a:gd name="connsiteX54" fmla="*/ 173574 w 285750"/>
                <a:gd name="connsiteY54" fmla="*/ 253041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514350">
                  <a:moveTo>
                    <a:pt x="284912" y="511207"/>
                  </a:moveTo>
                  <a:lnTo>
                    <a:pt x="284912" y="471621"/>
                  </a:lnTo>
                  <a:lnTo>
                    <a:pt x="214093" y="471621"/>
                  </a:lnTo>
                  <a:lnTo>
                    <a:pt x="214093" y="425186"/>
                  </a:lnTo>
                  <a:lnTo>
                    <a:pt x="284912" y="425186"/>
                  </a:lnTo>
                  <a:lnTo>
                    <a:pt x="284912" y="385543"/>
                  </a:lnTo>
                  <a:lnTo>
                    <a:pt x="214093" y="385543"/>
                  </a:lnTo>
                  <a:lnTo>
                    <a:pt x="214093" y="339071"/>
                  </a:lnTo>
                  <a:lnTo>
                    <a:pt x="284912" y="339071"/>
                  </a:lnTo>
                  <a:lnTo>
                    <a:pt x="284912" y="299504"/>
                  </a:lnTo>
                  <a:lnTo>
                    <a:pt x="214093" y="299504"/>
                  </a:lnTo>
                  <a:lnTo>
                    <a:pt x="214093" y="253051"/>
                  </a:lnTo>
                  <a:lnTo>
                    <a:pt x="284912" y="253051"/>
                  </a:lnTo>
                  <a:lnTo>
                    <a:pt x="284912" y="213408"/>
                  </a:lnTo>
                  <a:lnTo>
                    <a:pt x="214093" y="213408"/>
                  </a:lnTo>
                  <a:lnTo>
                    <a:pt x="214093" y="181318"/>
                  </a:lnTo>
                  <a:lnTo>
                    <a:pt x="173574" y="181318"/>
                  </a:lnTo>
                  <a:lnTo>
                    <a:pt x="173574" y="213408"/>
                  </a:lnTo>
                  <a:lnTo>
                    <a:pt x="96479" y="213408"/>
                  </a:lnTo>
                  <a:lnTo>
                    <a:pt x="122729" y="166992"/>
                  </a:lnTo>
                  <a:lnTo>
                    <a:pt x="284912" y="166992"/>
                  </a:lnTo>
                  <a:lnTo>
                    <a:pt x="284912" y="127340"/>
                  </a:lnTo>
                  <a:lnTo>
                    <a:pt x="146256" y="127340"/>
                  </a:lnTo>
                  <a:lnTo>
                    <a:pt x="172412" y="80848"/>
                  </a:lnTo>
                  <a:lnTo>
                    <a:pt x="284912" y="80848"/>
                  </a:lnTo>
                  <a:lnTo>
                    <a:pt x="284912" y="41310"/>
                  </a:lnTo>
                  <a:lnTo>
                    <a:pt x="90135" y="41310"/>
                  </a:lnTo>
                  <a:lnTo>
                    <a:pt x="109737" y="7144"/>
                  </a:lnTo>
                  <a:lnTo>
                    <a:pt x="63189" y="7144"/>
                  </a:lnTo>
                  <a:lnTo>
                    <a:pt x="20288" y="80848"/>
                  </a:lnTo>
                  <a:lnTo>
                    <a:pt x="125778" y="80848"/>
                  </a:lnTo>
                  <a:lnTo>
                    <a:pt x="99622" y="127340"/>
                  </a:lnTo>
                  <a:lnTo>
                    <a:pt x="20288" y="127340"/>
                  </a:lnTo>
                  <a:lnTo>
                    <a:pt x="20288" y="166992"/>
                  </a:lnTo>
                  <a:lnTo>
                    <a:pt x="76105" y="166992"/>
                  </a:lnTo>
                  <a:lnTo>
                    <a:pt x="7144" y="287188"/>
                  </a:lnTo>
                  <a:lnTo>
                    <a:pt x="53730" y="287188"/>
                  </a:lnTo>
                  <a:lnTo>
                    <a:pt x="62941" y="271129"/>
                  </a:lnTo>
                  <a:lnTo>
                    <a:pt x="62941" y="511207"/>
                  </a:lnTo>
                  <a:lnTo>
                    <a:pt x="284912" y="511207"/>
                  </a:lnTo>
                  <a:close/>
                  <a:moveTo>
                    <a:pt x="173574" y="471611"/>
                  </a:moveTo>
                  <a:lnTo>
                    <a:pt x="103270" y="471611"/>
                  </a:lnTo>
                  <a:lnTo>
                    <a:pt x="103270" y="425177"/>
                  </a:lnTo>
                  <a:lnTo>
                    <a:pt x="173574" y="425177"/>
                  </a:lnTo>
                  <a:lnTo>
                    <a:pt x="173574" y="471611"/>
                  </a:lnTo>
                  <a:close/>
                  <a:moveTo>
                    <a:pt x="173574" y="385534"/>
                  </a:moveTo>
                  <a:lnTo>
                    <a:pt x="103270" y="385534"/>
                  </a:lnTo>
                  <a:lnTo>
                    <a:pt x="103270" y="339061"/>
                  </a:lnTo>
                  <a:lnTo>
                    <a:pt x="173574" y="339061"/>
                  </a:lnTo>
                  <a:lnTo>
                    <a:pt x="173574" y="385534"/>
                  </a:lnTo>
                  <a:close/>
                  <a:moveTo>
                    <a:pt x="173574" y="253041"/>
                  </a:moveTo>
                  <a:lnTo>
                    <a:pt x="173574" y="299495"/>
                  </a:lnTo>
                  <a:lnTo>
                    <a:pt x="103270" y="299495"/>
                  </a:lnTo>
                  <a:lnTo>
                    <a:pt x="103270" y="253041"/>
                  </a:lnTo>
                  <a:lnTo>
                    <a:pt x="173574" y="253041"/>
                  </a:lnTo>
                  <a:close/>
                </a:path>
              </a:pathLst>
            </a:custGeom>
            <a:solidFill>
              <a:srgbClr val="000000"/>
            </a:solidFill>
            <a:ln w="9525" cap="flat">
              <a:noFill/>
              <a:prstDash val="solid"/>
              <a:miter/>
            </a:ln>
          </p:spPr>
          <p:txBody>
            <a:bodyPr rtlCol="0" anchor="ctr"/>
            <a:lstStyle/>
            <a:p>
              <a:endParaRPr lang="ja-JP" altLang="en-US"/>
            </a:p>
          </p:txBody>
        </p:sp>
        <p:sp>
          <p:nvSpPr>
            <p:cNvPr id="22" name="フリーフォーム: 図形 16"/>
            <p:cNvSpPr/>
            <p:nvPr/>
          </p:nvSpPr>
          <p:spPr>
            <a:xfrm>
              <a:off x="5899880" y="4139269"/>
              <a:ext cx="190500" cy="200025"/>
            </a:xfrm>
            <a:custGeom>
              <a:avLst/>
              <a:gdLst>
                <a:gd name="connsiteX0" fmla="*/ 184747 w 190500"/>
                <a:gd name="connsiteY0" fmla="*/ 7144 h 200025"/>
                <a:gd name="connsiteX1" fmla="*/ 184747 w 190500"/>
                <a:gd name="connsiteY1" fmla="*/ 193138 h 200025"/>
                <a:gd name="connsiteX2" fmla="*/ 173031 w 190500"/>
                <a:gd name="connsiteY2" fmla="*/ 193138 h 200025"/>
                <a:gd name="connsiteX3" fmla="*/ 173031 w 190500"/>
                <a:gd name="connsiteY3" fmla="*/ 183804 h 200025"/>
                <a:gd name="connsiteX4" fmla="*/ 19136 w 190500"/>
                <a:gd name="connsiteY4" fmla="*/ 183804 h 200025"/>
                <a:gd name="connsiteX5" fmla="*/ 19136 w 190500"/>
                <a:gd name="connsiteY5" fmla="*/ 193138 h 200025"/>
                <a:gd name="connsiteX6" fmla="*/ 7144 w 190500"/>
                <a:gd name="connsiteY6" fmla="*/ 193138 h 200025"/>
                <a:gd name="connsiteX7" fmla="*/ 7144 w 190500"/>
                <a:gd name="connsiteY7" fmla="*/ 7144 h 200025"/>
                <a:gd name="connsiteX8" fmla="*/ 184747 w 190500"/>
                <a:gd name="connsiteY8" fmla="*/ 7144 h 200025"/>
                <a:gd name="connsiteX9" fmla="*/ 173022 w 190500"/>
                <a:gd name="connsiteY9" fmla="*/ 17478 h 200025"/>
                <a:gd name="connsiteX10" fmla="*/ 19126 w 190500"/>
                <a:gd name="connsiteY10" fmla="*/ 17478 h 200025"/>
                <a:gd name="connsiteX11" fmla="*/ 19126 w 190500"/>
                <a:gd name="connsiteY11" fmla="*/ 174355 h 200025"/>
                <a:gd name="connsiteX12" fmla="*/ 173022 w 190500"/>
                <a:gd name="connsiteY12" fmla="*/ 174355 h 200025"/>
                <a:gd name="connsiteX13" fmla="*/ 173022 w 190500"/>
                <a:gd name="connsiteY13" fmla="*/ 17478 h 200025"/>
                <a:gd name="connsiteX14" fmla="*/ 159477 w 190500"/>
                <a:gd name="connsiteY14" fmla="*/ 35919 h 200025"/>
                <a:gd name="connsiteX15" fmla="*/ 159477 w 190500"/>
                <a:gd name="connsiteY15" fmla="*/ 46253 h 200025"/>
                <a:gd name="connsiteX16" fmla="*/ 100212 w 190500"/>
                <a:gd name="connsiteY16" fmla="*/ 46253 h 200025"/>
                <a:gd name="connsiteX17" fmla="*/ 100212 w 190500"/>
                <a:gd name="connsiteY17" fmla="*/ 87097 h 200025"/>
                <a:gd name="connsiteX18" fmla="*/ 155372 w 190500"/>
                <a:gd name="connsiteY18" fmla="*/ 87097 h 200025"/>
                <a:gd name="connsiteX19" fmla="*/ 155372 w 190500"/>
                <a:gd name="connsiteY19" fmla="*/ 95698 h 200025"/>
                <a:gd name="connsiteX20" fmla="*/ 100212 w 190500"/>
                <a:gd name="connsiteY20" fmla="*/ 95698 h 200025"/>
                <a:gd name="connsiteX21" fmla="*/ 100212 w 190500"/>
                <a:gd name="connsiteY21" fmla="*/ 144485 h 200025"/>
                <a:gd name="connsiteX22" fmla="*/ 162639 w 190500"/>
                <a:gd name="connsiteY22" fmla="*/ 144485 h 200025"/>
                <a:gd name="connsiteX23" fmla="*/ 162639 w 190500"/>
                <a:gd name="connsiteY23" fmla="*/ 155010 h 200025"/>
                <a:gd name="connsiteX24" fmla="*/ 29899 w 190500"/>
                <a:gd name="connsiteY24" fmla="*/ 155010 h 200025"/>
                <a:gd name="connsiteX25" fmla="*/ 29899 w 190500"/>
                <a:gd name="connsiteY25" fmla="*/ 144485 h 200025"/>
                <a:gd name="connsiteX26" fmla="*/ 89106 w 190500"/>
                <a:gd name="connsiteY26" fmla="*/ 144485 h 200025"/>
                <a:gd name="connsiteX27" fmla="*/ 89106 w 190500"/>
                <a:gd name="connsiteY27" fmla="*/ 95698 h 200025"/>
                <a:gd name="connsiteX28" fmla="*/ 37585 w 190500"/>
                <a:gd name="connsiteY28" fmla="*/ 95698 h 200025"/>
                <a:gd name="connsiteX29" fmla="*/ 37585 w 190500"/>
                <a:gd name="connsiteY29" fmla="*/ 87097 h 200025"/>
                <a:gd name="connsiteX30" fmla="*/ 89106 w 190500"/>
                <a:gd name="connsiteY30" fmla="*/ 87097 h 200025"/>
                <a:gd name="connsiteX31" fmla="*/ 89106 w 190500"/>
                <a:gd name="connsiteY31" fmla="*/ 46253 h 200025"/>
                <a:gd name="connsiteX32" fmla="*/ 34052 w 190500"/>
                <a:gd name="connsiteY32" fmla="*/ 46253 h 200025"/>
                <a:gd name="connsiteX33" fmla="*/ 34052 w 190500"/>
                <a:gd name="connsiteY33" fmla="*/ 35919 h 200025"/>
                <a:gd name="connsiteX34" fmla="*/ 159477 w 190500"/>
                <a:gd name="connsiteY34" fmla="*/ 35919 h 200025"/>
                <a:gd name="connsiteX35" fmla="*/ 134198 w 190500"/>
                <a:gd name="connsiteY35" fmla="*/ 138455 h 200025"/>
                <a:gd name="connsiteX36" fmla="*/ 112462 w 190500"/>
                <a:gd name="connsiteY36" fmla="*/ 109042 h 200025"/>
                <a:gd name="connsiteX37" fmla="*/ 120853 w 190500"/>
                <a:gd name="connsiteY37" fmla="*/ 102413 h 200025"/>
                <a:gd name="connsiteX38" fmla="*/ 143351 w 190500"/>
                <a:gd name="connsiteY38" fmla="*/ 131388 h 200025"/>
                <a:gd name="connsiteX39" fmla="*/ 134198 w 190500"/>
                <a:gd name="connsiteY39" fmla="*/ 138455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0500" h="200025">
                  <a:moveTo>
                    <a:pt x="184747" y="7144"/>
                  </a:moveTo>
                  <a:lnTo>
                    <a:pt x="184747" y="193138"/>
                  </a:lnTo>
                  <a:lnTo>
                    <a:pt x="173031" y="193138"/>
                  </a:lnTo>
                  <a:lnTo>
                    <a:pt x="173031" y="183804"/>
                  </a:lnTo>
                  <a:lnTo>
                    <a:pt x="19136" y="183804"/>
                  </a:lnTo>
                  <a:lnTo>
                    <a:pt x="19136" y="193138"/>
                  </a:lnTo>
                  <a:lnTo>
                    <a:pt x="7144" y="193138"/>
                  </a:lnTo>
                  <a:lnTo>
                    <a:pt x="7144" y="7144"/>
                  </a:lnTo>
                  <a:lnTo>
                    <a:pt x="184747" y="7144"/>
                  </a:lnTo>
                  <a:close/>
                  <a:moveTo>
                    <a:pt x="173022" y="17478"/>
                  </a:moveTo>
                  <a:lnTo>
                    <a:pt x="19126" y="17478"/>
                  </a:lnTo>
                  <a:lnTo>
                    <a:pt x="19126" y="174355"/>
                  </a:lnTo>
                  <a:lnTo>
                    <a:pt x="173022" y="174355"/>
                  </a:lnTo>
                  <a:lnTo>
                    <a:pt x="173022" y="17478"/>
                  </a:lnTo>
                  <a:close/>
                  <a:moveTo>
                    <a:pt x="159477" y="35919"/>
                  </a:moveTo>
                  <a:lnTo>
                    <a:pt x="159477" y="46253"/>
                  </a:lnTo>
                  <a:lnTo>
                    <a:pt x="100212" y="46253"/>
                  </a:lnTo>
                  <a:lnTo>
                    <a:pt x="100212" y="87097"/>
                  </a:lnTo>
                  <a:lnTo>
                    <a:pt x="155372" y="87097"/>
                  </a:lnTo>
                  <a:lnTo>
                    <a:pt x="155372" y="95698"/>
                  </a:lnTo>
                  <a:lnTo>
                    <a:pt x="100212" y="95698"/>
                  </a:lnTo>
                  <a:lnTo>
                    <a:pt x="100212" y="144485"/>
                  </a:lnTo>
                  <a:lnTo>
                    <a:pt x="162639" y="144485"/>
                  </a:lnTo>
                  <a:lnTo>
                    <a:pt x="162639" y="155010"/>
                  </a:lnTo>
                  <a:lnTo>
                    <a:pt x="29899" y="155010"/>
                  </a:lnTo>
                  <a:lnTo>
                    <a:pt x="29899" y="144485"/>
                  </a:lnTo>
                  <a:lnTo>
                    <a:pt x="89106" y="144485"/>
                  </a:lnTo>
                  <a:lnTo>
                    <a:pt x="89106" y="95698"/>
                  </a:lnTo>
                  <a:lnTo>
                    <a:pt x="37585" y="95698"/>
                  </a:lnTo>
                  <a:lnTo>
                    <a:pt x="37585" y="87097"/>
                  </a:lnTo>
                  <a:lnTo>
                    <a:pt x="89106" y="87097"/>
                  </a:lnTo>
                  <a:lnTo>
                    <a:pt x="89106" y="46253"/>
                  </a:lnTo>
                  <a:lnTo>
                    <a:pt x="34052" y="46253"/>
                  </a:lnTo>
                  <a:lnTo>
                    <a:pt x="34052" y="35919"/>
                  </a:lnTo>
                  <a:lnTo>
                    <a:pt x="159477" y="35919"/>
                  </a:lnTo>
                  <a:close/>
                  <a:moveTo>
                    <a:pt x="134198" y="138455"/>
                  </a:moveTo>
                  <a:cubicBezTo>
                    <a:pt x="126702" y="127940"/>
                    <a:pt x="117786" y="115091"/>
                    <a:pt x="112462" y="109042"/>
                  </a:cubicBezTo>
                  <a:lnTo>
                    <a:pt x="120853" y="102413"/>
                  </a:lnTo>
                  <a:cubicBezTo>
                    <a:pt x="128378" y="110585"/>
                    <a:pt x="136693" y="121530"/>
                    <a:pt x="143351" y="131388"/>
                  </a:cubicBezTo>
                  <a:lnTo>
                    <a:pt x="134198" y="138455"/>
                  </a:lnTo>
                  <a:close/>
                </a:path>
              </a:pathLst>
            </a:custGeom>
            <a:solidFill>
              <a:srgbClr val="000000"/>
            </a:solidFill>
            <a:ln w="9525" cap="flat">
              <a:noFill/>
              <a:prstDash val="solid"/>
              <a:miter/>
            </a:ln>
          </p:spPr>
          <p:txBody>
            <a:bodyPr rtlCol="0" anchor="ctr"/>
            <a:lstStyle/>
            <a:p>
              <a:endParaRPr lang="ja-JP" altLang="en-US"/>
            </a:p>
          </p:txBody>
        </p:sp>
        <p:sp>
          <p:nvSpPr>
            <p:cNvPr id="23" name="フリーフォーム: 図形 17"/>
            <p:cNvSpPr/>
            <p:nvPr/>
          </p:nvSpPr>
          <p:spPr>
            <a:xfrm>
              <a:off x="6114792" y="4129592"/>
              <a:ext cx="200025" cy="200025"/>
            </a:xfrm>
            <a:custGeom>
              <a:avLst/>
              <a:gdLst>
                <a:gd name="connsiteX0" fmla="*/ 110080 w 200025"/>
                <a:gd name="connsiteY0" fmla="*/ 7144 h 200025"/>
                <a:gd name="connsiteX1" fmla="*/ 110080 w 200025"/>
                <a:gd name="connsiteY1" fmla="*/ 70314 h 200025"/>
                <a:gd name="connsiteX2" fmla="*/ 188309 w 200025"/>
                <a:gd name="connsiteY2" fmla="*/ 70314 h 200025"/>
                <a:gd name="connsiteX3" fmla="*/ 188309 w 200025"/>
                <a:gd name="connsiteY3" fmla="*/ 81696 h 200025"/>
                <a:gd name="connsiteX4" fmla="*/ 110080 w 200025"/>
                <a:gd name="connsiteY4" fmla="*/ 81696 h 200025"/>
                <a:gd name="connsiteX5" fmla="*/ 110080 w 200025"/>
                <a:gd name="connsiteY5" fmla="*/ 183118 h 200025"/>
                <a:gd name="connsiteX6" fmla="*/ 199377 w 200025"/>
                <a:gd name="connsiteY6" fmla="*/ 183118 h 200025"/>
                <a:gd name="connsiteX7" fmla="*/ 199377 w 200025"/>
                <a:gd name="connsiteY7" fmla="*/ 193862 h 200025"/>
                <a:gd name="connsiteX8" fmla="*/ 7144 w 200025"/>
                <a:gd name="connsiteY8" fmla="*/ 193862 h 200025"/>
                <a:gd name="connsiteX9" fmla="*/ 7144 w 200025"/>
                <a:gd name="connsiteY9" fmla="*/ 183118 h 200025"/>
                <a:gd name="connsiteX10" fmla="*/ 97317 w 200025"/>
                <a:gd name="connsiteY10" fmla="*/ 183118 h 200025"/>
                <a:gd name="connsiteX11" fmla="*/ 97317 w 200025"/>
                <a:gd name="connsiteY11" fmla="*/ 81696 h 200025"/>
                <a:gd name="connsiteX12" fmla="*/ 19574 w 200025"/>
                <a:gd name="connsiteY12" fmla="*/ 81696 h 200025"/>
                <a:gd name="connsiteX13" fmla="*/ 19574 w 200025"/>
                <a:gd name="connsiteY13" fmla="*/ 70314 h 200025"/>
                <a:gd name="connsiteX14" fmla="*/ 97317 w 200025"/>
                <a:gd name="connsiteY14" fmla="*/ 70314 h 200025"/>
                <a:gd name="connsiteX15" fmla="*/ 97317 w 200025"/>
                <a:gd name="connsiteY15" fmla="*/ 7144 h 200025"/>
                <a:gd name="connsiteX16" fmla="*/ 110080 w 200025"/>
                <a:gd name="connsiteY16" fmla="*/ 71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025" h="200025">
                  <a:moveTo>
                    <a:pt x="110080" y="7144"/>
                  </a:moveTo>
                  <a:lnTo>
                    <a:pt x="110080" y="70314"/>
                  </a:lnTo>
                  <a:lnTo>
                    <a:pt x="188309" y="70314"/>
                  </a:lnTo>
                  <a:lnTo>
                    <a:pt x="188309" y="81696"/>
                  </a:lnTo>
                  <a:lnTo>
                    <a:pt x="110080" y="81696"/>
                  </a:lnTo>
                  <a:lnTo>
                    <a:pt x="110080" y="183118"/>
                  </a:lnTo>
                  <a:lnTo>
                    <a:pt x="199377" y="183118"/>
                  </a:lnTo>
                  <a:lnTo>
                    <a:pt x="199377" y="193862"/>
                  </a:lnTo>
                  <a:lnTo>
                    <a:pt x="7144" y="193862"/>
                  </a:lnTo>
                  <a:lnTo>
                    <a:pt x="7144" y="183118"/>
                  </a:lnTo>
                  <a:lnTo>
                    <a:pt x="97317" y="183118"/>
                  </a:lnTo>
                  <a:lnTo>
                    <a:pt x="97317" y="81696"/>
                  </a:lnTo>
                  <a:lnTo>
                    <a:pt x="19574" y="81696"/>
                  </a:lnTo>
                  <a:lnTo>
                    <a:pt x="19574" y="70314"/>
                  </a:lnTo>
                  <a:lnTo>
                    <a:pt x="97317" y="70314"/>
                  </a:lnTo>
                  <a:lnTo>
                    <a:pt x="97317" y="7144"/>
                  </a:lnTo>
                  <a:lnTo>
                    <a:pt x="110080" y="7144"/>
                  </a:lnTo>
                  <a:close/>
                </a:path>
              </a:pathLst>
            </a:custGeom>
            <a:solidFill>
              <a:srgbClr val="000000"/>
            </a:solidFill>
            <a:ln w="9525" cap="flat">
              <a:noFill/>
              <a:prstDash val="solid"/>
              <a:miter/>
            </a:ln>
          </p:spPr>
          <p:txBody>
            <a:bodyPr rtlCol="0" anchor="ctr"/>
            <a:lstStyle/>
            <a:p>
              <a:endParaRPr lang="ja-JP" altLang="en-US"/>
            </a:p>
          </p:txBody>
        </p:sp>
        <p:sp>
          <p:nvSpPr>
            <p:cNvPr id="24" name="フリーフォーム: 図形 18"/>
            <p:cNvSpPr/>
            <p:nvPr/>
          </p:nvSpPr>
          <p:spPr>
            <a:xfrm>
              <a:off x="6335839" y="4129592"/>
              <a:ext cx="209550" cy="200025"/>
            </a:xfrm>
            <a:custGeom>
              <a:avLst/>
              <a:gdLst>
                <a:gd name="connsiteX0" fmla="*/ 70199 w 209550"/>
                <a:gd name="connsiteY0" fmla="*/ 90040 h 200025"/>
                <a:gd name="connsiteX1" fmla="*/ 105842 w 209550"/>
                <a:gd name="connsiteY1" fmla="*/ 140618 h 200025"/>
                <a:gd name="connsiteX2" fmla="*/ 141875 w 209550"/>
                <a:gd name="connsiteY2" fmla="*/ 88373 h 200025"/>
                <a:gd name="connsiteX3" fmla="*/ 151552 w 209550"/>
                <a:gd name="connsiteY3" fmla="*/ 94117 h 200025"/>
                <a:gd name="connsiteX4" fmla="*/ 114214 w 209550"/>
                <a:gd name="connsiteY4" fmla="*/ 148371 h 200025"/>
                <a:gd name="connsiteX5" fmla="*/ 204940 w 209550"/>
                <a:gd name="connsiteY5" fmla="*/ 188147 h 200025"/>
                <a:gd name="connsiteX6" fmla="*/ 200435 w 209550"/>
                <a:gd name="connsiteY6" fmla="*/ 199396 h 200025"/>
                <a:gd name="connsiteX7" fmla="*/ 105689 w 209550"/>
                <a:gd name="connsiteY7" fmla="*/ 156743 h 200025"/>
                <a:gd name="connsiteX8" fmla="*/ 12373 w 209550"/>
                <a:gd name="connsiteY8" fmla="*/ 198749 h 200025"/>
                <a:gd name="connsiteX9" fmla="*/ 7144 w 209550"/>
                <a:gd name="connsiteY9" fmla="*/ 187957 h 200025"/>
                <a:gd name="connsiteX10" fmla="*/ 97260 w 209550"/>
                <a:gd name="connsiteY10" fmla="*/ 148771 h 200025"/>
                <a:gd name="connsiteX11" fmla="*/ 60331 w 209550"/>
                <a:gd name="connsiteY11" fmla="*/ 94526 h 200025"/>
                <a:gd name="connsiteX12" fmla="*/ 70199 w 209550"/>
                <a:gd name="connsiteY12" fmla="*/ 90040 h 200025"/>
                <a:gd name="connsiteX13" fmla="*/ 111681 w 209550"/>
                <a:gd name="connsiteY13" fmla="*/ 7144 h 200025"/>
                <a:gd name="connsiteX14" fmla="*/ 111681 w 209550"/>
                <a:gd name="connsiteY14" fmla="*/ 32071 h 200025"/>
                <a:gd name="connsiteX15" fmla="*/ 204940 w 209550"/>
                <a:gd name="connsiteY15" fmla="*/ 32071 h 200025"/>
                <a:gd name="connsiteX16" fmla="*/ 204940 w 209550"/>
                <a:gd name="connsiteY16" fmla="*/ 43444 h 200025"/>
                <a:gd name="connsiteX17" fmla="*/ 8801 w 209550"/>
                <a:gd name="connsiteY17" fmla="*/ 43444 h 200025"/>
                <a:gd name="connsiteX18" fmla="*/ 8801 w 209550"/>
                <a:gd name="connsiteY18" fmla="*/ 32071 h 200025"/>
                <a:gd name="connsiteX19" fmla="*/ 99584 w 209550"/>
                <a:gd name="connsiteY19" fmla="*/ 32071 h 200025"/>
                <a:gd name="connsiteX20" fmla="*/ 99584 w 209550"/>
                <a:gd name="connsiteY20" fmla="*/ 7144 h 200025"/>
                <a:gd name="connsiteX21" fmla="*/ 111681 w 209550"/>
                <a:gd name="connsiteY21" fmla="*/ 7144 h 200025"/>
                <a:gd name="connsiteX22" fmla="*/ 9439 w 209550"/>
                <a:gd name="connsiteY22" fmla="*/ 95069 h 200025"/>
                <a:gd name="connsiteX23" fmla="*/ 68304 w 209550"/>
                <a:gd name="connsiteY23" fmla="*/ 53302 h 200025"/>
                <a:gd name="connsiteX24" fmla="*/ 78296 w 209550"/>
                <a:gd name="connsiteY24" fmla="*/ 59798 h 200025"/>
                <a:gd name="connsiteX25" fmla="*/ 15716 w 209550"/>
                <a:gd name="connsiteY25" fmla="*/ 104346 h 200025"/>
                <a:gd name="connsiteX26" fmla="*/ 9439 w 209550"/>
                <a:gd name="connsiteY26" fmla="*/ 95069 h 200025"/>
                <a:gd name="connsiteX27" fmla="*/ 142770 w 209550"/>
                <a:gd name="connsiteY27" fmla="*/ 53940 h 200025"/>
                <a:gd name="connsiteX28" fmla="*/ 203902 w 209550"/>
                <a:gd name="connsiteY28" fmla="*/ 94307 h 200025"/>
                <a:gd name="connsiteX29" fmla="*/ 197653 w 209550"/>
                <a:gd name="connsiteY29" fmla="*/ 103556 h 200025"/>
                <a:gd name="connsiteX30" fmla="*/ 132750 w 209550"/>
                <a:gd name="connsiteY30" fmla="*/ 60408 h 200025"/>
                <a:gd name="connsiteX31" fmla="*/ 142770 w 209550"/>
                <a:gd name="connsiteY31" fmla="*/ 5394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9550" h="200025">
                  <a:moveTo>
                    <a:pt x="70199" y="90040"/>
                  </a:moveTo>
                  <a:cubicBezTo>
                    <a:pt x="75952" y="100298"/>
                    <a:pt x="87516" y="121930"/>
                    <a:pt x="105842" y="140618"/>
                  </a:cubicBezTo>
                  <a:cubicBezTo>
                    <a:pt x="119053" y="126644"/>
                    <a:pt x="129788" y="110357"/>
                    <a:pt x="141875" y="88373"/>
                  </a:cubicBezTo>
                  <a:lnTo>
                    <a:pt x="151552" y="94117"/>
                  </a:lnTo>
                  <a:cubicBezTo>
                    <a:pt x="140894" y="114443"/>
                    <a:pt x="129788" y="131826"/>
                    <a:pt x="114214" y="148371"/>
                  </a:cubicBezTo>
                  <a:cubicBezTo>
                    <a:pt x="138322" y="168373"/>
                    <a:pt x="170783" y="181004"/>
                    <a:pt x="204940" y="188147"/>
                  </a:cubicBezTo>
                  <a:lnTo>
                    <a:pt x="200435" y="199396"/>
                  </a:lnTo>
                  <a:cubicBezTo>
                    <a:pt x="165297" y="191996"/>
                    <a:pt x="132550" y="179718"/>
                    <a:pt x="105689" y="156743"/>
                  </a:cubicBezTo>
                  <a:cubicBezTo>
                    <a:pt x="79791" y="180384"/>
                    <a:pt x="46511" y="191986"/>
                    <a:pt x="12373" y="198749"/>
                  </a:cubicBezTo>
                  <a:lnTo>
                    <a:pt x="7144" y="187957"/>
                  </a:lnTo>
                  <a:cubicBezTo>
                    <a:pt x="21584" y="184652"/>
                    <a:pt x="69580" y="173069"/>
                    <a:pt x="97260" y="148771"/>
                  </a:cubicBezTo>
                  <a:cubicBezTo>
                    <a:pt x="75676" y="127092"/>
                    <a:pt x="65332" y="104756"/>
                    <a:pt x="60331" y="94526"/>
                  </a:cubicBezTo>
                  <a:lnTo>
                    <a:pt x="70199" y="90040"/>
                  </a:lnTo>
                  <a:close/>
                  <a:moveTo>
                    <a:pt x="111681" y="7144"/>
                  </a:moveTo>
                  <a:lnTo>
                    <a:pt x="111681" y="32071"/>
                  </a:lnTo>
                  <a:lnTo>
                    <a:pt x="204940" y="32071"/>
                  </a:lnTo>
                  <a:lnTo>
                    <a:pt x="204940" y="43444"/>
                  </a:lnTo>
                  <a:lnTo>
                    <a:pt x="8801" y="43444"/>
                  </a:lnTo>
                  <a:lnTo>
                    <a:pt x="8801" y="32071"/>
                  </a:lnTo>
                  <a:lnTo>
                    <a:pt x="99584" y="32071"/>
                  </a:lnTo>
                  <a:lnTo>
                    <a:pt x="99584" y="7144"/>
                  </a:lnTo>
                  <a:lnTo>
                    <a:pt x="111681" y="7144"/>
                  </a:lnTo>
                  <a:close/>
                  <a:moveTo>
                    <a:pt x="9439" y="95069"/>
                  </a:moveTo>
                  <a:cubicBezTo>
                    <a:pt x="35414" y="84668"/>
                    <a:pt x="58493" y="66447"/>
                    <a:pt x="68304" y="53302"/>
                  </a:cubicBezTo>
                  <a:lnTo>
                    <a:pt x="78296" y="59798"/>
                  </a:lnTo>
                  <a:cubicBezTo>
                    <a:pt x="59503" y="82963"/>
                    <a:pt x="42501" y="93726"/>
                    <a:pt x="15716" y="104346"/>
                  </a:cubicBezTo>
                  <a:lnTo>
                    <a:pt x="9439" y="95069"/>
                  </a:lnTo>
                  <a:close/>
                  <a:moveTo>
                    <a:pt x="142770" y="53940"/>
                  </a:moveTo>
                  <a:cubicBezTo>
                    <a:pt x="157639" y="71399"/>
                    <a:pt x="182899" y="85992"/>
                    <a:pt x="203902" y="94307"/>
                  </a:cubicBezTo>
                  <a:lnTo>
                    <a:pt x="197653" y="103556"/>
                  </a:lnTo>
                  <a:cubicBezTo>
                    <a:pt x="174974" y="96022"/>
                    <a:pt x="147799" y="78696"/>
                    <a:pt x="132750" y="60408"/>
                  </a:cubicBezTo>
                  <a:lnTo>
                    <a:pt x="142770" y="53940"/>
                  </a:lnTo>
                  <a:close/>
                </a:path>
              </a:pathLst>
            </a:custGeom>
            <a:solidFill>
              <a:srgbClr val="000000"/>
            </a:solidFill>
            <a:ln w="9525" cap="flat">
              <a:noFill/>
              <a:prstDash val="solid"/>
              <a:miter/>
            </a:ln>
          </p:spPr>
          <p:txBody>
            <a:bodyPr rtlCol="0" anchor="ctr"/>
            <a:lstStyle/>
            <a:p>
              <a:endParaRPr lang="ja-JP" altLang="en-US"/>
            </a:p>
          </p:txBody>
        </p:sp>
        <p:sp>
          <p:nvSpPr>
            <p:cNvPr id="25" name="フリーフォーム: 図形 19"/>
            <p:cNvSpPr/>
            <p:nvPr/>
          </p:nvSpPr>
          <p:spPr>
            <a:xfrm>
              <a:off x="6554514" y="4131697"/>
              <a:ext cx="209550" cy="200025"/>
            </a:xfrm>
            <a:custGeom>
              <a:avLst/>
              <a:gdLst>
                <a:gd name="connsiteX0" fmla="*/ 48997 w 209550"/>
                <a:gd name="connsiteY0" fmla="*/ 89859 h 200025"/>
                <a:gd name="connsiteX1" fmla="*/ 48997 w 209550"/>
                <a:gd name="connsiteY1" fmla="*/ 147333 h 200025"/>
                <a:gd name="connsiteX2" fmla="*/ 102908 w 209550"/>
                <a:gd name="connsiteY2" fmla="*/ 184661 h 200025"/>
                <a:gd name="connsiteX3" fmla="*/ 206435 w 209550"/>
                <a:gd name="connsiteY3" fmla="*/ 184661 h 200025"/>
                <a:gd name="connsiteX4" fmla="*/ 204483 w 209550"/>
                <a:gd name="connsiteY4" fmla="*/ 194443 h 200025"/>
                <a:gd name="connsiteX5" fmla="*/ 104375 w 209550"/>
                <a:gd name="connsiteY5" fmla="*/ 194443 h 200025"/>
                <a:gd name="connsiteX6" fmla="*/ 44025 w 209550"/>
                <a:gd name="connsiteY6" fmla="*/ 166868 h 200025"/>
                <a:gd name="connsiteX7" fmla="*/ 13830 w 209550"/>
                <a:gd name="connsiteY7" fmla="*/ 198377 h 200025"/>
                <a:gd name="connsiteX8" fmla="*/ 7144 w 209550"/>
                <a:gd name="connsiteY8" fmla="*/ 187890 h 200025"/>
                <a:gd name="connsiteX9" fmla="*/ 36947 w 209550"/>
                <a:gd name="connsiteY9" fmla="*/ 157801 h 200025"/>
                <a:gd name="connsiteX10" fmla="*/ 36947 w 209550"/>
                <a:gd name="connsiteY10" fmla="*/ 100146 h 200025"/>
                <a:gd name="connsiteX11" fmla="*/ 9134 w 209550"/>
                <a:gd name="connsiteY11" fmla="*/ 100146 h 200025"/>
                <a:gd name="connsiteX12" fmla="*/ 9134 w 209550"/>
                <a:gd name="connsiteY12" fmla="*/ 89859 h 200025"/>
                <a:gd name="connsiteX13" fmla="*/ 48997 w 209550"/>
                <a:gd name="connsiteY13" fmla="*/ 89859 h 200025"/>
                <a:gd name="connsiteX14" fmla="*/ 50540 w 209550"/>
                <a:gd name="connsiteY14" fmla="*/ 47168 h 200025"/>
                <a:gd name="connsiteX15" fmla="*/ 12678 w 209550"/>
                <a:gd name="connsiteY15" fmla="*/ 14916 h 200025"/>
                <a:gd name="connsiteX16" fmla="*/ 19136 w 209550"/>
                <a:gd name="connsiteY16" fmla="*/ 7144 h 200025"/>
                <a:gd name="connsiteX17" fmla="*/ 57979 w 209550"/>
                <a:gd name="connsiteY17" fmla="*/ 38500 h 200025"/>
                <a:gd name="connsiteX18" fmla="*/ 50540 w 209550"/>
                <a:gd name="connsiteY18" fmla="*/ 47168 h 200025"/>
                <a:gd name="connsiteX19" fmla="*/ 198234 w 209550"/>
                <a:gd name="connsiteY19" fmla="*/ 55540 h 200025"/>
                <a:gd name="connsiteX20" fmla="*/ 198234 w 209550"/>
                <a:gd name="connsiteY20" fmla="*/ 158277 h 200025"/>
                <a:gd name="connsiteX21" fmla="*/ 183480 w 209550"/>
                <a:gd name="connsiteY21" fmla="*/ 173107 h 200025"/>
                <a:gd name="connsiteX22" fmla="*/ 163392 w 209550"/>
                <a:gd name="connsiteY22" fmla="*/ 173107 h 200025"/>
                <a:gd name="connsiteX23" fmla="*/ 161287 w 209550"/>
                <a:gd name="connsiteY23" fmla="*/ 161087 h 200025"/>
                <a:gd name="connsiteX24" fmla="*/ 181137 w 209550"/>
                <a:gd name="connsiteY24" fmla="*/ 161744 h 200025"/>
                <a:gd name="connsiteX25" fmla="*/ 187776 w 209550"/>
                <a:gd name="connsiteY25" fmla="*/ 155067 h 200025"/>
                <a:gd name="connsiteX26" fmla="*/ 187776 w 209550"/>
                <a:gd name="connsiteY26" fmla="*/ 130340 h 200025"/>
                <a:gd name="connsiteX27" fmla="*/ 142589 w 209550"/>
                <a:gd name="connsiteY27" fmla="*/ 130340 h 200025"/>
                <a:gd name="connsiteX28" fmla="*/ 142589 w 209550"/>
                <a:gd name="connsiteY28" fmla="*/ 169859 h 200025"/>
                <a:gd name="connsiteX29" fmla="*/ 131483 w 209550"/>
                <a:gd name="connsiteY29" fmla="*/ 169859 h 200025"/>
                <a:gd name="connsiteX30" fmla="*/ 131483 w 209550"/>
                <a:gd name="connsiteY30" fmla="*/ 130340 h 200025"/>
                <a:gd name="connsiteX31" fmla="*/ 84363 w 209550"/>
                <a:gd name="connsiteY31" fmla="*/ 130340 h 200025"/>
                <a:gd name="connsiteX32" fmla="*/ 84363 w 209550"/>
                <a:gd name="connsiteY32" fmla="*/ 173098 h 200025"/>
                <a:gd name="connsiteX33" fmla="*/ 73238 w 209550"/>
                <a:gd name="connsiteY33" fmla="*/ 173098 h 200025"/>
                <a:gd name="connsiteX34" fmla="*/ 73238 w 209550"/>
                <a:gd name="connsiteY34" fmla="*/ 55531 h 200025"/>
                <a:gd name="connsiteX35" fmla="*/ 128692 w 209550"/>
                <a:gd name="connsiteY35" fmla="*/ 55531 h 200025"/>
                <a:gd name="connsiteX36" fmla="*/ 128692 w 209550"/>
                <a:gd name="connsiteY36" fmla="*/ 55054 h 200025"/>
                <a:gd name="connsiteX37" fmla="*/ 97288 w 209550"/>
                <a:gd name="connsiteY37" fmla="*/ 35966 h 200025"/>
                <a:gd name="connsiteX38" fmla="*/ 104232 w 209550"/>
                <a:gd name="connsiteY38" fmla="*/ 27127 h 200025"/>
                <a:gd name="connsiteX39" fmla="*/ 134217 w 209550"/>
                <a:gd name="connsiteY39" fmla="*/ 45644 h 200025"/>
                <a:gd name="connsiteX40" fmla="*/ 176374 w 209550"/>
                <a:gd name="connsiteY40" fmla="*/ 22622 h 200025"/>
                <a:gd name="connsiteX41" fmla="*/ 176374 w 209550"/>
                <a:gd name="connsiteY41" fmla="*/ 22203 h 200025"/>
                <a:gd name="connsiteX42" fmla="*/ 70218 w 209550"/>
                <a:gd name="connsiteY42" fmla="*/ 22203 h 200025"/>
                <a:gd name="connsiteX43" fmla="*/ 70218 w 209550"/>
                <a:gd name="connsiteY43" fmla="*/ 12325 h 200025"/>
                <a:gd name="connsiteX44" fmla="*/ 194062 w 209550"/>
                <a:gd name="connsiteY44" fmla="*/ 12325 h 200025"/>
                <a:gd name="connsiteX45" fmla="*/ 194062 w 209550"/>
                <a:gd name="connsiteY45" fmla="*/ 22203 h 200025"/>
                <a:gd name="connsiteX46" fmla="*/ 142827 w 209550"/>
                <a:gd name="connsiteY46" fmla="*/ 52483 h 200025"/>
                <a:gd name="connsiteX47" fmla="*/ 146904 w 209550"/>
                <a:gd name="connsiteY47" fmla="*/ 55521 h 200025"/>
                <a:gd name="connsiteX48" fmla="*/ 198234 w 209550"/>
                <a:gd name="connsiteY48" fmla="*/ 55521 h 200025"/>
                <a:gd name="connsiteX49" fmla="*/ 131483 w 209550"/>
                <a:gd name="connsiteY49" fmla="*/ 65170 h 200025"/>
                <a:gd name="connsiteX50" fmla="*/ 84363 w 209550"/>
                <a:gd name="connsiteY50" fmla="*/ 65170 h 200025"/>
                <a:gd name="connsiteX51" fmla="*/ 84363 w 209550"/>
                <a:gd name="connsiteY51" fmla="*/ 88154 h 200025"/>
                <a:gd name="connsiteX52" fmla="*/ 131483 w 209550"/>
                <a:gd name="connsiteY52" fmla="*/ 88154 h 200025"/>
                <a:gd name="connsiteX53" fmla="*/ 131483 w 209550"/>
                <a:gd name="connsiteY53" fmla="*/ 65170 h 200025"/>
                <a:gd name="connsiteX54" fmla="*/ 131483 w 209550"/>
                <a:gd name="connsiteY54" fmla="*/ 97660 h 200025"/>
                <a:gd name="connsiteX55" fmla="*/ 84363 w 209550"/>
                <a:gd name="connsiteY55" fmla="*/ 97660 h 200025"/>
                <a:gd name="connsiteX56" fmla="*/ 84363 w 209550"/>
                <a:gd name="connsiteY56" fmla="*/ 120244 h 200025"/>
                <a:gd name="connsiteX57" fmla="*/ 131483 w 209550"/>
                <a:gd name="connsiteY57" fmla="*/ 120244 h 200025"/>
                <a:gd name="connsiteX58" fmla="*/ 131483 w 209550"/>
                <a:gd name="connsiteY58" fmla="*/ 97660 h 200025"/>
                <a:gd name="connsiteX59" fmla="*/ 187785 w 209550"/>
                <a:gd name="connsiteY59" fmla="*/ 65170 h 200025"/>
                <a:gd name="connsiteX60" fmla="*/ 142599 w 209550"/>
                <a:gd name="connsiteY60" fmla="*/ 65170 h 200025"/>
                <a:gd name="connsiteX61" fmla="*/ 142599 w 209550"/>
                <a:gd name="connsiteY61" fmla="*/ 88154 h 200025"/>
                <a:gd name="connsiteX62" fmla="*/ 187785 w 209550"/>
                <a:gd name="connsiteY62" fmla="*/ 88154 h 200025"/>
                <a:gd name="connsiteX63" fmla="*/ 187785 w 209550"/>
                <a:gd name="connsiteY63" fmla="*/ 65170 h 200025"/>
                <a:gd name="connsiteX64" fmla="*/ 187785 w 209550"/>
                <a:gd name="connsiteY64" fmla="*/ 97660 h 200025"/>
                <a:gd name="connsiteX65" fmla="*/ 142599 w 209550"/>
                <a:gd name="connsiteY65" fmla="*/ 97660 h 200025"/>
                <a:gd name="connsiteX66" fmla="*/ 142599 w 209550"/>
                <a:gd name="connsiteY66" fmla="*/ 120244 h 200025"/>
                <a:gd name="connsiteX67" fmla="*/ 187785 w 209550"/>
                <a:gd name="connsiteY67" fmla="*/ 120244 h 200025"/>
                <a:gd name="connsiteX68" fmla="*/ 187785 w 209550"/>
                <a:gd name="connsiteY68" fmla="*/ 97660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09550" h="200025">
                  <a:moveTo>
                    <a:pt x="48997" y="89859"/>
                  </a:moveTo>
                  <a:lnTo>
                    <a:pt x="48997" y="147333"/>
                  </a:lnTo>
                  <a:cubicBezTo>
                    <a:pt x="51102" y="157801"/>
                    <a:pt x="56121" y="184661"/>
                    <a:pt x="102908" y="184661"/>
                  </a:cubicBezTo>
                  <a:lnTo>
                    <a:pt x="206435" y="184661"/>
                  </a:lnTo>
                  <a:lnTo>
                    <a:pt x="204483" y="194443"/>
                  </a:lnTo>
                  <a:lnTo>
                    <a:pt x="104375" y="194443"/>
                  </a:lnTo>
                  <a:cubicBezTo>
                    <a:pt x="63370" y="194443"/>
                    <a:pt x="49406" y="175031"/>
                    <a:pt x="44025" y="166868"/>
                  </a:cubicBezTo>
                  <a:cubicBezTo>
                    <a:pt x="39967" y="172212"/>
                    <a:pt x="27918" y="184652"/>
                    <a:pt x="13830" y="198377"/>
                  </a:cubicBezTo>
                  <a:lnTo>
                    <a:pt x="7144" y="187890"/>
                  </a:lnTo>
                  <a:cubicBezTo>
                    <a:pt x="12687" y="183842"/>
                    <a:pt x="26699" y="173107"/>
                    <a:pt x="36947" y="157801"/>
                  </a:cubicBezTo>
                  <a:lnTo>
                    <a:pt x="36947" y="100146"/>
                  </a:lnTo>
                  <a:lnTo>
                    <a:pt x="9134" y="100146"/>
                  </a:lnTo>
                  <a:lnTo>
                    <a:pt x="9134" y="89859"/>
                  </a:lnTo>
                  <a:lnTo>
                    <a:pt x="48997" y="89859"/>
                  </a:lnTo>
                  <a:close/>
                  <a:moveTo>
                    <a:pt x="50540" y="47168"/>
                  </a:moveTo>
                  <a:cubicBezTo>
                    <a:pt x="37633" y="34881"/>
                    <a:pt x="24070" y="21803"/>
                    <a:pt x="12678" y="14916"/>
                  </a:cubicBezTo>
                  <a:lnTo>
                    <a:pt x="19136" y="7144"/>
                  </a:lnTo>
                  <a:cubicBezTo>
                    <a:pt x="30051" y="12554"/>
                    <a:pt x="49587" y="28670"/>
                    <a:pt x="57979" y="38500"/>
                  </a:cubicBezTo>
                  <a:lnTo>
                    <a:pt x="50540" y="47168"/>
                  </a:lnTo>
                  <a:close/>
                  <a:moveTo>
                    <a:pt x="198234" y="55540"/>
                  </a:moveTo>
                  <a:lnTo>
                    <a:pt x="198234" y="158277"/>
                  </a:lnTo>
                  <a:cubicBezTo>
                    <a:pt x="198234" y="162811"/>
                    <a:pt x="198234" y="173107"/>
                    <a:pt x="183480" y="173107"/>
                  </a:cubicBezTo>
                  <a:lnTo>
                    <a:pt x="163392" y="173107"/>
                  </a:lnTo>
                  <a:lnTo>
                    <a:pt x="161287" y="161087"/>
                  </a:lnTo>
                  <a:lnTo>
                    <a:pt x="181137" y="161744"/>
                  </a:lnTo>
                  <a:cubicBezTo>
                    <a:pt x="183852" y="161953"/>
                    <a:pt x="187776" y="162135"/>
                    <a:pt x="187776" y="155067"/>
                  </a:cubicBezTo>
                  <a:lnTo>
                    <a:pt x="187776" y="130340"/>
                  </a:lnTo>
                  <a:lnTo>
                    <a:pt x="142589" y="130340"/>
                  </a:lnTo>
                  <a:lnTo>
                    <a:pt x="142589" y="169859"/>
                  </a:lnTo>
                  <a:lnTo>
                    <a:pt x="131483" y="169859"/>
                  </a:lnTo>
                  <a:lnTo>
                    <a:pt x="131483" y="130340"/>
                  </a:lnTo>
                  <a:lnTo>
                    <a:pt x="84363" y="130340"/>
                  </a:lnTo>
                  <a:lnTo>
                    <a:pt x="84363" y="173098"/>
                  </a:lnTo>
                  <a:lnTo>
                    <a:pt x="73238" y="173098"/>
                  </a:lnTo>
                  <a:lnTo>
                    <a:pt x="73238" y="55531"/>
                  </a:lnTo>
                  <a:lnTo>
                    <a:pt x="128692" y="55531"/>
                  </a:lnTo>
                  <a:lnTo>
                    <a:pt x="128692" y="55054"/>
                  </a:lnTo>
                  <a:cubicBezTo>
                    <a:pt x="120920" y="49692"/>
                    <a:pt x="109899" y="42205"/>
                    <a:pt x="97288" y="35966"/>
                  </a:cubicBezTo>
                  <a:lnTo>
                    <a:pt x="104232" y="27127"/>
                  </a:lnTo>
                  <a:cubicBezTo>
                    <a:pt x="110633" y="30375"/>
                    <a:pt x="119862" y="34871"/>
                    <a:pt x="134217" y="45644"/>
                  </a:cubicBezTo>
                  <a:cubicBezTo>
                    <a:pt x="162382" y="34004"/>
                    <a:pt x="170717" y="27127"/>
                    <a:pt x="176374" y="22622"/>
                  </a:cubicBezTo>
                  <a:lnTo>
                    <a:pt x="176374" y="22203"/>
                  </a:lnTo>
                  <a:lnTo>
                    <a:pt x="70218" y="22203"/>
                  </a:lnTo>
                  <a:lnTo>
                    <a:pt x="70218" y="12325"/>
                  </a:lnTo>
                  <a:lnTo>
                    <a:pt x="194062" y="12325"/>
                  </a:lnTo>
                  <a:lnTo>
                    <a:pt x="194062" y="22203"/>
                  </a:lnTo>
                  <a:cubicBezTo>
                    <a:pt x="186976" y="28223"/>
                    <a:pt x="171383" y="41529"/>
                    <a:pt x="142827" y="52483"/>
                  </a:cubicBezTo>
                  <a:cubicBezTo>
                    <a:pt x="143704" y="53150"/>
                    <a:pt x="144580" y="53549"/>
                    <a:pt x="146904" y="55521"/>
                  </a:cubicBezTo>
                  <a:lnTo>
                    <a:pt x="198234" y="55521"/>
                  </a:lnTo>
                  <a:close/>
                  <a:moveTo>
                    <a:pt x="131483" y="65170"/>
                  </a:moveTo>
                  <a:lnTo>
                    <a:pt x="84363" y="65170"/>
                  </a:lnTo>
                  <a:lnTo>
                    <a:pt x="84363" y="88154"/>
                  </a:lnTo>
                  <a:lnTo>
                    <a:pt x="131483" y="88154"/>
                  </a:lnTo>
                  <a:lnTo>
                    <a:pt x="131483" y="65170"/>
                  </a:lnTo>
                  <a:close/>
                  <a:moveTo>
                    <a:pt x="131483" y="97660"/>
                  </a:moveTo>
                  <a:lnTo>
                    <a:pt x="84363" y="97660"/>
                  </a:lnTo>
                  <a:lnTo>
                    <a:pt x="84363" y="120244"/>
                  </a:lnTo>
                  <a:lnTo>
                    <a:pt x="131483" y="120244"/>
                  </a:lnTo>
                  <a:lnTo>
                    <a:pt x="131483" y="97660"/>
                  </a:lnTo>
                  <a:close/>
                  <a:moveTo>
                    <a:pt x="187785" y="65170"/>
                  </a:moveTo>
                  <a:lnTo>
                    <a:pt x="142599" y="65170"/>
                  </a:lnTo>
                  <a:lnTo>
                    <a:pt x="142599" y="88154"/>
                  </a:lnTo>
                  <a:lnTo>
                    <a:pt x="187785" y="88154"/>
                  </a:lnTo>
                  <a:lnTo>
                    <a:pt x="187785" y="65170"/>
                  </a:lnTo>
                  <a:close/>
                  <a:moveTo>
                    <a:pt x="187785" y="97660"/>
                  </a:moveTo>
                  <a:lnTo>
                    <a:pt x="142599" y="97660"/>
                  </a:lnTo>
                  <a:lnTo>
                    <a:pt x="142599" y="120244"/>
                  </a:lnTo>
                  <a:lnTo>
                    <a:pt x="187785" y="120244"/>
                  </a:lnTo>
                  <a:lnTo>
                    <a:pt x="187785" y="97660"/>
                  </a:lnTo>
                  <a:close/>
                </a:path>
              </a:pathLst>
            </a:custGeom>
            <a:solidFill>
              <a:srgbClr val="000000"/>
            </a:solidFill>
            <a:ln w="9525" cap="flat">
              <a:noFill/>
              <a:prstDash val="solid"/>
              <a:miter/>
            </a:ln>
          </p:spPr>
          <p:txBody>
            <a:bodyPr rtlCol="0" anchor="ctr"/>
            <a:lstStyle/>
            <a:p>
              <a:endParaRPr lang="ja-JP" altLang="en-US"/>
            </a:p>
          </p:txBody>
        </p:sp>
        <p:sp>
          <p:nvSpPr>
            <p:cNvPr id="26" name="フリーフォーム: 図形 20"/>
            <p:cNvSpPr/>
            <p:nvPr/>
          </p:nvSpPr>
          <p:spPr>
            <a:xfrm>
              <a:off x="6776113" y="4130182"/>
              <a:ext cx="209550" cy="200025"/>
            </a:xfrm>
            <a:custGeom>
              <a:avLst/>
              <a:gdLst>
                <a:gd name="connsiteX0" fmla="*/ 7144 w 209550"/>
                <a:gd name="connsiteY0" fmla="*/ 99574 h 200025"/>
                <a:gd name="connsiteX1" fmla="*/ 149704 w 209550"/>
                <a:gd name="connsiteY1" fmla="*/ 41158 h 200025"/>
                <a:gd name="connsiteX2" fmla="*/ 158277 w 209550"/>
                <a:gd name="connsiteY2" fmla="*/ 49301 h 200025"/>
                <a:gd name="connsiteX3" fmla="*/ 94574 w 209550"/>
                <a:gd name="connsiteY3" fmla="*/ 89011 h 200025"/>
                <a:gd name="connsiteX4" fmla="*/ 94574 w 209550"/>
                <a:gd name="connsiteY4" fmla="*/ 89449 h 200025"/>
                <a:gd name="connsiteX5" fmla="*/ 184356 w 209550"/>
                <a:gd name="connsiteY5" fmla="*/ 89449 h 200025"/>
                <a:gd name="connsiteX6" fmla="*/ 184356 w 209550"/>
                <a:gd name="connsiteY6" fmla="*/ 200073 h 200025"/>
                <a:gd name="connsiteX7" fmla="*/ 172298 w 209550"/>
                <a:gd name="connsiteY7" fmla="*/ 200073 h 200025"/>
                <a:gd name="connsiteX8" fmla="*/ 172298 w 209550"/>
                <a:gd name="connsiteY8" fmla="*/ 190662 h 200025"/>
                <a:gd name="connsiteX9" fmla="*/ 57217 w 209550"/>
                <a:gd name="connsiteY9" fmla="*/ 190662 h 200025"/>
                <a:gd name="connsiteX10" fmla="*/ 57217 w 209550"/>
                <a:gd name="connsiteY10" fmla="*/ 200073 h 200025"/>
                <a:gd name="connsiteX11" fmla="*/ 45329 w 209550"/>
                <a:gd name="connsiteY11" fmla="*/ 200073 h 200025"/>
                <a:gd name="connsiteX12" fmla="*/ 45329 w 209550"/>
                <a:gd name="connsiteY12" fmla="*/ 103127 h 200025"/>
                <a:gd name="connsiteX13" fmla="*/ 12068 w 209550"/>
                <a:gd name="connsiteY13" fmla="*/ 109528 h 200025"/>
                <a:gd name="connsiteX14" fmla="*/ 7144 w 209550"/>
                <a:gd name="connsiteY14" fmla="*/ 99574 h 200025"/>
                <a:gd name="connsiteX15" fmla="*/ 9325 w 209550"/>
                <a:gd name="connsiteY15" fmla="*/ 52940 h 200025"/>
                <a:gd name="connsiteX16" fmla="*/ 64093 w 209550"/>
                <a:gd name="connsiteY16" fmla="*/ 11325 h 200025"/>
                <a:gd name="connsiteX17" fmla="*/ 74438 w 209550"/>
                <a:gd name="connsiteY17" fmla="*/ 17707 h 200025"/>
                <a:gd name="connsiteX18" fmla="*/ 16802 w 209550"/>
                <a:gd name="connsiteY18" fmla="*/ 64103 h 200025"/>
                <a:gd name="connsiteX19" fmla="*/ 9325 w 209550"/>
                <a:gd name="connsiteY19" fmla="*/ 52940 h 200025"/>
                <a:gd name="connsiteX20" fmla="*/ 64951 w 209550"/>
                <a:gd name="connsiteY20" fmla="*/ 98603 h 200025"/>
                <a:gd name="connsiteX21" fmla="*/ 57226 w 209550"/>
                <a:gd name="connsiteY21" fmla="*/ 100470 h 200025"/>
                <a:gd name="connsiteX22" fmla="*/ 57226 w 209550"/>
                <a:gd name="connsiteY22" fmla="*/ 117891 h 200025"/>
                <a:gd name="connsiteX23" fmla="*/ 172307 w 209550"/>
                <a:gd name="connsiteY23" fmla="*/ 117891 h 200025"/>
                <a:gd name="connsiteX24" fmla="*/ 172307 w 209550"/>
                <a:gd name="connsiteY24" fmla="*/ 98603 h 200025"/>
                <a:gd name="connsiteX25" fmla="*/ 64951 w 209550"/>
                <a:gd name="connsiteY25" fmla="*/ 98603 h 200025"/>
                <a:gd name="connsiteX26" fmla="*/ 172307 w 209550"/>
                <a:gd name="connsiteY26" fmla="*/ 128006 h 200025"/>
                <a:gd name="connsiteX27" fmla="*/ 57226 w 209550"/>
                <a:gd name="connsiteY27" fmla="*/ 128006 h 200025"/>
                <a:gd name="connsiteX28" fmla="*/ 57226 w 209550"/>
                <a:gd name="connsiteY28" fmla="*/ 147771 h 200025"/>
                <a:gd name="connsiteX29" fmla="*/ 172307 w 209550"/>
                <a:gd name="connsiteY29" fmla="*/ 147771 h 200025"/>
                <a:gd name="connsiteX30" fmla="*/ 172307 w 209550"/>
                <a:gd name="connsiteY30" fmla="*/ 128006 h 200025"/>
                <a:gd name="connsiteX31" fmla="*/ 172307 w 209550"/>
                <a:gd name="connsiteY31" fmla="*/ 157677 h 200025"/>
                <a:gd name="connsiteX32" fmla="*/ 57226 w 209550"/>
                <a:gd name="connsiteY32" fmla="*/ 157677 h 200025"/>
                <a:gd name="connsiteX33" fmla="*/ 57226 w 209550"/>
                <a:gd name="connsiteY33" fmla="*/ 181289 h 200025"/>
                <a:gd name="connsiteX34" fmla="*/ 172307 w 209550"/>
                <a:gd name="connsiteY34" fmla="*/ 181289 h 200025"/>
                <a:gd name="connsiteX35" fmla="*/ 172307 w 209550"/>
                <a:gd name="connsiteY35" fmla="*/ 157677 h 200025"/>
                <a:gd name="connsiteX36" fmla="*/ 115814 w 209550"/>
                <a:gd name="connsiteY36" fmla="*/ 51225 h 200025"/>
                <a:gd name="connsiteX37" fmla="*/ 102270 w 209550"/>
                <a:gd name="connsiteY37" fmla="*/ 64113 h 200025"/>
                <a:gd name="connsiteX38" fmla="*/ 76314 w 209550"/>
                <a:gd name="connsiteY38" fmla="*/ 64113 h 200025"/>
                <a:gd name="connsiteX39" fmla="*/ 74190 w 209550"/>
                <a:gd name="connsiteY39" fmla="*/ 52540 h 200025"/>
                <a:gd name="connsiteX40" fmla="*/ 97764 w 209550"/>
                <a:gd name="connsiteY40" fmla="*/ 52949 h 200025"/>
                <a:gd name="connsiteX41" fmla="*/ 103194 w 209550"/>
                <a:gd name="connsiteY41" fmla="*/ 48206 h 200025"/>
                <a:gd name="connsiteX42" fmla="*/ 103194 w 209550"/>
                <a:gd name="connsiteY42" fmla="*/ 7144 h 200025"/>
                <a:gd name="connsiteX43" fmla="*/ 115805 w 209550"/>
                <a:gd name="connsiteY43" fmla="*/ 7144 h 200025"/>
                <a:gd name="connsiteX44" fmla="*/ 115805 w 209550"/>
                <a:gd name="connsiteY44" fmla="*/ 51225 h 200025"/>
                <a:gd name="connsiteX45" fmla="*/ 152295 w 209550"/>
                <a:gd name="connsiteY45" fmla="*/ 10754 h 200025"/>
                <a:gd name="connsiteX46" fmla="*/ 207569 w 209550"/>
                <a:gd name="connsiteY46" fmla="*/ 52949 h 200025"/>
                <a:gd name="connsiteX47" fmla="*/ 200720 w 209550"/>
                <a:gd name="connsiteY47" fmla="*/ 64113 h 200025"/>
                <a:gd name="connsiteX48" fmla="*/ 143380 w 209550"/>
                <a:gd name="connsiteY48" fmla="*/ 17964 h 200025"/>
                <a:gd name="connsiteX49" fmla="*/ 152295 w 209550"/>
                <a:gd name="connsiteY49" fmla="*/ 1075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9550" h="200025">
                  <a:moveTo>
                    <a:pt x="7144" y="99574"/>
                  </a:moveTo>
                  <a:cubicBezTo>
                    <a:pt x="85944" y="89449"/>
                    <a:pt x="122053" y="66684"/>
                    <a:pt x="149704" y="41158"/>
                  </a:cubicBezTo>
                  <a:lnTo>
                    <a:pt x="158277" y="49301"/>
                  </a:lnTo>
                  <a:cubicBezTo>
                    <a:pt x="148533" y="58322"/>
                    <a:pt x="128921" y="76152"/>
                    <a:pt x="94574" y="89011"/>
                  </a:cubicBezTo>
                  <a:lnTo>
                    <a:pt x="94574" y="89449"/>
                  </a:lnTo>
                  <a:lnTo>
                    <a:pt x="184356" y="89449"/>
                  </a:lnTo>
                  <a:lnTo>
                    <a:pt x="184356" y="200073"/>
                  </a:lnTo>
                  <a:lnTo>
                    <a:pt x="172298" y="200073"/>
                  </a:lnTo>
                  <a:lnTo>
                    <a:pt x="172298" y="190662"/>
                  </a:lnTo>
                  <a:lnTo>
                    <a:pt x="57217" y="190662"/>
                  </a:lnTo>
                  <a:lnTo>
                    <a:pt x="57217" y="200073"/>
                  </a:lnTo>
                  <a:lnTo>
                    <a:pt x="45329" y="200073"/>
                  </a:lnTo>
                  <a:lnTo>
                    <a:pt x="45329" y="103127"/>
                  </a:lnTo>
                  <a:cubicBezTo>
                    <a:pt x="28460" y="106947"/>
                    <a:pt x="20460" y="108271"/>
                    <a:pt x="12068" y="109528"/>
                  </a:cubicBezTo>
                  <a:lnTo>
                    <a:pt x="7144" y="99574"/>
                  </a:lnTo>
                  <a:close/>
                  <a:moveTo>
                    <a:pt x="9325" y="52940"/>
                  </a:moveTo>
                  <a:cubicBezTo>
                    <a:pt x="30366" y="44148"/>
                    <a:pt x="49263" y="30604"/>
                    <a:pt x="64093" y="11325"/>
                  </a:cubicBezTo>
                  <a:lnTo>
                    <a:pt x="74438" y="17707"/>
                  </a:lnTo>
                  <a:cubicBezTo>
                    <a:pt x="60855" y="37719"/>
                    <a:pt x="37662" y="53807"/>
                    <a:pt x="16802" y="64103"/>
                  </a:cubicBezTo>
                  <a:lnTo>
                    <a:pt x="9325" y="52940"/>
                  </a:lnTo>
                  <a:close/>
                  <a:moveTo>
                    <a:pt x="64951" y="98603"/>
                  </a:moveTo>
                  <a:cubicBezTo>
                    <a:pt x="62770" y="99174"/>
                    <a:pt x="61084" y="99708"/>
                    <a:pt x="57226" y="100470"/>
                  </a:cubicBezTo>
                  <a:lnTo>
                    <a:pt x="57226" y="117891"/>
                  </a:lnTo>
                  <a:lnTo>
                    <a:pt x="172307" y="117891"/>
                  </a:lnTo>
                  <a:lnTo>
                    <a:pt x="172307" y="98603"/>
                  </a:lnTo>
                  <a:lnTo>
                    <a:pt x="64951" y="98603"/>
                  </a:lnTo>
                  <a:close/>
                  <a:moveTo>
                    <a:pt x="172307" y="128006"/>
                  </a:moveTo>
                  <a:lnTo>
                    <a:pt x="57226" y="128006"/>
                  </a:lnTo>
                  <a:lnTo>
                    <a:pt x="57226" y="147771"/>
                  </a:lnTo>
                  <a:lnTo>
                    <a:pt x="172307" y="147771"/>
                  </a:lnTo>
                  <a:lnTo>
                    <a:pt x="172307" y="128006"/>
                  </a:lnTo>
                  <a:close/>
                  <a:moveTo>
                    <a:pt x="172307" y="157677"/>
                  </a:moveTo>
                  <a:lnTo>
                    <a:pt x="57226" y="157677"/>
                  </a:lnTo>
                  <a:lnTo>
                    <a:pt x="57226" y="181289"/>
                  </a:lnTo>
                  <a:lnTo>
                    <a:pt x="172307" y="181289"/>
                  </a:lnTo>
                  <a:lnTo>
                    <a:pt x="172307" y="157677"/>
                  </a:lnTo>
                  <a:close/>
                  <a:moveTo>
                    <a:pt x="115814" y="51225"/>
                  </a:moveTo>
                  <a:cubicBezTo>
                    <a:pt x="115814" y="60274"/>
                    <a:pt x="111985" y="64113"/>
                    <a:pt x="102270" y="64113"/>
                  </a:cubicBezTo>
                  <a:lnTo>
                    <a:pt x="76314" y="64113"/>
                  </a:lnTo>
                  <a:lnTo>
                    <a:pt x="74190" y="52540"/>
                  </a:lnTo>
                  <a:lnTo>
                    <a:pt x="97764" y="52949"/>
                  </a:lnTo>
                  <a:cubicBezTo>
                    <a:pt x="99974" y="52949"/>
                    <a:pt x="103194" y="53178"/>
                    <a:pt x="103194" y="48206"/>
                  </a:cubicBezTo>
                  <a:lnTo>
                    <a:pt x="103194" y="7144"/>
                  </a:lnTo>
                  <a:lnTo>
                    <a:pt x="115805" y="7144"/>
                  </a:lnTo>
                  <a:lnTo>
                    <a:pt x="115805" y="51225"/>
                  </a:lnTo>
                  <a:close/>
                  <a:moveTo>
                    <a:pt x="152295" y="10754"/>
                  </a:moveTo>
                  <a:cubicBezTo>
                    <a:pt x="168069" y="29966"/>
                    <a:pt x="190633" y="47177"/>
                    <a:pt x="207569" y="52949"/>
                  </a:cubicBezTo>
                  <a:lnTo>
                    <a:pt x="200720" y="64113"/>
                  </a:lnTo>
                  <a:cubicBezTo>
                    <a:pt x="176631" y="54016"/>
                    <a:pt x="155495" y="32985"/>
                    <a:pt x="143380" y="17964"/>
                  </a:cubicBezTo>
                  <a:lnTo>
                    <a:pt x="152295" y="10754"/>
                  </a:lnTo>
                  <a:close/>
                </a:path>
              </a:pathLst>
            </a:custGeom>
            <a:solidFill>
              <a:srgbClr val="000000"/>
            </a:solidFill>
            <a:ln w="9525" cap="flat">
              <a:noFill/>
              <a:prstDash val="solid"/>
              <a:miter/>
            </a:ln>
          </p:spPr>
          <p:txBody>
            <a:bodyPr rtlCol="0" anchor="ctr"/>
            <a:lstStyle/>
            <a:p>
              <a:endParaRPr lang="ja-JP" altLang="en-US"/>
            </a:p>
          </p:txBody>
        </p:sp>
      </p:grpSp>
      <p:sp>
        <p:nvSpPr>
          <p:cNvPr id="1025" name="Rectangle 2"/>
          <p:cNvSpPr>
            <a:spLocks noGrp="1" noChangeArrowheads="1"/>
          </p:cNvSpPr>
          <p:nvPr>
            <p:ph type="body" idx="1"/>
          </p:nvPr>
        </p:nvSpPr>
        <p:spPr>
          <a:xfrm>
            <a:off x="495300" y="1600200"/>
            <a:ext cx="8915400" cy="4525963"/>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3"/>
          <p:cNvSpPr>
            <a:spLocks noGrp="1" noChangeArrowheads="1"/>
          </p:cNvSpPr>
          <p:nvPr>
            <p:ph type="dt" sz="half" idx="2"/>
          </p:nvPr>
        </p:nvSpPr>
        <p:spPr>
          <a:xfrm>
            <a:off x="0" y="6570000"/>
            <a:ext cx="2311400" cy="2880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l" eaLnBrk="1" hangingPunct="1">
              <a:defRPr sz="1000">
                <a:solidFill>
                  <a:schemeClr val="tx1">
                    <a:lumMod val="85000"/>
                    <a:lumOff val="15000"/>
                  </a:schemeClr>
                </a:solidFill>
                <a:latin typeface="+mn-ea"/>
                <a:ea typeface="+mn-ea"/>
              </a:defRPr>
            </a:lvl1pPr>
          </a:lstStyle>
          <a:p>
            <a:pPr>
              <a:defRPr/>
            </a:pPr>
            <a:endParaRPr lang="en-US" altLang="ja-JP" dirty="0"/>
          </a:p>
        </p:txBody>
      </p:sp>
      <p:sp>
        <p:nvSpPr>
          <p:cNvPr id="1027" name="Rectangle 4"/>
          <p:cNvSpPr>
            <a:spLocks noGrp="1" noChangeArrowheads="1"/>
          </p:cNvSpPr>
          <p:nvPr>
            <p:ph type="ftr" sz="quarter" idx="3"/>
          </p:nvPr>
        </p:nvSpPr>
        <p:spPr>
          <a:xfrm>
            <a:off x="3384550" y="6577937"/>
            <a:ext cx="3136900" cy="2880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ctr" eaLnBrk="1" hangingPunct="1">
              <a:defRPr sz="1000">
                <a:solidFill>
                  <a:schemeClr val="tx1">
                    <a:lumMod val="85000"/>
                    <a:lumOff val="15000"/>
                  </a:schemeClr>
                </a:solidFill>
                <a:latin typeface="+mn-ea"/>
                <a:ea typeface="+mn-ea"/>
              </a:defRPr>
            </a:lvl1pPr>
          </a:lstStyle>
          <a:p>
            <a:pPr>
              <a:defRPr/>
            </a:pPr>
            <a:endParaRPr lang="en-US" altLang="ja-JP" dirty="0"/>
          </a:p>
        </p:txBody>
      </p:sp>
      <p:sp>
        <p:nvSpPr>
          <p:cNvPr id="1028" name="Rectangle 5"/>
          <p:cNvSpPr>
            <a:spLocks noGrp="1" noChangeArrowheads="1"/>
          </p:cNvSpPr>
          <p:nvPr>
            <p:ph type="sldNum" sz="quarter" idx="4"/>
          </p:nvPr>
        </p:nvSpPr>
        <p:spPr>
          <a:xfrm>
            <a:off x="9476506" y="6570000"/>
            <a:ext cx="429494" cy="2880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eaLnBrk="1" hangingPunct="1">
              <a:defRPr sz="1000">
                <a:solidFill>
                  <a:schemeClr val="tx1">
                    <a:lumMod val="85000"/>
                    <a:lumOff val="15000"/>
                  </a:schemeClr>
                </a:solidFill>
                <a:latin typeface="+mn-ea"/>
                <a:ea typeface="+mn-ea"/>
              </a:defRPr>
            </a:lvl1pPr>
          </a:lstStyle>
          <a:p>
            <a:pPr>
              <a:defRPr/>
            </a:pPr>
            <a:fld id="{CA1AF5DB-AE8E-46F2-99A8-A16EDB727E4B}" type="slidenum">
              <a:rPr lang="en-US" altLang="ja-JP" smtClean="0"/>
              <a:pPr>
                <a:defRPr/>
              </a:pPr>
              <a:t>‹#›</a:t>
            </a:fld>
            <a:endParaRPr lang="en-US" altLang="ja-JP" dirty="0"/>
          </a:p>
        </p:txBody>
      </p:sp>
      <p:sp>
        <p:nvSpPr>
          <p:cNvPr id="1029" name="Rectangle 6"/>
          <p:cNvSpPr>
            <a:spLocks noChangeArrowheads="1"/>
          </p:cNvSpPr>
          <p:nvPr userDrawn="1"/>
        </p:nvSpPr>
        <p:spPr>
          <a:xfrm>
            <a:off x="0" y="0"/>
            <a:ext cx="9906000" cy="366713"/>
          </a:xfrm>
          <a:prstGeom prst="rect">
            <a:avLst/>
          </a:prstGeom>
          <a:no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nvGrpSpPr>
          <p:cNvPr id="1030" name="Group 27"/>
          <p:cNvGrpSpPr/>
          <p:nvPr userDrawn="1"/>
        </p:nvGrpSpPr>
        <p:grpSpPr>
          <a:xfrm>
            <a:off x="0" y="333375"/>
            <a:ext cx="9906000" cy="214313"/>
            <a:chOff x="0" y="255"/>
            <a:chExt cx="6240" cy="135"/>
          </a:xfrm>
        </p:grpSpPr>
        <p:sp>
          <p:nvSpPr>
            <p:cNvPr id="1031" name="Rectangle 28"/>
            <p:cNvSpPr>
              <a:spLocks noChangeArrowheads="1"/>
            </p:cNvSpPr>
            <p:nvPr userDrawn="1"/>
          </p:nvSpPr>
          <p:spPr>
            <a:xfrm>
              <a:off x="0" y="345"/>
              <a:ext cx="6240" cy="45"/>
            </a:xfrm>
            <a:prstGeom prst="rect">
              <a:avLst/>
            </a:prstGeom>
            <a:solidFill>
              <a:srgbClr val="FF0000"/>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2" name="Rectangle 29"/>
            <p:cNvSpPr>
              <a:spLocks noChangeArrowheads="1"/>
            </p:cNvSpPr>
            <p:nvPr userDrawn="1"/>
          </p:nvSpPr>
          <p:spPr>
            <a:xfrm>
              <a:off x="0" y="300"/>
              <a:ext cx="6240" cy="45"/>
            </a:xfrm>
            <a:prstGeom prst="rect">
              <a:avLst/>
            </a:prstGeom>
            <a:solidFill>
              <a:srgbClr val="FF3399"/>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sp>
          <p:nvSpPr>
            <p:cNvPr id="1033" name="Rectangle 30"/>
            <p:cNvSpPr>
              <a:spLocks noChangeArrowheads="1"/>
            </p:cNvSpPr>
            <p:nvPr userDrawn="1"/>
          </p:nvSpPr>
          <p:spPr>
            <a:xfrm>
              <a:off x="0" y="255"/>
              <a:ext cx="6240" cy="45"/>
            </a:xfrm>
            <a:prstGeom prst="rect">
              <a:avLst/>
            </a:prstGeom>
            <a:solidFill>
              <a:srgbClr val="FFCCFF"/>
            </a:solidFill>
            <a:ln>
              <a:noFill/>
            </a:ln>
            <a:effectLst/>
          </p:spPr>
          <p:txBody>
            <a:bodyPr wrap="none" anchor="ctr"/>
            <a:lstStyle>
              <a:lvl1pPr algn="ctr">
                <a:defRPr kumimoji="1">
                  <a:solidFill>
                    <a:schemeClr val="tx1"/>
                  </a:solidFill>
                  <a:latin typeface="Arial" panose="020B0604020202020204" pitchFamily="34" charset="0"/>
                  <a:ea typeface="ＭＳ Ｐゴシック" panose="020B0600070205080204" pitchFamily="50" charset="-128"/>
                </a:defRPr>
              </a:lvl1pPr>
              <a:lvl2pPr marL="742950" indent="-285750" algn="ctr">
                <a:defRPr kumimoji="1">
                  <a:solidFill>
                    <a:schemeClr val="tx1"/>
                  </a:solidFill>
                  <a:latin typeface="Arial" panose="020B0604020202020204" pitchFamily="34" charset="0"/>
                  <a:ea typeface="ＭＳ Ｐゴシック" panose="020B0600070205080204" pitchFamily="50" charset="-128"/>
                </a:defRPr>
              </a:lvl2pPr>
              <a:lvl3pPr marL="1143000" indent="-228600" algn="ctr">
                <a:defRPr kumimoji="1">
                  <a:solidFill>
                    <a:schemeClr val="tx1"/>
                  </a:solidFill>
                  <a:latin typeface="Arial" panose="020B0604020202020204" pitchFamily="34" charset="0"/>
                  <a:ea typeface="ＭＳ Ｐゴシック" panose="020B0600070205080204" pitchFamily="50" charset="-128"/>
                </a:defRPr>
              </a:lvl3pPr>
              <a:lvl4pPr marL="1600200" indent="-228600" algn="ctr">
                <a:defRPr kumimoji="1">
                  <a:solidFill>
                    <a:schemeClr val="tx1"/>
                  </a:solidFill>
                  <a:latin typeface="Arial" panose="020B0604020202020204" pitchFamily="34" charset="0"/>
                  <a:ea typeface="ＭＳ Ｐゴシック" panose="020B0600070205080204" pitchFamily="50" charset="-128"/>
                </a:defRPr>
              </a:lvl4pPr>
              <a:lvl5pPr marL="2057400" indent="-228600" algn="ctr">
                <a:defRPr kumimoji="1">
                  <a:solidFill>
                    <a:schemeClr val="tx1"/>
                  </a:solidFill>
                  <a:latin typeface="Arial" panose="020B0604020202020204" pitchFamily="34" charset="0"/>
                  <a:ea typeface="ＭＳ Ｐゴシック" panose="020B0600070205080204" pitchFamily="50" charset="-128"/>
                </a:defRPr>
              </a:lvl5pPr>
              <a:lvl6pPr marL="25146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algn="ctr"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a:p>
          </p:txBody>
        </p:sp>
      </p:grpSp>
      <p:sp>
        <p:nvSpPr>
          <p:cNvPr id="1034" name="Rectangle 22"/>
          <p:cNvSpPr>
            <a:spLocks noGrp="1" noChangeArrowheads="1"/>
          </p:cNvSpPr>
          <p:nvPr>
            <p:ph type="title"/>
          </p:nvPr>
        </p:nvSpPr>
        <p:spPr>
          <a:xfrm>
            <a:off x="0" y="0"/>
            <a:ext cx="8266113" cy="476250"/>
          </a:xfrm>
          <a:prstGeom prst="rect">
            <a:avLst/>
          </a:prstGeom>
          <a:noFill/>
          <a:ln>
            <a:noFill/>
          </a:ln>
          <a:effectLst/>
        </p:spPr>
        <p:txBody>
          <a:bodyPr vert="horz" wrap="square" lIns="91440" tIns="45720" rIns="91440" bIns="45720" numCol="1" anchor="ctr" anchorCtr="0" compatLnSpc="1">
            <a:prstTxWarp prst="textNoShape">
              <a:avLst/>
            </a:prstTxWarp>
          </a:bodyPr>
          <a:lstStyle/>
          <a:p>
            <a:pPr lvl="0"/>
            <a:r>
              <a:rPr lang="ja-JP" altLang="en-US" dirty="0"/>
              <a:t>マスタ タイトルの書式設定</a:t>
            </a:r>
          </a:p>
        </p:txBody>
      </p:sp>
    </p:spTree>
    <p:extLst>
      <p:ext uri="{BB962C8B-B14F-4D97-AF65-F5344CB8AC3E}">
        <p14:creationId xmlns:p14="http://schemas.microsoft.com/office/powerpoint/2010/main" val="3554947825"/>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Lst>
  <p:hf hdr="0" ftr="0" dt="0"/>
  <p:txStyles>
    <p:titleStyle>
      <a:lvl1pPr algn="l" rtl="0" eaLnBrk="0" fontAlgn="base" hangingPunct="0">
        <a:spcBef>
          <a:spcPct val="0"/>
        </a:spcBef>
        <a:spcAft>
          <a:spcPct val="0"/>
        </a:spcAft>
        <a:defRPr kumimoji="1" sz="2800" b="1" kern="1200">
          <a:solidFill>
            <a:schemeClr val="tx1"/>
          </a:solidFill>
          <a:latin typeface="+mj-lt"/>
          <a:ea typeface="+mj-ea"/>
          <a:cs typeface="+mj-cs"/>
        </a:defRPr>
      </a:lvl1pPr>
      <a:lvl2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2pPr>
      <a:lvl3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3pPr>
      <a:lvl4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4pPr>
      <a:lvl5pPr algn="l" rtl="0" eaLnBrk="0" fontAlgn="base" hangingPunct="0">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5pPr>
      <a:lvl6pPr marL="4572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6pPr>
      <a:lvl7pPr marL="9144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7pPr>
      <a:lvl8pPr marL="13716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8pPr>
      <a:lvl9pPr marL="1828800" algn="l" rtl="0" fontAlgn="base">
        <a:spcBef>
          <a:spcPct val="0"/>
        </a:spcBef>
        <a:spcAft>
          <a:spcPct val="0"/>
        </a:spcAft>
        <a:defRPr kumimoji="1" sz="2800">
          <a:solidFill>
            <a:schemeClr val="tx1"/>
          </a:solidFill>
          <a:latin typeface="HGP創英角ｺﾞｼｯｸUB" panose="020B0900000000000000" pitchFamily="50" charset="-128"/>
          <a:ea typeface="HGP創英角ｺﾞｼｯｸUB" panose="020B0900000000000000" pitchFamily="50" charset="-128"/>
        </a:defRPr>
      </a:lvl9pPr>
    </p:titleStyle>
    <p:bodyStyle>
      <a:lvl1pPr marL="342900" indent="-342900" algn="l" rtl="0" eaLnBrk="0" fontAlgn="base" hangingPunct="0">
        <a:spcBef>
          <a:spcPct val="20000"/>
        </a:spcBef>
        <a:spcAft>
          <a:spcPct val="0"/>
        </a:spcAft>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27.xml" Type="http://schemas.openxmlformats.org/officeDocument/2006/relationships/slideLayout"/><Relationship Id="rId2" Target="../notesSlides/notesSlide1.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6" name="正方形/長方形 2"/>
          <p:cNvSpPr>
            <a:spLocks noChangeArrowheads="1"/>
          </p:cNvSpPr>
          <p:nvPr/>
        </p:nvSpPr>
        <p:spPr>
          <a:xfrm>
            <a:off x="698500" y="0"/>
            <a:ext cx="7974445" cy="346472"/>
          </a:xfrm>
          <a:prstGeom prst="rect">
            <a:avLst/>
          </a:prstGeom>
          <a:no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1" fontAlgn="auto" latinLnBrk="0" hangingPunct="1">
              <a:lnSpc>
                <a:spcPct val="100000"/>
              </a:lnSpc>
              <a:spcBef>
                <a:spcPct val="20000"/>
              </a:spcBef>
              <a:spcAft>
                <a:spcPts val="0"/>
              </a:spcAft>
              <a:buClrTx/>
              <a:buSzTx/>
              <a:buFontTx/>
              <a:buNone/>
              <a:tabLst/>
              <a:defRPr/>
            </a:pPr>
            <a:r>
              <a:rPr kumimoji="1" lang="ja-JP" altLang="en-US" sz="14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事業名（申請者名）</a:t>
            </a:r>
          </a:p>
        </p:txBody>
      </p:sp>
      <p:sp>
        <p:nvSpPr>
          <p:cNvPr id="2" name="スライド番号プレースホルダー 1">
            <a:extLst>
              <a:ext uri="{FF2B5EF4-FFF2-40B4-BE49-F238E27FC236}">
                <a16:creationId xmlns:a16="http://schemas.microsoft.com/office/drawing/2014/main" id="{3FD9B9F7-9BCA-FE4C-B5D9-D5F1A0B93A2F}"/>
              </a:ext>
            </a:extLst>
          </p:cNvPr>
          <p:cNvSpPr>
            <a:spLocks noGrp="1"/>
          </p:cNvSpPr>
          <p:nvPr>
            <p:ph type="sldNum" sz="quarter" idx="12"/>
          </p:nvPr>
        </p:nvSpPr>
        <p:spPr>
          <a:xfrm>
            <a:off x="0" y="-1693"/>
            <a:ext cx="698500" cy="345934"/>
          </a:xfrm>
          <a:solidFill>
            <a:srgbClr val="FF5B5B"/>
          </a:solidFill>
        </p:spPr>
        <p:txBody>
          <a:bodyPr lIns="0" tIns="0" rIns="0" b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①</a:t>
            </a:r>
            <a:endParaRPr kumimoji="1" lang="en-US" altLang="ja-JP" sz="1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12" name="吹き出し: 四角形 11">
            <a:extLst>
              <a:ext uri="{FF2B5EF4-FFF2-40B4-BE49-F238E27FC236}">
                <a16:creationId xmlns:a16="http://schemas.microsoft.com/office/drawing/2014/main" id="{154190D6-EBE4-3FC8-C3E5-1C5CF9C50E3E}"/>
              </a:ext>
            </a:extLst>
          </p:cNvPr>
          <p:cNvSpPr/>
          <p:nvPr/>
        </p:nvSpPr>
        <p:spPr>
          <a:xfrm>
            <a:off x="-5330584" y="-502309"/>
            <a:ext cx="4981334" cy="1259947"/>
          </a:xfrm>
          <a:prstGeom prst="wedgeRectCallout">
            <a:avLst>
              <a:gd name="adj1" fmla="val 56588"/>
              <a:gd name="adj2" fmla="val 3362"/>
            </a:avLst>
          </a:prstGeom>
          <a:solidFill>
            <a:srgbClr val="FFF1C5"/>
          </a:solidFill>
          <a:ln w="12700" cap="flat" cmpd="sng" algn="ctr">
            <a:solidFill>
              <a:sysClr val="windowText" lastClr="000000"/>
            </a:solidFill>
            <a:prstDash val="solid"/>
            <a:miter lim="800000"/>
          </a:ln>
          <a:effectLst/>
        </p:spPr>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以下の事業類型に対応する番号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①学内研究者への情報発信・開催機運醸成</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②新規国際会議の創出・拡大、海外とのネットワーク形成、大規模国際会議に付随するサテライト会議開催を通じた人材育成</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③その他</a:t>
            </a:r>
          </a:p>
        </p:txBody>
      </p:sp>
      <p:sp>
        <p:nvSpPr>
          <p:cNvPr id="17" name="吹き出し: 四角形 16">
            <a:extLst>
              <a:ext uri="{FF2B5EF4-FFF2-40B4-BE49-F238E27FC236}">
                <a16:creationId xmlns:a16="http://schemas.microsoft.com/office/drawing/2014/main" id="{F8645304-CE53-2E8F-8FC3-57B09B268C28}"/>
              </a:ext>
            </a:extLst>
          </p:cNvPr>
          <p:cNvSpPr/>
          <p:nvPr/>
        </p:nvSpPr>
        <p:spPr>
          <a:xfrm>
            <a:off x="-63797" y="-1163623"/>
            <a:ext cx="10504969" cy="644506"/>
          </a:xfrm>
          <a:prstGeom prst="wedgeRectCallout">
            <a:avLst>
              <a:gd name="adj1" fmla="val 12001"/>
              <a:gd name="adj2" fmla="val 47714"/>
            </a:avLst>
          </a:prstGeom>
          <a:solidFill>
            <a:srgbClr val="FFF1C5"/>
          </a:solidFill>
          <a:ln w="12700" cap="flat" cmpd="sng" algn="ctr">
            <a:solidFill>
              <a:sysClr val="windowText" lastClr="000000"/>
            </a:solidFill>
            <a:prstDash val="solid"/>
            <a:miter lim="800000"/>
          </a:ln>
          <a:effectLst/>
        </p:spPr>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注：本資料は必ず一枚に収まるよう、</a:t>
            </a:r>
            <a:r>
              <a:rPr kumimoji="0" lang="ja-JP" altLang="en-US" b="1" i="0" u="none" strike="noStrike" kern="0" cap="none" spc="0" normalizeH="0" baseline="0" noProof="0" dirty="0">
                <a:ln>
                  <a:noFill/>
                </a:ln>
                <a:effectLst/>
                <a:uLnTx/>
                <a:uFillTx/>
                <a:latin typeface="Meiryo UI" panose="020B0604030504040204" pitchFamily="50" charset="-128"/>
                <a:ea typeface="Meiryo UI" panose="020B0604030504040204" pitchFamily="50" charset="-128"/>
                <a:cs typeface="+mn-cs"/>
              </a:rPr>
              <a:t>黒字</a:t>
            </a:r>
            <a:r>
              <a:rPr kumimoji="0" lang="ja-JP" altLang="en-US" b="1"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で作成してください。</a:t>
            </a:r>
            <a:endParaRPr kumimoji="0" lang="en-US" altLang="ja-JP" b="1"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b="1"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注：採択された場合、各地域関係者に広く共有させていただく可能性がございますのでその前提で作成ください。</a:t>
            </a:r>
          </a:p>
        </p:txBody>
      </p:sp>
      <p:sp>
        <p:nvSpPr>
          <p:cNvPr id="3" name="正方形/長方形 1210">
            <a:extLst>
              <a:ext uri="{FF2B5EF4-FFF2-40B4-BE49-F238E27FC236}">
                <a16:creationId xmlns:a16="http://schemas.microsoft.com/office/drawing/2014/main" id="{64668CCC-D07F-314B-1DBD-4CD9BF2D6906}"/>
              </a:ext>
            </a:extLst>
          </p:cNvPr>
          <p:cNvSpPr/>
          <p:nvPr/>
        </p:nvSpPr>
        <p:spPr>
          <a:xfrm>
            <a:off x="130219" y="602645"/>
            <a:ext cx="9645558" cy="735135"/>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事業の目的・効果が分かるよう２行程度で概要を記載ください。</a:t>
            </a:r>
            <a:endParaRPr kumimoji="0" lang="en-US" altLang="ja-JP"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cs typeface="+mn-cs"/>
            </a:endParaRPr>
          </a:p>
        </p:txBody>
      </p:sp>
      <p:sp>
        <p:nvSpPr>
          <p:cNvPr id="4" name="正方形/長方形 1212">
            <a:extLst>
              <a:ext uri="{FF2B5EF4-FFF2-40B4-BE49-F238E27FC236}">
                <a16:creationId xmlns:a16="http://schemas.microsoft.com/office/drawing/2014/main" id="{26DF6368-687C-0056-2916-FB60191EE32C}"/>
              </a:ext>
            </a:extLst>
          </p:cNvPr>
          <p:cNvSpPr/>
          <p:nvPr/>
        </p:nvSpPr>
        <p:spPr>
          <a:xfrm>
            <a:off x="130220" y="602645"/>
            <a:ext cx="1668948" cy="208386"/>
          </a:xfrm>
          <a:prstGeom prst="rect">
            <a:avLst/>
          </a:prstGeom>
          <a:solidFill>
            <a:srgbClr val="FF5B5B"/>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事業概要</a:t>
            </a:r>
          </a:p>
        </p:txBody>
      </p:sp>
      <p:sp>
        <p:nvSpPr>
          <p:cNvPr id="20" name="正方形/長方形 1210">
            <a:extLst>
              <a:ext uri="{FF2B5EF4-FFF2-40B4-BE49-F238E27FC236}">
                <a16:creationId xmlns:a16="http://schemas.microsoft.com/office/drawing/2014/main" id="{EEFD26E9-CAD2-80C4-E43F-C9A78F193DC8}"/>
              </a:ext>
            </a:extLst>
          </p:cNvPr>
          <p:cNvSpPr/>
          <p:nvPr/>
        </p:nvSpPr>
        <p:spPr>
          <a:xfrm>
            <a:off x="130219" y="1407052"/>
            <a:ext cx="9645558" cy="2286424"/>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0" lang="ja-JP" altLang="en-US"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構成組織</a:t>
            </a:r>
            <a:r>
              <a:rPr kumimoji="0" lang="en-US" altLang="ja-JP"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0" lang="ja-JP" altLang="en-US"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0" lang="en-US" altLang="ja-JP" sz="120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0" lang="ja-JP" altLang="en-US" sz="120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例）○○大学○○課、○○コンベンションビューロー、○○市　</a:t>
            </a:r>
            <a:r>
              <a:rPr kumimoji="0" lang="en-US" altLang="ja-JP" sz="120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0" lang="ja-JP" altLang="en-US" sz="120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空いている箇所に体制図を追記してください。　</a:t>
            </a:r>
            <a:endParaRPr kumimoji="0" lang="en-US" altLang="ja-JP" sz="1200" i="0" u="sng"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altLang="ja-JP"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0" lang="ja-JP" altLang="en-US"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大学機関における取組実績</a:t>
            </a:r>
            <a:r>
              <a:rPr kumimoji="0" lang="en-US" altLang="ja-JP"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0" lang="en-US" altLang="ja-JP" sz="120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0" lang="ja-JP" altLang="en-US" sz="120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大学機関において、国際会議主催者対してこれまで提供しているサポート内容（資金、人材等）を記載してください。</a:t>
            </a: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altLang="ja-JP"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0" lang="ja-JP" altLang="en-US"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本事業におけるそれぞれの組織の役割と取組内容</a:t>
            </a:r>
            <a:r>
              <a:rPr kumimoji="0" lang="en-US" altLang="ja-JP" sz="120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　</a:t>
            </a:r>
            <a:r>
              <a:rPr kumimoji="0" lang="ja-JP" altLang="en-US"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記載例）</a:t>
            </a:r>
            <a:endParaRPr kumimoji="0" lang="en-US" altLang="ja-JP"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大学○○課：</a:t>
            </a:r>
            <a:endParaRPr kumimoji="0" lang="en-US" altLang="ja-JP"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コンベンションビューロー：</a:t>
            </a:r>
            <a:endParaRPr kumimoji="0" lang="en-US" altLang="ja-JP"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　○○市：</a:t>
            </a:r>
          </a:p>
        </p:txBody>
      </p:sp>
      <p:sp>
        <p:nvSpPr>
          <p:cNvPr id="21" name="正方形/長方形 1212">
            <a:extLst>
              <a:ext uri="{FF2B5EF4-FFF2-40B4-BE49-F238E27FC236}">
                <a16:creationId xmlns:a16="http://schemas.microsoft.com/office/drawing/2014/main" id="{1DF82616-348D-C35D-3287-CE441D69FEAD}"/>
              </a:ext>
            </a:extLst>
          </p:cNvPr>
          <p:cNvSpPr/>
          <p:nvPr/>
        </p:nvSpPr>
        <p:spPr>
          <a:xfrm>
            <a:off x="130219" y="1407052"/>
            <a:ext cx="1668948" cy="208386"/>
          </a:xfrm>
          <a:prstGeom prst="rect">
            <a:avLst/>
          </a:prstGeom>
          <a:solidFill>
            <a:srgbClr val="FF5B5B"/>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事業実施体制</a:t>
            </a:r>
          </a:p>
        </p:txBody>
      </p:sp>
      <p:sp>
        <p:nvSpPr>
          <p:cNvPr id="31" name="正方形/長方形 1210">
            <a:extLst>
              <a:ext uri="{FF2B5EF4-FFF2-40B4-BE49-F238E27FC236}">
                <a16:creationId xmlns:a16="http://schemas.microsoft.com/office/drawing/2014/main" id="{8E39AF90-FF9D-B535-BC3E-EAA6C5CDC147}"/>
              </a:ext>
            </a:extLst>
          </p:cNvPr>
          <p:cNvSpPr/>
          <p:nvPr/>
        </p:nvSpPr>
        <p:spPr>
          <a:xfrm>
            <a:off x="130219" y="5575774"/>
            <a:ext cx="9645558" cy="1223957"/>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次年度以降の取組内容」及び「継続的な取組に向けてどう自走化して取り組むのか」が分かるよう、５行以内で記載してください。</a:t>
            </a:r>
            <a:endParaRPr kumimoji="0" lang="en-US" altLang="ja-JP" sz="12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altLang="ja-JP" sz="1200" dirty="0">
              <a:solidFill>
                <a:srgbClr val="000000"/>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altLang="ja-JP" sz="1200" dirty="0">
              <a:solidFill>
                <a:srgbClr val="000000"/>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2" name="正方形/長方形 1212">
            <a:extLst>
              <a:ext uri="{FF2B5EF4-FFF2-40B4-BE49-F238E27FC236}">
                <a16:creationId xmlns:a16="http://schemas.microsoft.com/office/drawing/2014/main" id="{44A23ECC-6C4F-5D85-CC66-2F0C43F89002}"/>
              </a:ext>
            </a:extLst>
          </p:cNvPr>
          <p:cNvSpPr/>
          <p:nvPr/>
        </p:nvSpPr>
        <p:spPr>
          <a:xfrm>
            <a:off x="130218" y="5575773"/>
            <a:ext cx="2917782" cy="227130"/>
          </a:xfrm>
          <a:prstGeom prst="rect">
            <a:avLst/>
          </a:prstGeom>
          <a:solidFill>
            <a:srgbClr val="FF5B5B"/>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次年度以降の継続的な取組</a:t>
            </a:r>
          </a:p>
        </p:txBody>
      </p:sp>
      <p:sp>
        <p:nvSpPr>
          <p:cNvPr id="6" name="吹き出し: 四角形 5">
            <a:extLst>
              <a:ext uri="{FF2B5EF4-FFF2-40B4-BE49-F238E27FC236}">
                <a16:creationId xmlns:a16="http://schemas.microsoft.com/office/drawing/2014/main" id="{F5C6CC77-878A-5EC6-1ADD-7A77CB42269A}"/>
              </a:ext>
            </a:extLst>
          </p:cNvPr>
          <p:cNvSpPr/>
          <p:nvPr/>
        </p:nvSpPr>
        <p:spPr>
          <a:xfrm>
            <a:off x="3144136" y="-481683"/>
            <a:ext cx="2483736" cy="345935"/>
          </a:xfrm>
          <a:prstGeom prst="wedgeRectCallout">
            <a:avLst>
              <a:gd name="adj1" fmla="val -53667"/>
              <a:gd name="adj2" fmla="val 77944"/>
            </a:avLst>
          </a:prstGeom>
          <a:solidFill>
            <a:srgbClr val="FFF1C5"/>
          </a:solidFill>
          <a:ln w="12700" cap="flat" cmpd="sng" algn="ctr">
            <a:solidFill>
              <a:sysClr val="windowText" lastClr="000000"/>
            </a:solidFill>
            <a:prstDash val="solid"/>
            <a:miter lim="800000"/>
          </a:ln>
          <a:effectLst/>
        </p:spPr>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名と申請者名を記入してください。</a:t>
            </a:r>
          </a:p>
        </p:txBody>
      </p:sp>
      <p:sp>
        <p:nvSpPr>
          <p:cNvPr id="18" name="正方形/長方形 1210">
            <a:extLst>
              <a:ext uri="{FF2B5EF4-FFF2-40B4-BE49-F238E27FC236}">
                <a16:creationId xmlns:a16="http://schemas.microsoft.com/office/drawing/2014/main" id="{3722DA44-ADDD-17C7-D2C0-B4CA75083BFC}"/>
              </a:ext>
            </a:extLst>
          </p:cNvPr>
          <p:cNvSpPr/>
          <p:nvPr/>
        </p:nvSpPr>
        <p:spPr>
          <a:xfrm>
            <a:off x="136315" y="3771788"/>
            <a:ext cx="9645558" cy="1740830"/>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ja-JP" altLang="en-US" sz="1200" dirty="0">
                <a:solidFill>
                  <a:srgbClr val="FF0000"/>
                </a:solidFill>
                <a:latin typeface="Meiryo UI" panose="020B0604030504040204" pitchFamily="50" charset="-128"/>
                <a:ea typeface="Meiryo UI" panose="020B0604030504040204" pitchFamily="50" charset="-128"/>
              </a:rPr>
              <a:t>「今年度の取組内容」及び「</a:t>
            </a:r>
            <a:r>
              <a:rPr lang="ja-JP" altLang="en-US" sz="1200" u="wavy" dirty="0">
                <a:solidFill>
                  <a:srgbClr val="FF0000"/>
                </a:solidFill>
                <a:latin typeface="Meiryo UI" panose="020B0604030504040204" pitchFamily="50" charset="-128"/>
                <a:ea typeface="Meiryo UI" panose="020B0604030504040204" pitchFamily="50" charset="-128"/>
              </a:rPr>
              <a:t>将来の国際会議主催者育成の観点から</a:t>
            </a:r>
            <a:r>
              <a:rPr lang="ja-JP" altLang="en-US" sz="1200" dirty="0">
                <a:solidFill>
                  <a:srgbClr val="FF0000"/>
                </a:solidFill>
                <a:latin typeface="Meiryo UI" panose="020B0604030504040204" pitchFamily="50" charset="-128"/>
                <a:ea typeface="Meiryo UI" panose="020B0604030504040204" pitchFamily="50" charset="-128"/>
              </a:rPr>
              <a:t>期待される効果」が分かるよう、８行以内で記載してください。</a:t>
            </a:r>
            <a:endParaRPr lang="en-US" altLang="ja-JP" sz="1200" dirty="0">
              <a:solidFill>
                <a:srgbClr val="FF0000"/>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altLang="ja-JP" sz="1200" dirty="0">
              <a:solidFill>
                <a:schemeClr val="tx1"/>
              </a:solidFill>
              <a:latin typeface="Meiryo UI" panose="020B0604030504040204" pitchFamily="50" charset="-128"/>
              <a:ea typeface="Meiryo UI" panose="020B0604030504040204" pitchFamily="50" charset="-128"/>
            </a:endParaRPr>
          </a:p>
        </p:txBody>
      </p:sp>
      <p:sp>
        <p:nvSpPr>
          <p:cNvPr id="22" name="正方形/長方形 1212">
            <a:extLst>
              <a:ext uri="{FF2B5EF4-FFF2-40B4-BE49-F238E27FC236}">
                <a16:creationId xmlns:a16="http://schemas.microsoft.com/office/drawing/2014/main" id="{C69C23E8-3B53-4601-BA75-5F91B49E97EB}"/>
              </a:ext>
            </a:extLst>
          </p:cNvPr>
          <p:cNvSpPr/>
          <p:nvPr/>
        </p:nvSpPr>
        <p:spPr>
          <a:xfrm>
            <a:off x="136314" y="3771787"/>
            <a:ext cx="2917782" cy="227130"/>
          </a:xfrm>
          <a:prstGeom prst="rect">
            <a:avLst/>
          </a:prstGeom>
          <a:solidFill>
            <a:srgbClr val="FF5B5B"/>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今年度の取組内容と期待される効果</a:t>
            </a:r>
          </a:p>
        </p:txBody>
      </p:sp>
      <p:sp>
        <p:nvSpPr>
          <p:cNvPr id="23" name="吹き出し: 四角形 22">
            <a:extLst>
              <a:ext uri="{FF2B5EF4-FFF2-40B4-BE49-F238E27FC236}">
                <a16:creationId xmlns:a16="http://schemas.microsoft.com/office/drawing/2014/main" id="{EBC65125-090F-548E-E5C1-315662935BA1}"/>
              </a:ext>
            </a:extLst>
          </p:cNvPr>
          <p:cNvSpPr/>
          <p:nvPr/>
        </p:nvSpPr>
        <p:spPr>
          <a:xfrm>
            <a:off x="10606272" y="191536"/>
            <a:ext cx="3040256" cy="421751"/>
          </a:xfrm>
          <a:prstGeom prst="wedgeRectCallout">
            <a:avLst>
              <a:gd name="adj1" fmla="val -64571"/>
              <a:gd name="adj2" fmla="val 187868"/>
            </a:avLst>
          </a:prstGeom>
          <a:solidFill>
            <a:srgbClr val="FFF1C5"/>
          </a:solidFill>
          <a:ln w="12700" cap="flat" cmpd="sng" algn="ctr">
            <a:solidFill>
              <a:sysClr val="windowText" lastClr="000000"/>
            </a:solidFill>
            <a:prstDash val="solid"/>
            <a:miter lim="800000"/>
          </a:ln>
          <a:effectLst/>
        </p:spPr>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赤字注書部分のみ</a:t>
            </a:r>
            <a:r>
              <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提出時に削除してください。</a:t>
            </a:r>
          </a:p>
        </p:txBody>
      </p:sp>
    </p:spTree>
    <p:extLst>
      <p:ext uri="{BB962C8B-B14F-4D97-AF65-F5344CB8AC3E}">
        <p14:creationId xmlns:p14="http://schemas.microsoft.com/office/powerpoint/2010/main" val="3082690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9CyNe0rRgTUhKfpG.fuD6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標準デザイン">
  <a:themeElements>
    <a:clrScheme name="観光庁用スライド配色">
      <a:dk1>
        <a:srgbClr val="000000"/>
      </a:dk1>
      <a:lt1>
        <a:srgbClr val="FFFFFF"/>
      </a:lt1>
      <a:dk2>
        <a:srgbClr val="000000"/>
      </a:dk2>
      <a:lt2>
        <a:srgbClr val="808080"/>
      </a:lt2>
      <a:accent1>
        <a:srgbClr val="851C3F"/>
      </a:accent1>
      <a:accent2>
        <a:srgbClr val="DA3056"/>
      </a:accent2>
      <a:accent3>
        <a:srgbClr val="FAB89A"/>
      </a:accent3>
      <a:accent4>
        <a:srgbClr val="F6E2E0"/>
      </a:accent4>
      <a:accent5>
        <a:srgbClr val="F42D62"/>
      </a:accent5>
      <a:accent6>
        <a:srgbClr val="EA4C55"/>
      </a:accent6>
      <a:hlink>
        <a:srgbClr val="323366"/>
      </a:hlink>
      <a:folHlink>
        <a:srgbClr val="F44E2E"/>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a:solidFill>
            <a:srgbClr val="FF0000"/>
          </a:solidFill>
          <a:prstDash val="sysDash"/>
          <a:round/>
          <a:headEnd/>
          <a:tailEnd/>
        </a:ln>
        <a:effectLst/>
      </a:spPr>
      <a:bodyPr wrap="square" lIns="91422" tIns="45710" rIns="91422" bIns="45710" rtlCol="0" anchor="t" anchorCtr="0">
        <a:spAutoFit/>
      </a:bodyPr>
      <a:lstStyle>
        <a:defPPr marL="1338263" algn="ctr">
          <a:lnSpc>
            <a:spcPct val="130000"/>
          </a:lnSpc>
          <a:tabLst>
            <a:tab pos="3136900" algn="ctr"/>
          </a:tabLst>
          <a:defRPr kumimoji="1" sz="1200" dirty="0" smtClean="0">
            <a:latin typeface="+mj-ea"/>
            <a:ea typeface="+mj-ea"/>
          </a:defRPr>
        </a:defPPr>
      </a:lstStyle>
    </a:spDef>
    <a:lnDef>
      <a:spPr bwMode="auto">
        <a:xfrm>
          <a:off x="0" y="0"/>
          <a:ext cx="1" cy="1"/>
        </a:xfrm>
        <a:custGeom>
          <a:avLst/>
          <a:gdLst/>
          <a:ahLst/>
          <a:cxnLst/>
          <a:rect l="0" t="0" r="0" b="0"/>
          <a:pathLst/>
        </a:custGeom>
        <a:solidFill>
          <a:srgbClr val="0066CC"/>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8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a:solidFill>
            <a:srgbClr val="FF0000"/>
          </a:solidFill>
          <a:prstDash val="sysDash"/>
          <a:round/>
          <a:headEnd/>
          <a:tailEnd/>
        </a:ln>
        <a:effectLst/>
      </a:spPr>
      <a:bodyPr wrap="square" lIns="91422" tIns="45710" rIns="91422" bIns="45710" rtlCol="0" anchor="t" anchorCtr="0">
        <a:spAutoFit/>
      </a:bodyPr>
      <a:lstStyle>
        <a:defPPr marL="1338263" algn="ctr">
          <a:lnSpc>
            <a:spcPct val="130000"/>
          </a:lnSpc>
          <a:tabLst>
            <a:tab pos="3136900" algn="ctr"/>
          </a:tabLst>
          <a:defRPr kumimoji="1" sz="1200" dirty="0" smtClean="0">
            <a:latin typeface="+mj-ea"/>
            <a:ea typeface="+mj-ea"/>
          </a:defRPr>
        </a:defPPr>
      </a:lstStyle>
    </a:spDef>
    <a:lnDef>
      <a:spPr bwMode="auto">
        <a:xfrm>
          <a:off x="0" y="0"/>
          <a:ext cx="1" cy="1"/>
        </a:xfrm>
        <a:custGeom>
          <a:avLst/>
          <a:gdLst/>
          <a:ahLst/>
          <a:cxnLst/>
          <a:rect l="0" t="0" r="0" b="0"/>
          <a:pathLst/>
        </a:custGeom>
        <a:solidFill>
          <a:srgbClr val="0066CC"/>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観光庁RED">
  <a:themeElements>
    <a:clrScheme name="観光庁RED">
      <a:dk1>
        <a:srgbClr val="000000"/>
      </a:dk1>
      <a:lt1>
        <a:srgbClr val="FFFFFF"/>
      </a:lt1>
      <a:dk2>
        <a:srgbClr val="000000"/>
      </a:dk2>
      <a:lt2>
        <a:srgbClr val="808080"/>
      </a:lt2>
      <a:accent1>
        <a:srgbClr val="E3BBBB"/>
      </a:accent1>
      <a:accent2>
        <a:srgbClr val="CC0000"/>
      </a:accent2>
      <a:accent3>
        <a:srgbClr val="FFFFFF"/>
      </a:accent3>
      <a:accent4>
        <a:srgbClr val="000000"/>
      </a:accent4>
      <a:accent5>
        <a:srgbClr val="DAEDEF"/>
      </a:accent5>
      <a:accent6>
        <a:srgbClr val="2D2D8A"/>
      </a:accent6>
      <a:hlink>
        <a:srgbClr val="009999"/>
      </a:hlink>
      <a:folHlink>
        <a:srgbClr val="99CC00"/>
      </a:folHlink>
    </a:clrScheme>
    <a:fontScheme name="メイリオ">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spDef>
    <a:ln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objectDefaults>
  <a:extraClrSchemeLst/>
</a:theme>
</file>

<file path=ppt/theme/theme12.xml><?xml version="1.0" encoding="utf-8"?>
<a:theme xmlns:a="http://schemas.openxmlformats.org/drawingml/2006/main" name="40_標準デザイン">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rgbClr val="FFFF00"/>
        </a:solidFill>
        <a:ln w="15875">
          <a:solidFill>
            <a:schemeClr val="tx1"/>
          </a:solidFill>
          <a:miter lim="800000"/>
          <a:headEnd/>
          <a:tailEnd/>
        </a:ln>
      </a:spPr>
      <a:bodyPr vertOverflow="overflow" horzOverflow="overflow" wrap="square">
        <a:spAutoFit/>
      </a:bodyPr>
      <a:lstStyle>
        <a:defPPr>
          <a:defRPr sz="1000" b="1" dirty="0" smtClean="0">
            <a:latin typeface="+mn-ea"/>
            <a:ea typeface="+mn-ea"/>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objectDefaults>
  <a:extraClrSchemeLst/>
</a:theme>
</file>

<file path=ppt/theme/theme13.xml><?xml version="1.0" encoding="utf-8"?>
<a:theme xmlns:a="http://schemas.openxmlformats.org/drawingml/2006/main" name="9_標準デザイン">
  <a:themeElements>
    <a:clrScheme name="観光庁用スライド配色">
      <a:dk1>
        <a:srgbClr val="000000"/>
      </a:dk1>
      <a:lt1>
        <a:srgbClr val="FFFFFF"/>
      </a:lt1>
      <a:dk2>
        <a:srgbClr val="000000"/>
      </a:dk2>
      <a:lt2>
        <a:srgbClr val="808080"/>
      </a:lt2>
      <a:accent1>
        <a:srgbClr val="851C3F"/>
      </a:accent1>
      <a:accent2>
        <a:srgbClr val="DA3056"/>
      </a:accent2>
      <a:accent3>
        <a:srgbClr val="FAB89A"/>
      </a:accent3>
      <a:accent4>
        <a:srgbClr val="F6E2E0"/>
      </a:accent4>
      <a:accent5>
        <a:srgbClr val="F42D62"/>
      </a:accent5>
      <a:accent6>
        <a:srgbClr val="EA4C55"/>
      </a:accent6>
      <a:hlink>
        <a:srgbClr val="323366"/>
      </a:hlink>
      <a:folHlink>
        <a:srgbClr val="F44E2E"/>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a:solidFill>
            <a:srgbClr val="FF0000"/>
          </a:solidFill>
          <a:prstDash val="sysDash"/>
          <a:round/>
          <a:headEnd/>
          <a:tailEnd/>
        </a:ln>
        <a:effectLst/>
      </a:spPr>
      <a:bodyPr wrap="square" lIns="91422" tIns="45710" rIns="91422" bIns="45710" rtlCol="0" anchor="t" anchorCtr="0">
        <a:spAutoFit/>
      </a:bodyPr>
      <a:lstStyle>
        <a:defPPr marL="1338263" algn="ctr">
          <a:lnSpc>
            <a:spcPct val="130000"/>
          </a:lnSpc>
          <a:tabLst>
            <a:tab pos="3136900" algn="ctr"/>
          </a:tabLst>
          <a:defRPr kumimoji="1" sz="1200" dirty="0" smtClean="0">
            <a:latin typeface="+mj-ea"/>
            <a:ea typeface="+mj-ea"/>
          </a:defRPr>
        </a:defPPr>
      </a:lstStyle>
    </a:spDef>
    <a:lnDef>
      <a:spPr bwMode="auto">
        <a:xfrm>
          <a:off x="0" y="0"/>
          <a:ext cx="1" cy="1"/>
        </a:xfrm>
        <a:custGeom>
          <a:avLst/>
          <a:gdLst/>
          <a:ahLst/>
          <a:cxnLst/>
          <a:rect l="0" t="0" r="0" b="0"/>
          <a:pathLst/>
        </a:custGeom>
        <a:solidFill>
          <a:srgbClr val="0066CC"/>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_観光庁">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66CC"/>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panose="020B0604020202020204" pitchFamily="34" charset="0"/>
            <a:ea typeface="ＭＳ Ｐゴシック" panose="020B0600070205080204" pitchFamily="50" charset="-128"/>
          </a:defRPr>
        </a:defPPr>
      </a:lstStyle>
    </a:spDef>
    <a:lnDef>
      <a:spPr bwMode="auto">
        <a:xfrm>
          <a:off x="0" y="0"/>
          <a:ext cx="1" cy="1"/>
        </a:xfrm>
        <a:custGeom>
          <a:avLst/>
          <a:gdLst/>
          <a:ahLst/>
          <a:cxnLst/>
          <a:rect l="0" t="0" r="0" b="0"/>
          <a:pathLst/>
        </a:custGeom>
        <a:solidFill>
          <a:srgbClr val="0066CC"/>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panose="020B0604020202020204" pitchFamily="34" charset="0"/>
            <a:ea typeface="ＭＳ Ｐゴシック" panose="020B0600070205080204" pitchFamily="50" charset="-128"/>
          </a:defRPr>
        </a:defPPr>
      </a:lstStyle>
    </a:ln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9_観光庁">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rgbClr val="0066CC"/>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panose="020B0604020202020204" pitchFamily="34" charset="0"/>
            <a:ea typeface="ＭＳ Ｐゴシック" panose="020B0600070205080204" pitchFamily="50" charset="-128"/>
          </a:defRPr>
        </a:defPPr>
      </a:lstStyle>
    </a:spDef>
    <a:lnDef>
      <a:spPr bwMode="auto">
        <a:xfrm>
          <a:off x="0" y="0"/>
          <a:ext cx="1" cy="1"/>
        </a:xfrm>
        <a:custGeom>
          <a:avLst/>
          <a:gdLst/>
          <a:ahLst/>
          <a:cxnLst/>
          <a:rect l="0" t="0" r="0" b="0"/>
          <a:pathLst/>
        </a:custGeom>
        <a:solidFill>
          <a:srgbClr val="0066CC"/>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panose="020B0604020202020204" pitchFamily="34" charset="0"/>
            <a:ea typeface="ＭＳ Ｐゴシック" panose="020B0600070205080204" pitchFamily="50" charset="-128"/>
          </a:defRPr>
        </a:defPPr>
      </a:lstStyle>
    </a:lnDef>
    <a:txDef>
      <a:spPr>
        <a:noFill/>
      </a:spPr>
      <a:bodyPr wrap="square" rtlCol="0">
        <a:spAutoFit/>
      </a:bodyPr>
      <a:lstStyle>
        <a:defPPr marL="0" marR="0" indent="0" algn="l" defTabSz="914400" rtl="0" eaLnBrk="1" fontAlgn="auto" latinLnBrk="0" hangingPunct="1">
          <a:lnSpc>
            <a:spcPct val="100000"/>
          </a:lnSpc>
          <a:spcBef>
            <a:spcPts val="0"/>
          </a:spcBef>
          <a:spcAft>
            <a:spcPts val="0"/>
          </a:spcAft>
          <a:buClrTx/>
          <a:buSzTx/>
          <a:buFontTx/>
          <a:buNone/>
          <a:tabLst/>
          <a:defRPr kumimoji="1" sz="1000" b="0" i="0" u="none" strike="noStrike" kern="1200" cap="none" spc="0" normalizeH="0" baseline="0" noProof="0" dirty="0" smtClean="0">
            <a:ln>
              <a:noFill/>
            </a:ln>
            <a:solidFill>
              <a:prstClr val="black"/>
            </a:solidFill>
            <a:effectLst/>
            <a:uLnTx/>
            <a:uFillTx/>
            <a:latin typeface="メイリオ" panose="020B0604030504040204" pitchFamily="50" charset="-128"/>
            <a:ea typeface="メイリオ" panose="020B0604030504040204" pitchFamily="50" charset="-128"/>
            <a:cs typeface="メイリオ" panose="020B0604030504040204" pitchFamily="50" charset="-128"/>
          </a:defRPr>
        </a:defPPr>
      </a:lstStyle>
    </a:tx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8_観光庁">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spDef>
    <a:ln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custGeom>
          <a:avLst/>
          <a:gdLst/>
          <a:ahLst/>
          <a:cxnLst/>
          <a:rect l="l" t="t" r="r" b="b"/>
          <a:pathLst/>
        </a:custGeom>
        <a:noFill/>
      </a:spPr>
      <a:bodyPr vertOverflow="overflow" horzOverflow="overflow" wrap="square" rtlCol="0">
        <a:spAutoFit/>
      </a:bodyPr>
      <a:lstStyle>
        <a:defPPr marL="0" marR="0" indent="0" algn="l" defTabSz="914400" rtl="0" eaLnBrk="1" fontAlgn="auto" latinLnBrk="0" hangingPunct="1">
          <a:lnSpc>
            <a:spcPct val="100000"/>
          </a:lnSpc>
          <a:spcBef>
            <a:spcPts val="0"/>
          </a:spcBef>
          <a:spcAft>
            <a:spcPts val="0"/>
          </a:spcAft>
          <a:defRPr kumimoji="1" sz="1000" b="0" i="0" u="none" strike="noStrike" kern="1200" cap="none" spc="0" normalizeH="0" baseline="0" noProof="0" dirty="0" smtClean="0">
            <a:ln>
              <a:noFill/>
            </a:ln>
            <a:solidFill>
              <a:prstClr val="black"/>
            </a:solidFill>
            <a:effectLst/>
            <a:uLnTx/>
            <a:uFillTx/>
            <a:latin typeface="メイリオ"/>
            <a:ea typeface="メイリオ"/>
            <a:cs typeface="メイリオ"/>
          </a:defRPr>
        </a:defPPr>
      </a:lstStyle>
    </a:txDef>
  </a:objectDefaults>
  <a:extraClrSchemeLst/>
</a:theme>
</file>

<file path=ppt/theme/theme17.xml><?xml version="1.0" encoding="utf-8"?>
<a:theme xmlns:a="http://schemas.openxmlformats.org/drawingml/2006/main" name="10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600" b="1" i="0" u="none" strike="noStrike" cap="none" normalizeH="0" baseline="0" smtClean="0">
            <a:ln>
              <a:noFill/>
            </a:ln>
            <a:solidFill>
              <a:schemeClr val="tx1"/>
            </a:solidFill>
            <a:effectLst/>
            <a:latin typeface="Arial"/>
            <a:ea typeface="ＭＳ Ｐゴシック"/>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600" b="1" i="0" u="none" strike="noStrike" cap="none" normalizeH="0" baseline="0" smtClean="0">
            <a:ln>
              <a:noFill/>
            </a:ln>
            <a:solidFill>
              <a:schemeClr val="tx1"/>
            </a:solidFill>
            <a:effectLst/>
            <a:latin typeface="Arial"/>
            <a:ea typeface="ＭＳ Ｐゴシック"/>
          </a:defRPr>
        </a:defPPr>
      </a:lstStyle>
    </a:lnDef>
  </a:objectDefaults>
  <a:extraClrSchemeLst/>
</a:theme>
</file>

<file path=ppt/theme/theme18.xml><?xml version="1.0" encoding="utf-8"?>
<a:theme xmlns:a="http://schemas.openxmlformats.org/drawingml/2006/main" name="11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a:solidFill>
            <a:srgbClr val="FF0000"/>
          </a:solidFill>
          <a:prstDash val="sysDash"/>
          <a:round/>
          <a:headEnd/>
          <a:tailEnd/>
        </a:ln>
        <a:effectLst/>
      </a:spPr>
      <a:bodyPr wrap="square" lIns="91422" tIns="45710" rIns="91422" bIns="45710" rtlCol="0" anchor="t" anchorCtr="0">
        <a:spAutoFit/>
      </a:bodyPr>
      <a:lstStyle>
        <a:defPPr marL="1338263" algn="ctr">
          <a:lnSpc>
            <a:spcPct val="130000"/>
          </a:lnSpc>
          <a:tabLst>
            <a:tab pos="3136900" algn="ctr"/>
          </a:tabLst>
          <a:defRPr kumimoji="1" sz="1200" dirty="0" smtClean="0">
            <a:latin typeface="+mj-ea"/>
            <a:ea typeface="+mj-ea"/>
          </a:defRPr>
        </a:defPPr>
      </a:lstStyle>
    </a:spDef>
    <a:lnDef>
      <a:spPr bwMode="auto">
        <a:xfrm>
          <a:off x="0" y="0"/>
          <a:ext cx="1" cy="1"/>
        </a:xfrm>
        <a:custGeom>
          <a:avLst/>
          <a:gdLst/>
          <a:ahLst/>
          <a:cxnLst/>
          <a:rect l="0" t="0" r="0" b="0"/>
          <a:pathLst/>
        </a:custGeom>
        <a:solidFill>
          <a:srgbClr val="0066CC"/>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2_観光庁">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spDef>
    <a:ln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custGeom>
          <a:avLst/>
          <a:gdLst/>
          <a:ahLst/>
          <a:cxnLst/>
          <a:rect l="l" t="t" r="r" b="b"/>
          <a:pathLst/>
        </a:custGeom>
        <a:noFill/>
      </a:spPr>
      <a:bodyPr vertOverflow="overflow" horzOverflow="overflow" wrap="square" rtlCol="0">
        <a:spAutoFit/>
      </a:bodyPr>
      <a:lstStyle>
        <a:defPPr marL="0" marR="0" indent="0" algn="l" defTabSz="914400" rtl="0" eaLnBrk="1" fontAlgn="auto" latinLnBrk="0" hangingPunct="1">
          <a:lnSpc>
            <a:spcPct val="100000"/>
          </a:lnSpc>
          <a:spcBef>
            <a:spcPts val="0"/>
          </a:spcBef>
          <a:spcAft>
            <a:spcPts val="0"/>
          </a:spcAft>
          <a:defRPr kumimoji="1" sz="1000" b="0" i="0" u="none" strike="noStrike" kern="1200" cap="none" spc="0" normalizeH="0" baseline="0" noProof="0" dirty="0" smtClean="0">
            <a:ln>
              <a:noFill/>
            </a:ln>
            <a:solidFill>
              <a:prstClr val="black"/>
            </a:solidFill>
            <a:effectLst/>
            <a:uLnTx/>
            <a:uFillTx/>
            <a:latin typeface="メイリオ"/>
            <a:ea typeface="メイリオ"/>
            <a:cs typeface="メイリオ"/>
          </a:defRPr>
        </a:defPPr>
      </a:lstStyle>
    </a:txDef>
  </a:objectDefaults>
  <a:extraClrSchemeLst/>
</a:theme>
</file>

<file path=ppt/theme/theme2.xml><?xml version="1.0" encoding="utf-8"?>
<a:theme xmlns:a="http://schemas.openxmlformats.org/drawingml/2006/main" name="4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a:solidFill>
            <a:srgbClr val="FF0000"/>
          </a:solidFill>
          <a:prstDash val="sysDash"/>
          <a:round/>
          <a:headEnd/>
          <a:tailEnd/>
        </a:ln>
        <a:effectLst/>
      </a:spPr>
      <a:bodyPr wrap="square" lIns="91422" tIns="45710" rIns="91422" bIns="45710" rtlCol="0" anchor="t" anchorCtr="0">
        <a:spAutoFit/>
      </a:bodyPr>
      <a:lstStyle>
        <a:defPPr marL="1338263" algn="ctr">
          <a:lnSpc>
            <a:spcPct val="130000"/>
          </a:lnSpc>
          <a:tabLst>
            <a:tab pos="3136900" algn="ctr"/>
          </a:tabLst>
          <a:defRPr kumimoji="1" sz="1200" dirty="0" smtClean="0">
            <a:latin typeface="+mj-ea"/>
            <a:ea typeface="+mj-ea"/>
          </a:defRPr>
        </a:defPPr>
      </a:lstStyle>
    </a:spDef>
    <a:lnDef>
      <a:spPr bwMode="auto">
        <a:xfrm>
          <a:off x="0" y="0"/>
          <a:ext cx="1" cy="1"/>
        </a:xfrm>
        <a:custGeom>
          <a:avLst/>
          <a:gdLst/>
          <a:ahLst/>
          <a:cxnLst/>
          <a:rect l="0" t="0" r="0" b="0"/>
          <a:pathLst/>
        </a:custGeom>
        <a:solidFill>
          <a:srgbClr val="0066CC"/>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2_標準デザイン">
  <a:themeElements>
    <a:clrScheme name="観光庁用スライド配色">
      <a:dk1>
        <a:srgbClr val="000000"/>
      </a:dk1>
      <a:lt1>
        <a:srgbClr val="FFFFFF"/>
      </a:lt1>
      <a:dk2>
        <a:srgbClr val="000000"/>
      </a:dk2>
      <a:lt2>
        <a:srgbClr val="808080"/>
      </a:lt2>
      <a:accent1>
        <a:srgbClr val="851C3F"/>
      </a:accent1>
      <a:accent2>
        <a:srgbClr val="DA3056"/>
      </a:accent2>
      <a:accent3>
        <a:srgbClr val="FAB89A"/>
      </a:accent3>
      <a:accent4>
        <a:srgbClr val="F6E2E0"/>
      </a:accent4>
      <a:accent5>
        <a:srgbClr val="F42D62"/>
      </a:accent5>
      <a:accent6>
        <a:srgbClr val="EA4C55"/>
      </a:accent6>
      <a:hlink>
        <a:srgbClr val="323366"/>
      </a:hlink>
      <a:folHlink>
        <a:srgbClr val="F44E2E"/>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600" b="1" i="0" u="none" strike="noStrike" cap="none" normalizeH="0" baseline="0" smtClean="0">
            <a:ln>
              <a:noFill/>
            </a:ln>
            <a:solidFill>
              <a:schemeClr val="tx1"/>
            </a:solidFill>
            <a:effectLst/>
            <a:latin typeface="Arial"/>
            <a:ea typeface="ＭＳ Ｐゴシック"/>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600" b="1" i="0" u="none" strike="noStrike" cap="none" normalizeH="0" baseline="0" smtClean="0">
            <a:ln>
              <a:noFill/>
            </a:ln>
            <a:solidFill>
              <a:schemeClr val="tx1"/>
            </a:solidFill>
            <a:effectLst/>
            <a:latin typeface="Arial"/>
            <a:ea typeface="ＭＳ Ｐゴシック"/>
          </a:defRPr>
        </a:defPPr>
      </a:lstStyle>
    </a:lnDef>
  </a:objectDefaults>
  <a:extraClrSchemeLst/>
</a:theme>
</file>

<file path=ppt/theme/theme21.xml><?xml version="1.0" encoding="utf-8"?>
<a:theme xmlns:a="http://schemas.openxmlformats.org/drawingml/2006/main" name="13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lumMod val="20000"/>
            <a:lumOff val="80000"/>
          </a:schemeClr>
        </a:solidFill>
        <a:ln w="38100">
          <a:noFill/>
          <a:prstDash val="sysDash"/>
          <a:round/>
          <a:headEnd/>
          <a:tailEnd/>
        </a:ln>
        <a:effectLst/>
      </a:spPr>
      <a:bodyPr wrap="square" lIns="91422" tIns="45710" rIns="91422" bIns="45710" rtlCol="0" anchor="t" anchorCtr="0">
        <a:spAutoFit/>
      </a:bodyPr>
      <a:lstStyle>
        <a:defPPr algn="ctr">
          <a:lnSpc>
            <a:spcPct val="130000"/>
          </a:lnSpc>
          <a:tabLst>
            <a:tab pos="3136900" algn="ctr"/>
          </a:tabLst>
          <a:defRPr kumimoji="1" sz="1600" dirty="0" smtClean="0">
            <a:latin typeface="Meiryo UI" panose="020B0604030504040204" pitchFamily="50" charset="-128"/>
            <a:ea typeface="Meiryo UI" panose="020B0604030504040204" pitchFamily="50" charset="-128"/>
          </a:defRPr>
        </a:defPPr>
      </a:lstStyle>
    </a:spDef>
    <a:lnDef>
      <a:spPr bwMode="auto">
        <a:xfrm>
          <a:off x="0" y="0"/>
          <a:ext cx="1" cy="1"/>
        </a:xfrm>
        <a:custGeom>
          <a:avLst/>
          <a:gdLst/>
          <a:ahLst/>
          <a:cxnLst/>
          <a:rect l="0" t="0" r="0" b="0"/>
          <a:pathLst/>
        </a:custGeom>
        <a:solidFill>
          <a:srgbClr val="0066CC"/>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テーマ1">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rgbClr val="FFFF00"/>
        </a:solidFill>
        <a:ln w="12700">
          <a:solidFill>
            <a:srgbClr val="FFFF00"/>
          </a:solidFill>
          <a:prstDash val="sysDash"/>
          <a:round/>
          <a:headEnd/>
          <a:tailEnd/>
        </a:ln>
        <a:effectLst/>
      </a:spPr>
      <a:bodyPr vertOverflow="overflow" horzOverflow="overflow" wrap="square" lIns="91422" tIns="45710" rIns="91422" bIns="45710" rtlCol="0" anchor="t" anchorCtr="0"/>
      <a:lstStyle>
        <a:defPPr marL="1338263">
          <a:lnSpc>
            <a:spcPct val="130000"/>
          </a:lnSpc>
          <a:tabLst>
            <a:tab pos="3136900" algn="ctr"/>
          </a:tabLst>
          <a:defRPr kumimoji="1" sz="1200" dirty="0" smtClean="0">
            <a:latin typeface="+mj-ea"/>
            <a:ea typeface="+mj-ea"/>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objectDefaults>
  <a:extraClrSchemeLst/>
  <a:extLst>
    <a:ext uri="{05A4C25C-085E-4340-85A3-A5531E510DB2}">
      <thm15:themeFamily xmlns:thm15="http://schemas.microsoft.com/office/thememl/2012/main" name="テーマ1" id="{F131A3AE-9FD4-449A-A77E-08135E4C135A}" vid="{81E3889F-47A8-4717-B30C-EFA6B05493BD}"/>
    </a:ext>
  </a:extLst>
</a:theme>
</file>

<file path=ppt/theme/theme2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標準デザイン">
  <a:themeElements>
    <a:clrScheme name="観光庁ＲＥＤ">
      <a:dk1>
        <a:sysClr val="windowText" lastClr="000000"/>
      </a:dk1>
      <a:lt1>
        <a:sysClr val="window" lastClr="FFFFFF"/>
      </a:lt1>
      <a:dk2>
        <a:srgbClr val="FE0000"/>
      </a:dk2>
      <a:lt2>
        <a:srgbClr val="F8F8F8"/>
      </a:lt2>
      <a:accent1>
        <a:srgbClr val="FFBBBB"/>
      </a:accent1>
      <a:accent2>
        <a:srgbClr val="FF6565"/>
      </a:accent2>
      <a:accent3>
        <a:srgbClr val="FF2D2D"/>
      </a:accent3>
      <a:accent4>
        <a:srgbClr val="FF0101"/>
      </a:accent4>
      <a:accent5>
        <a:srgbClr val="BE0000"/>
      </a:accent5>
      <a:accent6>
        <a:srgbClr val="9A0000"/>
      </a:accent6>
      <a:hlink>
        <a:srgbClr val="BE0000"/>
      </a:hlink>
      <a:folHlink>
        <a:srgbClr val="FF2323"/>
      </a:folHlink>
    </a:clrScheme>
    <a:fontScheme name="ユーザー定義 4">
      <a:majorFont>
        <a:latin typeface="Meiryo UI "/>
        <a:ea typeface="メイリオ"/>
        <a:cs typeface=""/>
      </a:majorFont>
      <a:minorFont>
        <a:latin typeface="Meiryo UI "/>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spDef>
    <a:ln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objectDefaults>
  <a:extraClrSchemeLst/>
</a:theme>
</file>

<file path=ppt/theme/theme4.xml><?xml version="1.0" encoding="utf-8"?>
<a:theme xmlns:a="http://schemas.openxmlformats.org/drawingml/2006/main" name="5_標準デザイン">
  <a:themeElements>
    <a:clrScheme name="観光庁用スライド配色">
      <a:dk1>
        <a:srgbClr val="000000"/>
      </a:dk1>
      <a:lt1>
        <a:srgbClr val="FFFFFF"/>
      </a:lt1>
      <a:dk2>
        <a:srgbClr val="000000"/>
      </a:dk2>
      <a:lt2>
        <a:srgbClr val="808080"/>
      </a:lt2>
      <a:accent1>
        <a:srgbClr val="851C3F"/>
      </a:accent1>
      <a:accent2>
        <a:srgbClr val="DA3056"/>
      </a:accent2>
      <a:accent3>
        <a:srgbClr val="FAB89A"/>
      </a:accent3>
      <a:accent4>
        <a:srgbClr val="F6E2E0"/>
      </a:accent4>
      <a:accent5>
        <a:srgbClr val="F42D62"/>
      </a:accent5>
      <a:accent6>
        <a:srgbClr val="EA4C55"/>
      </a:accent6>
      <a:hlink>
        <a:srgbClr val="323366"/>
      </a:hlink>
      <a:folHlink>
        <a:srgbClr val="F44E2E"/>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a:solidFill>
            <a:srgbClr val="FF0000"/>
          </a:solidFill>
          <a:prstDash val="sysDash"/>
          <a:round/>
          <a:headEnd/>
          <a:tailEnd/>
        </a:ln>
        <a:effectLst/>
      </a:spPr>
      <a:bodyPr wrap="square" lIns="91422" tIns="45710" rIns="91422" bIns="45710" rtlCol="0" anchor="t" anchorCtr="0">
        <a:spAutoFit/>
      </a:bodyPr>
      <a:lstStyle>
        <a:defPPr marL="1338263" algn="ctr">
          <a:lnSpc>
            <a:spcPct val="130000"/>
          </a:lnSpc>
          <a:tabLst>
            <a:tab pos="3136900" algn="ctr"/>
          </a:tabLst>
          <a:defRPr kumimoji="1" sz="1200" dirty="0" smtClean="0">
            <a:latin typeface="+mj-ea"/>
            <a:ea typeface="+mj-ea"/>
          </a:defRPr>
        </a:defPPr>
      </a:lstStyle>
    </a:spDef>
    <a:lnDef>
      <a:spPr bwMode="auto">
        <a:xfrm>
          <a:off x="0" y="0"/>
          <a:ext cx="1" cy="1"/>
        </a:xfrm>
        <a:custGeom>
          <a:avLst/>
          <a:gdLst/>
          <a:ahLst/>
          <a:cxnLst/>
          <a:rect l="0" t="0" r="0" b="0"/>
          <a:pathLst/>
        </a:custGeom>
        <a:solidFill>
          <a:srgbClr val="0066CC"/>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観光庁">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spDef>
    <a:ln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txDef>
      <a:spPr>
        <a:custGeom>
          <a:avLst/>
          <a:gdLst/>
          <a:ahLst/>
          <a:cxnLst/>
          <a:rect l="l" t="t" r="r" b="b"/>
          <a:pathLst/>
        </a:custGeom>
        <a:noFill/>
      </a:spPr>
      <a:bodyPr vertOverflow="overflow" horzOverflow="overflow" wrap="square" rtlCol="0">
        <a:spAutoFit/>
      </a:bodyPr>
      <a:lstStyle>
        <a:defPPr marL="0" marR="0" indent="0" algn="l" defTabSz="914400" rtl="0" eaLnBrk="1" fontAlgn="auto" latinLnBrk="0" hangingPunct="1">
          <a:lnSpc>
            <a:spcPct val="100000"/>
          </a:lnSpc>
          <a:spcBef>
            <a:spcPts val="0"/>
          </a:spcBef>
          <a:spcAft>
            <a:spcPts val="0"/>
          </a:spcAft>
          <a:defRPr kumimoji="1" sz="1000" b="0" i="0" u="none" strike="noStrike" kern="1200" cap="none" spc="0" normalizeH="0" baseline="0" noProof="0" dirty="0" smtClean="0">
            <a:ln>
              <a:noFill/>
            </a:ln>
            <a:solidFill>
              <a:prstClr val="black"/>
            </a:solidFill>
            <a:effectLst/>
            <a:uLnTx/>
            <a:uFillTx/>
            <a:latin typeface="メイリオ"/>
            <a:ea typeface="メイリオ"/>
            <a:cs typeface="メイリオ"/>
          </a:defRPr>
        </a:defPPr>
      </a:lstStyle>
    </a:txDef>
  </a:objectDefaults>
  <a:extraClrSchemeLst/>
</a:theme>
</file>

<file path=ppt/theme/theme6.xml><?xml version="1.0" encoding="utf-8"?>
<a:theme xmlns:a="http://schemas.openxmlformats.org/drawingml/2006/main" name="6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38100">
          <a:solidFill>
            <a:srgbClr val="FF0000"/>
          </a:solidFill>
          <a:prstDash val="sysDash"/>
          <a:round/>
          <a:headEnd/>
          <a:tailEnd/>
        </a:ln>
        <a:effectLst/>
      </a:spPr>
      <a:bodyPr wrap="square" lIns="91422" tIns="45710" rIns="91422" bIns="45710" rtlCol="0" anchor="t" anchorCtr="0">
        <a:spAutoFit/>
      </a:bodyPr>
      <a:lstStyle>
        <a:defPPr marL="1338263" algn="ctr">
          <a:lnSpc>
            <a:spcPct val="130000"/>
          </a:lnSpc>
          <a:tabLst>
            <a:tab pos="3136900" algn="ctr"/>
          </a:tabLst>
          <a:defRPr kumimoji="1" sz="1200" dirty="0" smtClean="0">
            <a:latin typeface="+mj-ea"/>
            <a:ea typeface="+mj-ea"/>
          </a:defRPr>
        </a:defPPr>
      </a:lstStyle>
    </a:spDef>
    <a:lnDef>
      <a:spPr bwMode="auto">
        <a:xfrm>
          <a:off x="0" y="0"/>
          <a:ext cx="1" cy="1"/>
        </a:xfrm>
        <a:custGeom>
          <a:avLst/>
          <a:gdLst/>
          <a:ahLst/>
          <a:cxnLst/>
          <a:rect l="0" t="0" r="0" b="0"/>
          <a:pathLst/>
        </a:custGeom>
        <a:solidFill>
          <a:srgbClr val="0066CC"/>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7_標準デザイン">
  <a:themeElements>
    <a:clrScheme name="観光庁ＲＥＤ">
      <a:dk1>
        <a:sysClr val="windowText" lastClr="000000"/>
      </a:dk1>
      <a:lt1>
        <a:sysClr val="window" lastClr="FFFFFF"/>
      </a:lt1>
      <a:dk2>
        <a:srgbClr val="FE0000"/>
      </a:dk2>
      <a:lt2>
        <a:srgbClr val="F8F8F8"/>
      </a:lt2>
      <a:accent1>
        <a:srgbClr val="FFBBBB"/>
      </a:accent1>
      <a:accent2>
        <a:srgbClr val="FF6565"/>
      </a:accent2>
      <a:accent3>
        <a:srgbClr val="FF2D2D"/>
      </a:accent3>
      <a:accent4>
        <a:srgbClr val="FF0101"/>
      </a:accent4>
      <a:accent5>
        <a:srgbClr val="BE0000"/>
      </a:accent5>
      <a:accent6>
        <a:srgbClr val="9A0000"/>
      </a:accent6>
      <a:hlink>
        <a:srgbClr val="BE0000"/>
      </a:hlink>
      <a:folHlink>
        <a:srgbClr val="FF2323"/>
      </a:folHlink>
    </a:clrScheme>
    <a:fontScheme name="ユーザー定義 3">
      <a:majorFont>
        <a:latin typeface="Meiryo UI "/>
        <a:ea typeface="メイリオ"/>
        <a:cs typeface=""/>
      </a:majorFont>
      <a:minorFont>
        <a:latin typeface="Meiryo UI "/>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spDef>
    <a:ln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objectDefaults>
  <a:extraClrSchemeLst/>
</a:theme>
</file>

<file path=ppt/theme/theme8.xml><?xml version="1.0" encoding="utf-8"?>
<a:theme xmlns:a="http://schemas.openxmlformats.org/drawingml/2006/main" name="27_標準デザイン">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12700">
          <a:solidFill>
            <a:srgbClr val="FFFF00"/>
          </a:solidFill>
          <a:prstDash val="sysDash"/>
          <a:round/>
          <a:headEnd/>
          <a:tailEnd/>
        </a:ln>
        <a:effectLst/>
      </a:spPr>
      <a:bodyPr wrap="square" lIns="91422" tIns="45710" rIns="91422" bIns="45710" rtlCol="0" anchor="t" anchorCtr="0">
        <a:noAutofit/>
      </a:bodyPr>
      <a:lstStyle>
        <a:defPPr marL="1338263">
          <a:lnSpc>
            <a:spcPct val="130000"/>
          </a:lnSpc>
          <a:tabLst>
            <a:tab pos="3136900" algn="ctr"/>
          </a:tabLst>
          <a:defRPr kumimoji="1" sz="1200" dirty="0" smtClean="0">
            <a:latin typeface="+mj-ea"/>
            <a:ea typeface="+mj-ea"/>
          </a:defRPr>
        </a:defPPr>
      </a:lstStyle>
    </a:spDef>
    <a:lnDef>
      <a:spPr bwMode="auto">
        <a:xfrm>
          <a:off x="0" y="0"/>
          <a:ext cx="1" cy="1"/>
        </a:xfrm>
        <a:custGeom>
          <a:avLst/>
          <a:gdLst/>
          <a:ahLst/>
          <a:cxnLst/>
          <a:rect l="0" t="0" r="0" b="0"/>
          <a:pathLst/>
        </a:custGeom>
        <a:solidFill>
          <a:srgbClr val="0066CC"/>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観光庁RED">
  <a:themeElements>
    <a:clrScheme name="観光庁用スライド配色">
      <a:dk1>
        <a:srgbClr val="000000"/>
      </a:dk1>
      <a:lt1>
        <a:srgbClr val="FFFFFF"/>
      </a:lt1>
      <a:dk2>
        <a:srgbClr val="000000"/>
      </a:dk2>
      <a:lt2>
        <a:srgbClr val="808080"/>
      </a:lt2>
      <a:accent1>
        <a:srgbClr val="851C3F"/>
      </a:accent1>
      <a:accent2>
        <a:srgbClr val="DA3056"/>
      </a:accent2>
      <a:accent3>
        <a:srgbClr val="FAB89A"/>
      </a:accent3>
      <a:accent4>
        <a:srgbClr val="F6E2E0"/>
      </a:accent4>
      <a:accent5>
        <a:srgbClr val="F42D62"/>
      </a:accent5>
      <a:accent6>
        <a:srgbClr val="EA4C55"/>
      </a:accent6>
      <a:hlink>
        <a:srgbClr val="323366"/>
      </a:hlink>
      <a:folHlink>
        <a:srgbClr val="F44E2E"/>
      </a:folHlink>
    </a:clrScheme>
    <a:fontScheme name="メイリオ">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sp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spDef>
    <a:lnDef>
      <a:spPr>
        <a:custGeom>
          <a:avLst/>
          <a:gdLst/>
          <a:ahLst/>
          <a:cxnLst/>
          <a:rect l="0" t="0" r="0" b="0"/>
          <a:pathLst/>
        </a:custGeom>
        <a:solidFill>
          <a:srgbClr val="0066CC"/>
        </a:solidFill>
        <a:ln>
          <a:noFill/>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objectDefaults>
  <a:extraClrSchemeLst/>
</a:theme>
</file>

<file path=docProps/app.xml><?xml version="1.0" encoding="utf-8"?>
<Properties xmlns="http://schemas.openxmlformats.org/officeDocument/2006/extended-properties" xmlns:vt="http://schemas.openxmlformats.org/officeDocument/2006/docPropsVTypes">
  <Template>Office 2013 - 2022 Theme</Template>
  <Words>314</Words>
  <PresentationFormat>A4 210 x 297 mm</PresentationFormat>
  <Paragraphs>29</Paragraphs>
  <Slides>1</Slides>
  <Notes>1</Notes>
  <HiddenSlides>0</HiddenSlides>
  <MMClips>0</MMClips>
  <ScaleCrop>false</ScaleCrop>
  <HeadingPairs>
    <vt:vector size="8" baseType="variant">
      <vt:variant>
        <vt:lpstr>使用されているフォント</vt:lpstr>
      </vt:variant>
      <vt:variant>
        <vt:i4>6</vt:i4>
      </vt:variant>
      <vt:variant>
        <vt:lpstr>テーマ</vt:lpstr>
      </vt:variant>
      <vt:variant>
        <vt:i4>22</vt:i4>
      </vt:variant>
      <vt:variant>
        <vt:lpstr>埋め込まれた OLE サーバー</vt:lpstr>
      </vt:variant>
      <vt:variant>
        <vt:i4>1</vt:i4>
      </vt:variant>
      <vt:variant>
        <vt:lpstr>スライド タイトル</vt:lpstr>
      </vt:variant>
      <vt:variant>
        <vt:i4>1</vt:i4>
      </vt:variant>
    </vt:vector>
  </HeadingPairs>
  <TitlesOfParts>
    <vt:vector size="30" baseType="lpstr">
      <vt:lpstr>HGP創英角ｺﾞｼｯｸUB</vt:lpstr>
      <vt:lpstr>Meiryo UI</vt:lpstr>
      <vt:lpstr>Meiryo UI </vt:lpstr>
      <vt:lpstr>メイリオ</vt:lpstr>
      <vt:lpstr>游ゴシック</vt:lpstr>
      <vt:lpstr>Arial</vt:lpstr>
      <vt:lpstr>3_標準デザイン</vt:lpstr>
      <vt:lpstr>4_標準デザイン</vt:lpstr>
      <vt:lpstr>2_標準デザイン</vt:lpstr>
      <vt:lpstr>5_標準デザイン</vt:lpstr>
      <vt:lpstr>観光庁</vt:lpstr>
      <vt:lpstr>6_標準デザイン</vt:lpstr>
      <vt:lpstr>7_標準デザイン</vt:lpstr>
      <vt:lpstr>27_標準デザイン</vt:lpstr>
      <vt:lpstr>1_観光庁RED</vt:lpstr>
      <vt:lpstr>8_標準デザイン</vt:lpstr>
      <vt:lpstr>観光庁RED</vt:lpstr>
      <vt:lpstr>40_標準デザイン</vt:lpstr>
      <vt:lpstr>9_標準デザイン</vt:lpstr>
      <vt:lpstr>1_観光庁</vt:lpstr>
      <vt:lpstr>9_観光庁</vt:lpstr>
      <vt:lpstr>8_観光庁</vt:lpstr>
      <vt:lpstr>10_標準デザイン</vt:lpstr>
      <vt:lpstr>11_標準デザイン</vt:lpstr>
      <vt:lpstr>2_観光庁</vt:lpstr>
      <vt:lpstr>12_標準デザイン</vt:lpstr>
      <vt:lpstr>13_標準デザイン</vt:lpstr>
      <vt:lpstr>テーマ1</vt:lpstr>
      <vt:lpstr>think-cell スライド</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